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0.xml" ContentType="application/vnd.openxmlformats-officedocument.presentationml.slide+xml"/>
  <Override PartName="/ppt/slides/slide631.xml" ContentType="application/vnd.openxmlformats-officedocument.presentationml.slide+xml"/>
  <Override PartName="/ppt/slides/slide632.xml" ContentType="application/vnd.openxmlformats-officedocument.presentationml.slide+xml"/>
  <Override PartName="/ppt/slides/slide633.xml" ContentType="application/vnd.openxmlformats-officedocument.presentationml.slide+xml"/>
  <Override PartName="/ppt/slides/slide634.xml" ContentType="application/vnd.openxmlformats-officedocument.presentationml.slide+xml"/>
  <Override PartName="/ppt/slides/slide635.xml" ContentType="application/vnd.openxmlformats-officedocument.presentationml.slide+xml"/>
  <Override PartName="/ppt/slides/slide636.xml" ContentType="application/vnd.openxmlformats-officedocument.presentationml.slide+xml"/>
  <Override PartName="/ppt/slides/slide637.xml" ContentType="application/vnd.openxmlformats-officedocument.presentationml.slide+xml"/>
  <Override PartName="/ppt/slides/slide638.xml" ContentType="application/vnd.openxmlformats-officedocument.presentationml.slide+xml"/>
  <Override PartName="/ppt/slides/slide639.xml" ContentType="application/vnd.openxmlformats-officedocument.presentationml.slide+xml"/>
  <Override PartName="/ppt/slides/slide640.xml" ContentType="application/vnd.openxmlformats-officedocument.presentationml.slide+xml"/>
  <Override PartName="/ppt/slides/slide641.xml" ContentType="application/vnd.openxmlformats-officedocument.presentationml.slide+xml"/>
  <Override PartName="/ppt/slides/slide642.xml" ContentType="application/vnd.openxmlformats-officedocument.presentationml.slide+xml"/>
  <Override PartName="/ppt/slides/slide643.xml" ContentType="application/vnd.openxmlformats-officedocument.presentationml.slide+xml"/>
  <Override PartName="/ppt/slides/slide644.xml" ContentType="application/vnd.openxmlformats-officedocument.presentationml.slide+xml"/>
  <Override PartName="/ppt/slides/slide645.xml" ContentType="application/vnd.openxmlformats-officedocument.presentationml.slide+xml"/>
  <Override PartName="/ppt/slides/slide646.xml" ContentType="application/vnd.openxmlformats-officedocument.presentationml.slide+xml"/>
  <Override PartName="/ppt/slides/slide647.xml" ContentType="application/vnd.openxmlformats-officedocument.presentationml.slide+xml"/>
  <Override PartName="/ppt/slides/slide648.xml" ContentType="application/vnd.openxmlformats-officedocument.presentationml.slide+xml"/>
  <Override PartName="/ppt/slides/slide649.xml" ContentType="application/vnd.openxmlformats-officedocument.presentationml.slide+xml"/>
  <Override PartName="/ppt/slides/slide650.xml" ContentType="application/vnd.openxmlformats-officedocument.presentationml.slide+xml"/>
  <Override PartName="/ppt/slides/slide651.xml" ContentType="application/vnd.openxmlformats-officedocument.presentationml.slide+xml"/>
  <Override PartName="/ppt/slides/slide652.xml" ContentType="application/vnd.openxmlformats-officedocument.presentationml.slide+xml"/>
  <Override PartName="/ppt/slides/slide653.xml" ContentType="application/vnd.openxmlformats-officedocument.presentationml.slide+xml"/>
  <Override PartName="/ppt/slides/slide654.xml" ContentType="application/vnd.openxmlformats-officedocument.presentationml.slide+xml"/>
  <Override PartName="/ppt/slides/slide655.xml" ContentType="application/vnd.openxmlformats-officedocument.presentationml.slide+xml"/>
  <Override PartName="/ppt/slides/slide656.xml" ContentType="application/vnd.openxmlformats-officedocument.presentationml.slide+xml"/>
  <Override PartName="/ppt/slides/slide657.xml" ContentType="application/vnd.openxmlformats-officedocument.presentationml.slide+xml"/>
  <Override PartName="/ppt/slides/slide658.xml" ContentType="application/vnd.openxmlformats-officedocument.presentationml.slide+xml"/>
  <Override PartName="/ppt/slides/slide659.xml" ContentType="application/vnd.openxmlformats-officedocument.presentationml.slide+xml"/>
  <Override PartName="/ppt/slides/slide660.xml" ContentType="application/vnd.openxmlformats-officedocument.presentationml.slide+xml"/>
  <Override PartName="/ppt/slides/slide661.xml" ContentType="application/vnd.openxmlformats-officedocument.presentationml.slide+xml"/>
  <Override PartName="/ppt/slides/slide662.xml" ContentType="application/vnd.openxmlformats-officedocument.presentationml.slide+xml"/>
  <Override PartName="/ppt/slides/slide663.xml" ContentType="application/vnd.openxmlformats-officedocument.presentationml.slide+xml"/>
  <Override PartName="/ppt/slides/slide664.xml" ContentType="application/vnd.openxmlformats-officedocument.presentationml.slide+xml"/>
  <Override PartName="/ppt/slides/slide665.xml" ContentType="application/vnd.openxmlformats-officedocument.presentationml.slide+xml"/>
  <Override PartName="/ppt/slides/slide666.xml" ContentType="application/vnd.openxmlformats-officedocument.presentationml.slide+xml"/>
  <Override PartName="/ppt/slides/slide667.xml" ContentType="application/vnd.openxmlformats-officedocument.presentationml.slide+xml"/>
  <Override PartName="/ppt/slides/slide668.xml" ContentType="application/vnd.openxmlformats-officedocument.presentationml.slide+xml"/>
  <Override PartName="/ppt/slides/slide669.xml" ContentType="application/vnd.openxmlformats-officedocument.presentationml.slide+xml"/>
  <Override PartName="/ppt/slides/slide670.xml" ContentType="application/vnd.openxmlformats-officedocument.presentationml.slide+xml"/>
  <Override PartName="/ppt/slides/slide671.xml" ContentType="application/vnd.openxmlformats-officedocument.presentationml.slide+xml"/>
  <Override PartName="/ppt/slides/slide672.xml" ContentType="application/vnd.openxmlformats-officedocument.presentationml.slide+xml"/>
  <Override PartName="/ppt/slides/slide673.xml" ContentType="application/vnd.openxmlformats-officedocument.presentationml.slide+xml"/>
  <Override PartName="/ppt/slides/slide674.xml" ContentType="application/vnd.openxmlformats-officedocument.presentationml.slide+xml"/>
  <Override PartName="/ppt/slides/slide675.xml" ContentType="application/vnd.openxmlformats-officedocument.presentationml.slide+xml"/>
  <Override PartName="/ppt/slides/slide676.xml" ContentType="application/vnd.openxmlformats-officedocument.presentationml.slide+xml"/>
  <Override PartName="/ppt/slides/slide677.xml" ContentType="application/vnd.openxmlformats-officedocument.presentationml.slide+xml"/>
  <Override PartName="/ppt/slides/slide678.xml" ContentType="application/vnd.openxmlformats-officedocument.presentationml.slide+xml"/>
  <Override PartName="/ppt/slides/slide679.xml" ContentType="application/vnd.openxmlformats-officedocument.presentationml.slide+xml"/>
  <Override PartName="/ppt/slides/slide680.xml" ContentType="application/vnd.openxmlformats-officedocument.presentationml.slide+xml"/>
  <Override PartName="/ppt/slides/slide681.xml" ContentType="application/vnd.openxmlformats-officedocument.presentationml.slide+xml"/>
  <Override PartName="/ppt/slides/slide682.xml" ContentType="application/vnd.openxmlformats-officedocument.presentationml.slide+xml"/>
  <Override PartName="/ppt/slides/slide683.xml" ContentType="application/vnd.openxmlformats-officedocument.presentationml.slide+xml"/>
  <Override PartName="/ppt/slides/slide684.xml" ContentType="application/vnd.openxmlformats-officedocument.presentationml.slide+xml"/>
  <Override PartName="/ppt/slides/slide685.xml" ContentType="application/vnd.openxmlformats-officedocument.presentationml.slide+xml"/>
  <Override PartName="/ppt/slides/slide686.xml" ContentType="application/vnd.openxmlformats-officedocument.presentationml.slide+xml"/>
  <Override PartName="/ppt/slides/slide687.xml" ContentType="application/vnd.openxmlformats-officedocument.presentationml.slide+xml"/>
  <Override PartName="/ppt/slides/slide688.xml" ContentType="application/vnd.openxmlformats-officedocument.presentationml.slide+xml"/>
  <Override PartName="/ppt/slides/slide689.xml" ContentType="application/vnd.openxmlformats-officedocument.presentationml.slide+xml"/>
  <Override PartName="/ppt/slides/slide690.xml" ContentType="application/vnd.openxmlformats-officedocument.presentationml.slide+xml"/>
  <Override PartName="/ppt/slides/slide691.xml" ContentType="application/vnd.openxmlformats-officedocument.presentationml.slide+xml"/>
  <Override PartName="/ppt/slides/slide692.xml" ContentType="application/vnd.openxmlformats-officedocument.presentationml.slide+xml"/>
  <Override PartName="/ppt/slides/slide693.xml" ContentType="application/vnd.openxmlformats-officedocument.presentationml.slide+xml"/>
  <Override PartName="/ppt/slides/slide694.xml" ContentType="application/vnd.openxmlformats-officedocument.presentationml.slide+xml"/>
  <Override PartName="/ppt/slides/slide695.xml" ContentType="application/vnd.openxmlformats-officedocument.presentationml.slide+xml"/>
  <Override PartName="/ppt/slides/slide696.xml" ContentType="application/vnd.openxmlformats-officedocument.presentationml.slide+xml"/>
  <Override PartName="/ppt/slides/slide697.xml" ContentType="application/vnd.openxmlformats-officedocument.presentationml.slide+xml"/>
  <Override PartName="/ppt/slides/slide698.xml" ContentType="application/vnd.openxmlformats-officedocument.presentationml.slide+xml"/>
  <Override PartName="/ppt/slides/slide699.xml" ContentType="application/vnd.openxmlformats-officedocument.presentationml.slide+xml"/>
  <Override PartName="/ppt/slides/slide700.xml" ContentType="application/vnd.openxmlformats-officedocument.presentationml.slide+xml"/>
  <Override PartName="/ppt/slides/slide701.xml" ContentType="application/vnd.openxmlformats-officedocument.presentationml.slide+xml"/>
  <Override PartName="/ppt/slides/slide702.xml" ContentType="application/vnd.openxmlformats-officedocument.presentationml.slide+xml"/>
  <Override PartName="/ppt/slides/slide703.xml" ContentType="application/vnd.openxmlformats-officedocument.presentationml.slide+xml"/>
  <Override PartName="/ppt/slides/slide704.xml" ContentType="application/vnd.openxmlformats-officedocument.presentationml.slide+xml"/>
  <Override PartName="/ppt/slides/slide705.xml" ContentType="application/vnd.openxmlformats-officedocument.presentationml.slide+xml"/>
  <Override PartName="/ppt/slides/slide706.xml" ContentType="application/vnd.openxmlformats-officedocument.presentationml.slide+xml"/>
  <Override PartName="/ppt/slides/slide707.xml" ContentType="application/vnd.openxmlformats-officedocument.presentationml.slide+xml"/>
  <Override PartName="/ppt/slides/slide708.xml" ContentType="application/vnd.openxmlformats-officedocument.presentationml.slide+xml"/>
  <Override PartName="/ppt/slides/slide709.xml" ContentType="application/vnd.openxmlformats-officedocument.presentationml.slide+xml"/>
  <Override PartName="/ppt/slides/slide710.xml" ContentType="application/vnd.openxmlformats-officedocument.presentationml.slide+xml"/>
  <Override PartName="/ppt/slides/slide711.xml" ContentType="application/vnd.openxmlformats-officedocument.presentationml.slide+xml"/>
  <Override PartName="/ppt/slides/slide712.xml" ContentType="application/vnd.openxmlformats-officedocument.presentationml.slide+xml"/>
  <Override PartName="/ppt/slides/slide713.xml" ContentType="application/vnd.openxmlformats-officedocument.presentationml.slide+xml"/>
  <Override PartName="/ppt/slides/slide714.xml" ContentType="application/vnd.openxmlformats-officedocument.presentationml.slide+xml"/>
  <Override PartName="/ppt/slides/slide715.xml" ContentType="application/vnd.openxmlformats-officedocument.presentationml.slide+xml"/>
  <Override PartName="/ppt/slides/slide716.xml" ContentType="application/vnd.openxmlformats-officedocument.presentationml.slide+xml"/>
  <Override PartName="/ppt/slides/slide717.xml" ContentType="application/vnd.openxmlformats-officedocument.presentationml.slide+xml"/>
  <Override PartName="/ppt/slides/slide718.xml" ContentType="application/vnd.openxmlformats-officedocument.presentationml.slide+xml"/>
  <Override PartName="/ppt/slides/slide719.xml" ContentType="application/vnd.openxmlformats-officedocument.presentationml.slide+xml"/>
  <Override PartName="/ppt/slides/slide720.xml" ContentType="application/vnd.openxmlformats-officedocument.presentationml.slide+xml"/>
  <Override PartName="/ppt/slides/slide721.xml" ContentType="application/vnd.openxmlformats-officedocument.presentationml.slide+xml"/>
  <Override PartName="/ppt/slides/slide722.xml" ContentType="application/vnd.openxmlformats-officedocument.presentationml.slide+xml"/>
  <Override PartName="/ppt/slides/slide723.xml" ContentType="application/vnd.openxmlformats-officedocument.presentationml.slide+xml"/>
  <Override PartName="/ppt/slides/slide724.xml" ContentType="application/vnd.openxmlformats-officedocument.presentationml.slide+xml"/>
  <Override PartName="/ppt/slides/slide725.xml" ContentType="application/vnd.openxmlformats-officedocument.presentationml.slide+xml"/>
  <Override PartName="/ppt/slides/slide726.xml" ContentType="application/vnd.openxmlformats-officedocument.presentationml.slide+xml"/>
  <Override PartName="/ppt/slides/slide727.xml" ContentType="application/vnd.openxmlformats-officedocument.presentationml.slide+xml"/>
  <Override PartName="/ppt/slides/slide728.xml" ContentType="application/vnd.openxmlformats-officedocument.presentationml.slide+xml"/>
  <Override PartName="/ppt/slides/slide729.xml" ContentType="application/vnd.openxmlformats-officedocument.presentationml.slide+xml"/>
  <Override PartName="/ppt/slides/slide730.xml" ContentType="application/vnd.openxmlformats-officedocument.presentationml.slide+xml"/>
  <Override PartName="/ppt/slides/slide731.xml" ContentType="application/vnd.openxmlformats-officedocument.presentationml.slide+xml"/>
  <Override PartName="/ppt/slides/slide732.xml" ContentType="application/vnd.openxmlformats-officedocument.presentationml.slide+xml"/>
  <Override PartName="/ppt/slides/slide733.xml" ContentType="application/vnd.openxmlformats-officedocument.presentationml.slide+xml"/>
  <Override PartName="/ppt/slides/slide734.xml" ContentType="application/vnd.openxmlformats-officedocument.presentationml.slide+xml"/>
  <Override PartName="/ppt/slides/slide735.xml" ContentType="application/vnd.openxmlformats-officedocument.presentationml.slide+xml"/>
  <Override PartName="/ppt/slides/slide736.xml" ContentType="application/vnd.openxmlformats-officedocument.presentationml.slide+xml"/>
  <Override PartName="/ppt/slides/slide737.xml" ContentType="application/vnd.openxmlformats-officedocument.presentationml.slide+xml"/>
  <Override PartName="/ppt/slides/slide738.xml" ContentType="application/vnd.openxmlformats-officedocument.presentationml.slide+xml"/>
  <Override PartName="/ppt/slides/slide739.xml" ContentType="application/vnd.openxmlformats-officedocument.presentationml.slide+xml"/>
  <Override PartName="/ppt/slides/slide740.xml" ContentType="application/vnd.openxmlformats-officedocument.presentationml.slide+xml"/>
  <Override PartName="/ppt/slides/slide741.xml" ContentType="application/vnd.openxmlformats-officedocument.presentationml.slide+xml"/>
  <Override PartName="/ppt/slides/slide742.xml" ContentType="application/vnd.openxmlformats-officedocument.presentationml.slide+xml"/>
  <Override PartName="/ppt/slides/slide743.xml" ContentType="application/vnd.openxmlformats-officedocument.presentationml.slide+xml"/>
  <Override PartName="/ppt/slides/slide744.xml" ContentType="application/vnd.openxmlformats-officedocument.presentationml.slide+xml"/>
  <Override PartName="/ppt/slides/slide745.xml" ContentType="application/vnd.openxmlformats-officedocument.presentationml.slide+xml"/>
  <Override PartName="/ppt/slides/slide746.xml" ContentType="application/vnd.openxmlformats-officedocument.presentationml.slide+xml"/>
  <Override PartName="/ppt/slides/slide747.xml" ContentType="application/vnd.openxmlformats-officedocument.presentationml.slide+xml"/>
  <Override PartName="/ppt/slides/slide748.xml" ContentType="application/vnd.openxmlformats-officedocument.presentationml.slide+xml"/>
  <Override PartName="/ppt/slides/slide749.xml" ContentType="application/vnd.openxmlformats-officedocument.presentationml.slide+xml"/>
  <Override PartName="/ppt/slides/slide750.xml" ContentType="application/vnd.openxmlformats-officedocument.presentationml.slide+xml"/>
  <Override PartName="/ppt/slides/slide751.xml" ContentType="application/vnd.openxmlformats-officedocument.presentationml.slide+xml"/>
  <Override PartName="/ppt/slides/slide752.xml" ContentType="application/vnd.openxmlformats-officedocument.presentationml.slide+xml"/>
  <Override PartName="/ppt/slides/slide753.xml" ContentType="application/vnd.openxmlformats-officedocument.presentationml.slide+xml"/>
  <Override PartName="/ppt/slides/slide754.xml" ContentType="application/vnd.openxmlformats-officedocument.presentationml.slide+xml"/>
  <Override PartName="/ppt/slides/slide755.xml" ContentType="application/vnd.openxmlformats-officedocument.presentationml.slide+xml"/>
  <Override PartName="/ppt/slides/slide756.xml" ContentType="application/vnd.openxmlformats-officedocument.presentationml.slide+xml"/>
  <Override PartName="/ppt/slides/slide757.xml" ContentType="application/vnd.openxmlformats-officedocument.presentationml.slide+xml"/>
  <Override PartName="/ppt/slides/slide758.xml" ContentType="application/vnd.openxmlformats-officedocument.presentationml.slide+xml"/>
  <Override PartName="/ppt/slides/slide759.xml" ContentType="application/vnd.openxmlformats-officedocument.presentationml.slide+xml"/>
  <Override PartName="/ppt/slides/slide760.xml" ContentType="application/vnd.openxmlformats-officedocument.presentationml.slide+xml"/>
  <Override PartName="/ppt/slides/slide761.xml" ContentType="application/vnd.openxmlformats-officedocument.presentationml.slide+xml"/>
  <Override PartName="/ppt/slides/slide762.xml" ContentType="application/vnd.openxmlformats-officedocument.presentationml.slide+xml"/>
  <Override PartName="/ppt/slides/slide763.xml" ContentType="application/vnd.openxmlformats-officedocument.presentationml.slide+xml"/>
  <Override PartName="/ppt/slides/slide764.xml" ContentType="application/vnd.openxmlformats-officedocument.presentationml.slide+xml"/>
  <Override PartName="/ppt/slides/slide765.xml" ContentType="application/vnd.openxmlformats-officedocument.presentationml.slide+xml"/>
  <Override PartName="/ppt/slides/slide766.xml" ContentType="application/vnd.openxmlformats-officedocument.presentationml.slide+xml"/>
  <Override PartName="/ppt/slides/slide767.xml" ContentType="application/vnd.openxmlformats-officedocument.presentationml.slide+xml"/>
  <Override PartName="/ppt/slides/slide768.xml" ContentType="application/vnd.openxmlformats-officedocument.presentationml.slide+xml"/>
  <Override PartName="/ppt/slides/slide769.xml" ContentType="application/vnd.openxmlformats-officedocument.presentationml.slide+xml"/>
  <Override PartName="/ppt/slides/slide770.xml" ContentType="application/vnd.openxmlformats-officedocument.presentationml.slide+xml"/>
  <Override PartName="/ppt/slides/slide771.xml" ContentType="application/vnd.openxmlformats-officedocument.presentationml.slide+xml"/>
  <Override PartName="/ppt/slides/slide772.xml" ContentType="application/vnd.openxmlformats-officedocument.presentationml.slide+xml"/>
  <Override PartName="/ppt/slides/slide773.xml" ContentType="application/vnd.openxmlformats-officedocument.presentationml.slide+xml"/>
  <Override PartName="/ppt/slides/slide774.xml" ContentType="application/vnd.openxmlformats-officedocument.presentationml.slide+xml"/>
  <Override PartName="/ppt/slides/slide775.xml" ContentType="application/vnd.openxmlformats-officedocument.presentationml.slide+xml"/>
  <Override PartName="/ppt/slides/slide776.xml" ContentType="application/vnd.openxmlformats-officedocument.presentationml.slide+xml"/>
  <Override PartName="/ppt/slides/slide777.xml" ContentType="application/vnd.openxmlformats-officedocument.presentationml.slide+xml"/>
  <Override PartName="/ppt/slides/slide778.xml" ContentType="application/vnd.openxmlformats-officedocument.presentationml.slide+xml"/>
  <Override PartName="/ppt/slides/slide779.xml" ContentType="application/vnd.openxmlformats-officedocument.presentationml.slide+xml"/>
  <Override PartName="/ppt/slides/slide780.xml" ContentType="application/vnd.openxmlformats-officedocument.presentationml.slide+xml"/>
  <Override PartName="/ppt/slides/slide781.xml" ContentType="application/vnd.openxmlformats-officedocument.presentationml.slide+xml"/>
  <Override PartName="/ppt/slides/slide782.xml" ContentType="application/vnd.openxmlformats-officedocument.presentationml.slide+xml"/>
  <Override PartName="/ppt/slides/slide783.xml" ContentType="application/vnd.openxmlformats-officedocument.presentationml.slide+xml"/>
  <Override PartName="/ppt/slides/slide784.xml" ContentType="application/vnd.openxmlformats-officedocument.presentationml.slide+xml"/>
  <Override PartName="/ppt/slides/slide785.xml" ContentType="application/vnd.openxmlformats-officedocument.presentationml.slide+xml"/>
  <Override PartName="/ppt/slides/slide786.xml" ContentType="application/vnd.openxmlformats-officedocument.presentationml.slide+xml"/>
  <Override PartName="/ppt/slides/slide787.xml" ContentType="application/vnd.openxmlformats-officedocument.presentationml.slide+xml"/>
  <Override PartName="/ppt/slides/slide788.xml" ContentType="application/vnd.openxmlformats-officedocument.presentationml.slide+xml"/>
  <Override PartName="/ppt/slides/slide789.xml" ContentType="application/vnd.openxmlformats-officedocument.presentationml.slide+xml"/>
  <Override PartName="/ppt/slides/slide790.xml" ContentType="application/vnd.openxmlformats-officedocument.presentationml.slide+xml"/>
  <Override PartName="/ppt/slides/slide791.xml" ContentType="application/vnd.openxmlformats-officedocument.presentationml.slide+xml"/>
  <Override PartName="/ppt/slides/slide792.xml" ContentType="application/vnd.openxmlformats-officedocument.presentationml.slide+xml"/>
  <Override PartName="/ppt/slides/slide793.xml" ContentType="application/vnd.openxmlformats-officedocument.presentationml.slide+xml"/>
  <Override PartName="/ppt/slides/slide794.xml" ContentType="application/vnd.openxmlformats-officedocument.presentationml.slide+xml"/>
  <Override PartName="/ppt/slides/slide795.xml" ContentType="application/vnd.openxmlformats-officedocument.presentationml.slide+xml"/>
  <Override PartName="/ppt/slides/slide796.xml" ContentType="application/vnd.openxmlformats-officedocument.presentationml.slide+xml"/>
  <Override PartName="/ppt/slides/slide797.xml" ContentType="application/vnd.openxmlformats-officedocument.presentationml.slide+xml"/>
  <Override PartName="/ppt/slides/slide798.xml" ContentType="application/vnd.openxmlformats-officedocument.presentationml.slide+xml"/>
  <Override PartName="/ppt/slides/slide799.xml" ContentType="application/vnd.openxmlformats-officedocument.presentationml.slide+xml"/>
  <Override PartName="/ppt/slides/slide800.xml" ContentType="application/vnd.openxmlformats-officedocument.presentationml.slide+xml"/>
  <Override PartName="/ppt/slides/slide801.xml" ContentType="application/vnd.openxmlformats-officedocument.presentationml.slide+xml"/>
  <Override PartName="/ppt/slides/slide802.xml" ContentType="application/vnd.openxmlformats-officedocument.presentationml.slide+xml"/>
  <Override PartName="/ppt/slides/slide803.xml" ContentType="application/vnd.openxmlformats-officedocument.presentationml.slide+xml"/>
  <Override PartName="/ppt/slides/slide804.xml" ContentType="application/vnd.openxmlformats-officedocument.presentationml.slide+xml"/>
  <Override PartName="/ppt/slides/slide805.xml" ContentType="application/vnd.openxmlformats-officedocument.presentationml.slide+xml"/>
  <Override PartName="/ppt/slides/slide806.xml" ContentType="application/vnd.openxmlformats-officedocument.presentationml.slide+xml"/>
  <Override PartName="/ppt/slides/slide807.xml" ContentType="application/vnd.openxmlformats-officedocument.presentationml.slide+xml"/>
  <Override PartName="/ppt/slides/slide808.xml" ContentType="application/vnd.openxmlformats-officedocument.presentationml.slide+xml"/>
  <Override PartName="/ppt/slides/slide809.xml" ContentType="application/vnd.openxmlformats-officedocument.presentationml.slide+xml"/>
  <Override PartName="/ppt/slides/slide810.xml" ContentType="application/vnd.openxmlformats-officedocument.presentationml.slide+xml"/>
  <Override PartName="/ppt/slides/slide811.xml" ContentType="application/vnd.openxmlformats-officedocument.presentationml.slide+xml"/>
  <Override PartName="/ppt/slides/slide812.xml" ContentType="application/vnd.openxmlformats-officedocument.presentationml.slide+xml"/>
  <Override PartName="/ppt/slides/slide813.xml" ContentType="application/vnd.openxmlformats-officedocument.presentationml.slide+xml"/>
  <Override PartName="/ppt/slides/slide814.xml" ContentType="application/vnd.openxmlformats-officedocument.presentationml.slide+xml"/>
  <Override PartName="/ppt/slides/slide815.xml" ContentType="application/vnd.openxmlformats-officedocument.presentationml.slide+xml"/>
  <Override PartName="/ppt/slides/slide816.xml" ContentType="application/vnd.openxmlformats-officedocument.presentationml.slide+xml"/>
  <Override PartName="/ppt/slides/slide817.xml" ContentType="application/vnd.openxmlformats-officedocument.presentationml.slide+xml"/>
  <Override PartName="/ppt/slides/slide818.xml" ContentType="application/vnd.openxmlformats-officedocument.presentationml.slide+xml"/>
  <Override PartName="/ppt/slides/slide819.xml" ContentType="application/vnd.openxmlformats-officedocument.presentationml.slide+xml"/>
  <Override PartName="/ppt/slides/slide820.xml" ContentType="application/vnd.openxmlformats-officedocument.presentationml.slide+xml"/>
  <Override PartName="/ppt/slides/slide821.xml" ContentType="application/vnd.openxmlformats-officedocument.presentationml.slide+xml"/>
  <Override PartName="/ppt/slides/slide822.xml" ContentType="application/vnd.openxmlformats-officedocument.presentationml.slide+xml"/>
  <Override PartName="/ppt/slides/slide823.xml" ContentType="application/vnd.openxmlformats-officedocument.presentationml.slide+xml"/>
  <Override PartName="/ppt/slides/slide824.xml" ContentType="application/vnd.openxmlformats-officedocument.presentationml.slide+xml"/>
  <Override PartName="/ppt/slides/slide825.xml" ContentType="application/vnd.openxmlformats-officedocument.presentationml.slide+xml"/>
  <Override PartName="/ppt/slides/slide826.xml" ContentType="application/vnd.openxmlformats-officedocument.presentationml.slide+xml"/>
  <Override PartName="/ppt/slides/slide827.xml" ContentType="application/vnd.openxmlformats-officedocument.presentationml.slide+xml"/>
  <Override PartName="/ppt/slides/slide828.xml" ContentType="application/vnd.openxmlformats-officedocument.presentationml.slide+xml"/>
  <Override PartName="/ppt/slides/slide829.xml" ContentType="application/vnd.openxmlformats-officedocument.presentationml.slide+xml"/>
  <Override PartName="/ppt/slides/slide830.xml" ContentType="application/vnd.openxmlformats-officedocument.presentationml.slide+xml"/>
  <Override PartName="/ppt/slides/slide831.xml" ContentType="application/vnd.openxmlformats-officedocument.presentationml.slide+xml"/>
  <Override PartName="/ppt/slides/slide832.xml" ContentType="application/vnd.openxmlformats-officedocument.presentationml.slide+xml"/>
  <Override PartName="/ppt/slides/slide833.xml" ContentType="application/vnd.openxmlformats-officedocument.presentationml.slide+xml"/>
  <Override PartName="/ppt/slides/slide834.xml" ContentType="application/vnd.openxmlformats-officedocument.presentationml.slide+xml"/>
  <Override PartName="/ppt/slides/slide835.xml" ContentType="application/vnd.openxmlformats-officedocument.presentationml.slide+xml"/>
  <Override PartName="/ppt/slides/slide836.xml" ContentType="application/vnd.openxmlformats-officedocument.presentationml.slide+xml"/>
  <Override PartName="/ppt/slides/slide837.xml" ContentType="application/vnd.openxmlformats-officedocument.presentationml.slide+xml"/>
  <Override PartName="/ppt/slides/slide838.xml" ContentType="application/vnd.openxmlformats-officedocument.presentationml.slide+xml"/>
  <Override PartName="/ppt/slides/slide839.xml" ContentType="application/vnd.openxmlformats-officedocument.presentationml.slide+xml"/>
  <Override PartName="/ppt/slides/slide840.xml" ContentType="application/vnd.openxmlformats-officedocument.presentationml.slide+xml"/>
  <Override PartName="/ppt/slides/slide841.xml" ContentType="application/vnd.openxmlformats-officedocument.presentationml.slide+xml"/>
  <Override PartName="/ppt/slides/slide842.xml" ContentType="application/vnd.openxmlformats-officedocument.presentationml.slide+xml"/>
  <Override PartName="/ppt/slides/slide843.xml" ContentType="application/vnd.openxmlformats-officedocument.presentationml.slide+xml"/>
  <Override PartName="/ppt/slides/slide844.xml" ContentType="application/vnd.openxmlformats-officedocument.presentationml.slide+xml"/>
  <Override PartName="/ppt/slides/slide845.xml" ContentType="application/vnd.openxmlformats-officedocument.presentationml.slide+xml"/>
  <Override PartName="/ppt/slides/slide846.xml" ContentType="application/vnd.openxmlformats-officedocument.presentationml.slide+xml"/>
  <Override PartName="/ppt/slides/slide847.xml" ContentType="application/vnd.openxmlformats-officedocument.presentationml.slide+xml"/>
  <Override PartName="/ppt/slides/slide848.xml" ContentType="application/vnd.openxmlformats-officedocument.presentationml.slide+xml"/>
  <Override PartName="/ppt/slides/slide849.xml" ContentType="application/vnd.openxmlformats-officedocument.presentationml.slide+xml"/>
  <Override PartName="/ppt/slides/slide850.xml" ContentType="application/vnd.openxmlformats-officedocument.presentationml.slide+xml"/>
  <Override PartName="/ppt/slides/slide851.xml" ContentType="application/vnd.openxmlformats-officedocument.presentationml.slide+xml"/>
  <Override PartName="/ppt/slides/slide852.xml" ContentType="application/vnd.openxmlformats-officedocument.presentationml.slide+xml"/>
  <Override PartName="/ppt/slides/slide853.xml" ContentType="application/vnd.openxmlformats-officedocument.presentationml.slide+xml"/>
  <Override PartName="/ppt/slides/slide854.xml" ContentType="application/vnd.openxmlformats-officedocument.presentationml.slide+xml"/>
  <Override PartName="/ppt/slides/slide855.xml" ContentType="application/vnd.openxmlformats-officedocument.presentationml.slide+xml"/>
  <Override PartName="/ppt/slides/slide856.xml" ContentType="application/vnd.openxmlformats-officedocument.presentationml.slide+xml"/>
  <Override PartName="/ppt/slides/slide857.xml" ContentType="application/vnd.openxmlformats-officedocument.presentationml.slide+xml"/>
  <Override PartName="/ppt/slides/slide858.xml" ContentType="application/vnd.openxmlformats-officedocument.presentationml.slide+xml"/>
  <Override PartName="/ppt/slides/slide859.xml" ContentType="application/vnd.openxmlformats-officedocument.presentationml.slide+xml"/>
  <Override PartName="/ppt/slides/slide860.xml" ContentType="application/vnd.openxmlformats-officedocument.presentationml.slide+xml"/>
  <Override PartName="/ppt/slides/slide861.xml" ContentType="application/vnd.openxmlformats-officedocument.presentationml.slide+xml"/>
  <Override PartName="/ppt/slides/slide862.xml" ContentType="application/vnd.openxmlformats-officedocument.presentationml.slide+xml"/>
  <Override PartName="/ppt/slides/slide863.xml" ContentType="application/vnd.openxmlformats-officedocument.presentationml.slide+xml"/>
  <Override PartName="/ppt/slides/slide864.xml" ContentType="application/vnd.openxmlformats-officedocument.presentationml.slide+xml"/>
  <Override PartName="/ppt/slides/slide865.xml" ContentType="application/vnd.openxmlformats-officedocument.presentationml.slide+xml"/>
  <Override PartName="/ppt/slides/slide866.xml" ContentType="application/vnd.openxmlformats-officedocument.presentationml.slide+xml"/>
  <Override PartName="/ppt/slides/slide867.xml" ContentType="application/vnd.openxmlformats-officedocument.presentationml.slide+xml"/>
  <Override PartName="/ppt/slides/slide868.xml" ContentType="application/vnd.openxmlformats-officedocument.presentationml.slide+xml"/>
  <Override PartName="/ppt/slides/slide869.xml" ContentType="application/vnd.openxmlformats-officedocument.presentationml.slide+xml"/>
  <Override PartName="/ppt/slides/slide870.xml" ContentType="application/vnd.openxmlformats-officedocument.presentationml.slide+xml"/>
  <Override PartName="/ppt/slides/slide871.xml" ContentType="application/vnd.openxmlformats-officedocument.presentationml.slide+xml"/>
  <Override PartName="/ppt/slides/slide872.xml" ContentType="application/vnd.openxmlformats-officedocument.presentationml.slide+xml"/>
  <Override PartName="/ppt/slides/slide873.xml" ContentType="application/vnd.openxmlformats-officedocument.presentationml.slide+xml"/>
  <Override PartName="/ppt/slides/slide874.xml" ContentType="application/vnd.openxmlformats-officedocument.presentationml.slide+xml"/>
  <Override PartName="/ppt/slides/slide875.xml" ContentType="application/vnd.openxmlformats-officedocument.presentationml.slide+xml"/>
  <Override PartName="/ppt/slides/slide876.xml" ContentType="application/vnd.openxmlformats-officedocument.presentationml.slide+xml"/>
  <Override PartName="/ppt/slides/slide877.xml" ContentType="application/vnd.openxmlformats-officedocument.presentationml.slide+xml"/>
  <Override PartName="/ppt/slides/slide878.xml" ContentType="application/vnd.openxmlformats-officedocument.presentationml.slide+xml"/>
  <Override PartName="/ppt/slides/slide879.xml" ContentType="application/vnd.openxmlformats-officedocument.presentationml.slide+xml"/>
  <Override PartName="/ppt/slides/slide880.xml" ContentType="application/vnd.openxmlformats-officedocument.presentationml.slide+xml"/>
  <Override PartName="/ppt/slides/slide881.xml" ContentType="application/vnd.openxmlformats-officedocument.presentationml.slide+xml"/>
  <Override PartName="/ppt/slides/slide882.xml" ContentType="application/vnd.openxmlformats-officedocument.presentationml.slide+xml"/>
  <Override PartName="/ppt/slides/slide883.xml" ContentType="application/vnd.openxmlformats-officedocument.presentationml.slide+xml"/>
  <Override PartName="/ppt/slides/slide884.xml" ContentType="application/vnd.openxmlformats-officedocument.presentationml.slide+xml"/>
  <Override PartName="/ppt/slides/slide885.xml" ContentType="application/vnd.openxmlformats-officedocument.presentationml.slide+xml"/>
  <Override PartName="/ppt/slides/slide886.xml" ContentType="application/vnd.openxmlformats-officedocument.presentationml.slide+xml"/>
  <Override PartName="/ppt/slides/slide887.xml" ContentType="application/vnd.openxmlformats-officedocument.presentationml.slide+xml"/>
  <Override PartName="/ppt/slides/slide888.xml" ContentType="application/vnd.openxmlformats-officedocument.presentationml.slide+xml"/>
  <Override PartName="/ppt/slides/slide889.xml" ContentType="application/vnd.openxmlformats-officedocument.presentationml.slide+xml"/>
  <Override PartName="/ppt/slides/slide890.xml" ContentType="application/vnd.openxmlformats-officedocument.presentationml.slide+xml"/>
  <Override PartName="/ppt/slides/slide891.xml" ContentType="application/vnd.openxmlformats-officedocument.presentationml.slide+xml"/>
  <Override PartName="/ppt/slides/slide892.xml" ContentType="application/vnd.openxmlformats-officedocument.presentationml.slide+xml"/>
  <Override PartName="/ppt/slides/slide893.xml" ContentType="application/vnd.openxmlformats-officedocument.presentationml.slide+xml"/>
  <Override PartName="/ppt/slides/slide894.xml" ContentType="application/vnd.openxmlformats-officedocument.presentationml.slide+xml"/>
  <Override PartName="/ppt/slides/slide895.xml" ContentType="application/vnd.openxmlformats-officedocument.presentationml.slide+xml"/>
  <Override PartName="/ppt/slides/slide896.xml" ContentType="application/vnd.openxmlformats-officedocument.presentationml.slide+xml"/>
  <Override PartName="/ppt/slides/slide897.xml" ContentType="application/vnd.openxmlformats-officedocument.presentationml.slide+xml"/>
  <Override PartName="/ppt/slides/slide898.xml" ContentType="application/vnd.openxmlformats-officedocument.presentationml.slide+xml"/>
  <Override PartName="/ppt/slides/slide899.xml" ContentType="application/vnd.openxmlformats-officedocument.presentationml.slide+xml"/>
  <Override PartName="/ppt/slides/slide900.xml" ContentType="application/vnd.openxmlformats-officedocument.presentationml.slide+xml"/>
  <Override PartName="/ppt/slides/slide901.xml" ContentType="application/vnd.openxmlformats-officedocument.presentationml.slide+xml"/>
  <Override PartName="/ppt/slides/slide902.xml" ContentType="application/vnd.openxmlformats-officedocument.presentationml.slide+xml"/>
  <Override PartName="/ppt/slides/slide903.xml" ContentType="application/vnd.openxmlformats-officedocument.presentationml.slide+xml"/>
  <Override PartName="/ppt/slides/slide904.xml" ContentType="application/vnd.openxmlformats-officedocument.presentationml.slide+xml"/>
  <Override PartName="/ppt/slides/slide905.xml" ContentType="application/vnd.openxmlformats-officedocument.presentationml.slide+xml"/>
  <Override PartName="/ppt/slides/slide906.xml" ContentType="application/vnd.openxmlformats-officedocument.presentationml.slide+xml"/>
  <Override PartName="/ppt/slides/slide907.xml" ContentType="application/vnd.openxmlformats-officedocument.presentationml.slide+xml"/>
  <Override PartName="/ppt/slides/slide908.xml" ContentType="application/vnd.openxmlformats-officedocument.presentationml.slide+xml"/>
  <Override PartName="/ppt/slides/slide909.xml" ContentType="application/vnd.openxmlformats-officedocument.presentationml.slide+xml"/>
  <Override PartName="/ppt/slides/slide910.xml" ContentType="application/vnd.openxmlformats-officedocument.presentationml.slide+xml"/>
  <Override PartName="/ppt/slides/slide911.xml" ContentType="application/vnd.openxmlformats-officedocument.presentationml.slide+xml"/>
  <Override PartName="/ppt/slides/slide912.xml" ContentType="application/vnd.openxmlformats-officedocument.presentationml.slide+xml"/>
  <Override PartName="/ppt/slides/slide913.xml" ContentType="application/vnd.openxmlformats-officedocument.presentationml.slide+xml"/>
  <Override PartName="/ppt/slides/slide914.xml" ContentType="application/vnd.openxmlformats-officedocument.presentationml.slide+xml"/>
  <Override PartName="/ppt/slides/slide915.xml" ContentType="application/vnd.openxmlformats-officedocument.presentationml.slide+xml"/>
  <Override PartName="/ppt/slides/slide916.xml" ContentType="application/vnd.openxmlformats-officedocument.presentationml.slide+xml"/>
  <Override PartName="/ppt/slides/slide917.xml" ContentType="application/vnd.openxmlformats-officedocument.presentationml.slide+xml"/>
  <Override PartName="/ppt/slides/slide918.xml" ContentType="application/vnd.openxmlformats-officedocument.presentationml.slide+xml"/>
  <Override PartName="/ppt/slides/slide919.xml" ContentType="application/vnd.openxmlformats-officedocument.presentationml.slide+xml"/>
  <Override PartName="/ppt/slides/slide920.xml" ContentType="application/vnd.openxmlformats-officedocument.presentationml.slide+xml"/>
  <Override PartName="/ppt/slides/slide921.xml" ContentType="application/vnd.openxmlformats-officedocument.presentationml.slide+xml"/>
  <Override PartName="/ppt/slides/slide922.xml" ContentType="application/vnd.openxmlformats-officedocument.presentationml.slide+xml"/>
  <Override PartName="/ppt/slides/slide923.xml" ContentType="application/vnd.openxmlformats-officedocument.presentationml.slide+xml"/>
  <Override PartName="/ppt/slides/slide924.xml" ContentType="application/vnd.openxmlformats-officedocument.presentationml.slide+xml"/>
  <Override PartName="/ppt/slides/slide925.xml" ContentType="application/vnd.openxmlformats-officedocument.presentationml.slide+xml"/>
  <Override PartName="/ppt/slides/slide926.xml" ContentType="application/vnd.openxmlformats-officedocument.presentationml.slide+xml"/>
  <Override PartName="/ppt/slides/slide927.xml" ContentType="application/vnd.openxmlformats-officedocument.presentationml.slide+xml"/>
  <Override PartName="/ppt/slides/slide928.xml" ContentType="application/vnd.openxmlformats-officedocument.presentationml.slide+xml"/>
  <Override PartName="/ppt/slides/slide929.xml" ContentType="application/vnd.openxmlformats-officedocument.presentationml.slide+xml"/>
  <Override PartName="/ppt/slides/slide930.xml" ContentType="application/vnd.openxmlformats-officedocument.presentationml.slide+xml"/>
  <Override PartName="/ppt/slides/slide931.xml" ContentType="application/vnd.openxmlformats-officedocument.presentationml.slide+xml"/>
  <Override PartName="/ppt/slides/slide932.xml" ContentType="application/vnd.openxmlformats-officedocument.presentationml.slide+xml"/>
  <Override PartName="/ppt/slides/slide933.xml" ContentType="application/vnd.openxmlformats-officedocument.presentationml.slide+xml"/>
  <Override PartName="/ppt/slides/slide934.xml" ContentType="application/vnd.openxmlformats-officedocument.presentationml.slide+xml"/>
  <Override PartName="/ppt/slides/slide935.xml" ContentType="application/vnd.openxmlformats-officedocument.presentationml.slide+xml"/>
  <Override PartName="/ppt/slides/slide936.xml" ContentType="application/vnd.openxmlformats-officedocument.presentationml.slide+xml"/>
  <Override PartName="/ppt/slides/slide9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6.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7.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8.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9.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1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11.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12.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13.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14.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15.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16.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17.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18.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19.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2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21.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22.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23.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24.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25.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26.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27.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28.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29.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30.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31.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32.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33.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34.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35.xml" ContentType="application/vnd.openxmlformats-officedocument.drawingml.chart+xml"/>
  <Override PartName="/ppt/tags/tag63.xml" ContentType="application/vnd.openxmlformats-officedocument.presentationml.tags+xml"/>
  <Override PartName="/ppt/notesSlides/notesSlide36.xml" ContentType="application/vnd.openxmlformats-officedocument.presentationml.notesSlide+xml"/>
  <Override PartName="/ppt/charts/chart36.xml" ContentType="application/vnd.openxmlformats-officedocument.drawingml.chart+xml"/>
  <Override PartName="/ppt/tags/tag64.xml" ContentType="application/vnd.openxmlformats-officedocument.presentationml.tags+xml"/>
  <Override PartName="/ppt/notesSlides/notesSlide37.xml" ContentType="application/vnd.openxmlformats-officedocument.presentationml.notesSlide+xml"/>
  <Override PartName="/ppt/charts/chart37.xml" ContentType="application/vnd.openxmlformats-officedocument.drawingml.chart+xml"/>
  <Override PartName="/ppt/tags/tag65.xml" ContentType="application/vnd.openxmlformats-officedocument.presentationml.tags+xml"/>
  <Override PartName="/ppt/notesSlides/notesSlide38.xml" ContentType="application/vnd.openxmlformats-officedocument.presentationml.notesSlide+xml"/>
  <Override PartName="/ppt/charts/chart38.xml" ContentType="application/vnd.openxmlformats-officedocument.drawingml.chart+xml"/>
  <Override PartName="/ppt/tags/tag66.xml" ContentType="application/vnd.openxmlformats-officedocument.presentationml.tags+xml"/>
  <Override PartName="/ppt/notesSlides/notesSlide39.xml" ContentType="application/vnd.openxmlformats-officedocument.presentationml.notesSlide+xml"/>
  <Override PartName="/ppt/charts/chart39.xml" ContentType="application/vnd.openxmlformats-officedocument.drawingml.chart+xml"/>
  <Override PartName="/ppt/tags/tag67.xml" ContentType="application/vnd.openxmlformats-officedocument.presentationml.tags+xml"/>
  <Override PartName="/ppt/notesSlides/notesSlide40.xml" ContentType="application/vnd.openxmlformats-officedocument.presentationml.notesSlide+xml"/>
  <Override PartName="/ppt/charts/chart40.xml" ContentType="application/vnd.openxmlformats-officedocument.drawingml.chart+xml"/>
  <Override PartName="/ppt/tags/tag68.xml" ContentType="application/vnd.openxmlformats-officedocument.presentationml.tags+xml"/>
  <Override PartName="/ppt/notesSlides/notesSlide41.xml" ContentType="application/vnd.openxmlformats-officedocument.presentationml.notesSlide+xml"/>
  <Override PartName="/ppt/charts/chart41.xml" ContentType="application/vnd.openxmlformats-officedocument.drawingml.chart+xml"/>
  <Override PartName="/ppt/tags/tag69.xml" ContentType="application/vnd.openxmlformats-officedocument.presentationml.tags+xml"/>
  <Override PartName="/ppt/notesSlides/notesSlide42.xml" ContentType="application/vnd.openxmlformats-officedocument.presentationml.notesSlide+xml"/>
  <Override PartName="/ppt/charts/chart42.xml" ContentType="application/vnd.openxmlformats-officedocument.drawingml.chart+xml"/>
  <Override PartName="/ppt/tags/tag70.xml" ContentType="application/vnd.openxmlformats-officedocument.presentationml.tags+xml"/>
  <Override PartName="/ppt/notesSlides/notesSlide43.xml" ContentType="application/vnd.openxmlformats-officedocument.presentationml.notesSlide+xml"/>
  <Override PartName="/ppt/charts/chart43.xml" ContentType="application/vnd.openxmlformats-officedocument.drawingml.chart+xml"/>
  <Override PartName="/ppt/tags/tag71.xml" ContentType="application/vnd.openxmlformats-officedocument.presentationml.tags+xml"/>
  <Override PartName="/ppt/notesSlides/notesSlide44.xml" ContentType="application/vnd.openxmlformats-officedocument.presentationml.notesSlide+xml"/>
  <Override PartName="/ppt/charts/chart44.xml" ContentType="application/vnd.openxmlformats-officedocument.drawingml.chart+xml"/>
  <Override PartName="/ppt/tags/tag72.xml" ContentType="application/vnd.openxmlformats-officedocument.presentationml.tags+xml"/>
  <Override PartName="/ppt/notesSlides/notesSlide45.xml" ContentType="application/vnd.openxmlformats-officedocument.presentationml.notesSlide+xml"/>
  <Override PartName="/ppt/charts/chart45.xml" ContentType="application/vnd.openxmlformats-officedocument.drawingml.chart+xml"/>
  <Override PartName="/ppt/tags/tag73.xml" ContentType="application/vnd.openxmlformats-officedocument.presentationml.tags+xml"/>
  <Override PartName="/ppt/notesSlides/notesSlide46.xml" ContentType="application/vnd.openxmlformats-officedocument.presentationml.notesSlide+xml"/>
  <Override PartName="/ppt/charts/chart46.xml" ContentType="application/vnd.openxmlformats-officedocument.drawingml.chart+xml"/>
  <Override PartName="/ppt/tags/tag74.xml" ContentType="application/vnd.openxmlformats-officedocument.presentationml.tags+xml"/>
  <Override PartName="/ppt/notesSlides/notesSlide47.xml" ContentType="application/vnd.openxmlformats-officedocument.presentationml.notesSlide+xml"/>
  <Override PartName="/ppt/charts/chart47.xml" ContentType="application/vnd.openxmlformats-officedocument.drawingml.chart+xml"/>
  <Override PartName="/ppt/tags/tag75.xml" ContentType="application/vnd.openxmlformats-officedocument.presentationml.tags+xml"/>
  <Override PartName="/ppt/notesSlides/notesSlide48.xml" ContentType="application/vnd.openxmlformats-officedocument.presentationml.notesSlide+xml"/>
  <Override PartName="/ppt/charts/chart48.xml" ContentType="application/vnd.openxmlformats-officedocument.drawingml.chart+xml"/>
  <Override PartName="/ppt/tags/tag76.xml" ContentType="application/vnd.openxmlformats-officedocument.presentationml.tags+xml"/>
  <Override PartName="/ppt/notesSlides/notesSlide49.xml" ContentType="application/vnd.openxmlformats-officedocument.presentationml.notesSlide+xml"/>
  <Override PartName="/ppt/charts/chart49.xml" ContentType="application/vnd.openxmlformats-officedocument.drawingml.chart+xml"/>
  <Override PartName="/ppt/tags/tag77.xml" ContentType="application/vnd.openxmlformats-officedocument.presentationml.tags+xml"/>
  <Override PartName="/ppt/notesSlides/notesSlide50.xml" ContentType="application/vnd.openxmlformats-officedocument.presentationml.notesSlide+xml"/>
  <Override PartName="/ppt/charts/chart50.xml" ContentType="application/vnd.openxmlformats-officedocument.drawingml.chart+xml"/>
  <Override PartName="/ppt/tags/tag78.xml" ContentType="application/vnd.openxmlformats-officedocument.presentationml.tags+xml"/>
  <Override PartName="/ppt/notesSlides/notesSlide51.xml" ContentType="application/vnd.openxmlformats-officedocument.presentationml.notesSlide+xml"/>
  <Override PartName="/ppt/charts/chart51.xml" ContentType="application/vnd.openxmlformats-officedocument.drawingml.chart+xml"/>
  <Override PartName="/ppt/tags/tag79.xml" ContentType="application/vnd.openxmlformats-officedocument.presentationml.tags+xml"/>
  <Override PartName="/ppt/notesSlides/notesSlide52.xml" ContentType="application/vnd.openxmlformats-officedocument.presentationml.notesSlide+xml"/>
  <Override PartName="/ppt/charts/chart52.xml" ContentType="application/vnd.openxmlformats-officedocument.drawingml.chart+xml"/>
  <Override PartName="/ppt/tags/tag80.xml" ContentType="application/vnd.openxmlformats-officedocument.presentationml.tags+xml"/>
  <Override PartName="/ppt/notesSlides/notesSlide53.xml" ContentType="application/vnd.openxmlformats-officedocument.presentationml.notesSlide+xml"/>
  <Override PartName="/ppt/charts/chart53.xml" ContentType="application/vnd.openxmlformats-officedocument.drawingml.chart+xml"/>
  <Override PartName="/ppt/tags/tag81.xml" ContentType="application/vnd.openxmlformats-officedocument.presentationml.tags+xml"/>
  <Override PartName="/ppt/notesSlides/notesSlide54.xml" ContentType="application/vnd.openxmlformats-officedocument.presentationml.notesSlide+xml"/>
  <Override PartName="/ppt/charts/chart54.xml" ContentType="application/vnd.openxmlformats-officedocument.drawingml.chart+xml"/>
  <Override PartName="/ppt/tags/tag82.xml" ContentType="application/vnd.openxmlformats-officedocument.presentationml.tags+xml"/>
  <Override PartName="/ppt/notesSlides/notesSlide55.xml" ContentType="application/vnd.openxmlformats-officedocument.presentationml.notesSlide+xml"/>
  <Override PartName="/ppt/charts/chart55.xml" ContentType="application/vnd.openxmlformats-officedocument.drawingml.chart+xml"/>
  <Override PartName="/ppt/tags/tag83.xml" ContentType="application/vnd.openxmlformats-officedocument.presentationml.tags+xml"/>
  <Override PartName="/ppt/notesSlides/notesSlide56.xml" ContentType="application/vnd.openxmlformats-officedocument.presentationml.notesSlide+xml"/>
  <Override PartName="/ppt/charts/chart56.xml" ContentType="application/vnd.openxmlformats-officedocument.drawingml.chart+xml"/>
  <Override PartName="/ppt/tags/tag84.xml" ContentType="application/vnd.openxmlformats-officedocument.presentationml.tags+xml"/>
  <Override PartName="/ppt/notesSlides/notesSlide57.xml" ContentType="application/vnd.openxmlformats-officedocument.presentationml.notesSlide+xml"/>
  <Override PartName="/ppt/charts/chart57.xml" ContentType="application/vnd.openxmlformats-officedocument.drawingml.chart+xml"/>
  <Override PartName="/ppt/tags/tag85.xml" ContentType="application/vnd.openxmlformats-officedocument.presentationml.tags+xml"/>
  <Override PartName="/ppt/notesSlides/notesSlide58.xml" ContentType="application/vnd.openxmlformats-officedocument.presentationml.notesSlide+xml"/>
  <Override PartName="/ppt/charts/chart58.xml" ContentType="application/vnd.openxmlformats-officedocument.drawingml.chart+xml"/>
  <Override PartName="/ppt/tags/tag86.xml" ContentType="application/vnd.openxmlformats-officedocument.presentationml.tags+xml"/>
  <Override PartName="/ppt/notesSlides/notesSlide59.xml" ContentType="application/vnd.openxmlformats-officedocument.presentationml.notesSlide+xml"/>
  <Override PartName="/ppt/charts/chart59.xml" ContentType="application/vnd.openxmlformats-officedocument.drawingml.chart+xml"/>
  <Override PartName="/ppt/tags/tag87.xml" ContentType="application/vnd.openxmlformats-officedocument.presentationml.tags+xml"/>
  <Override PartName="/ppt/notesSlides/notesSlide60.xml" ContentType="application/vnd.openxmlformats-officedocument.presentationml.notesSlide+xml"/>
  <Override PartName="/ppt/charts/chart60.xml" ContentType="application/vnd.openxmlformats-officedocument.drawingml.chart+xml"/>
  <Override PartName="/ppt/tags/tag88.xml" ContentType="application/vnd.openxmlformats-officedocument.presentationml.tags+xml"/>
  <Override PartName="/ppt/notesSlides/notesSlide61.xml" ContentType="application/vnd.openxmlformats-officedocument.presentationml.notesSlide+xml"/>
  <Override PartName="/ppt/charts/chart61.xml" ContentType="application/vnd.openxmlformats-officedocument.drawingml.chart+xml"/>
  <Override PartName="/ppt/tags/tag89.xml" ContentType="application/vnd.openxmlformats-officedocument.presentationml.tags+xml"/>
  <Override PartName="/ppt/notesSlides/notesSlide62.xml" ContentType="application/vnd.openxmlformats-officedocument.presentationml.notesSlide+xml"/>
  <Override PartName="/ppt/charts/chart62.xml" ContentType="application/vnd.openxmlformats-officedocument.drawingml.chart+xml"/>
  <Override PartName="/ppt/tags/tag90.xml" ContentType="application/vnd.openxmlformats-officedocument.presentationml.tags+xml"/>
  <Override PartName="/ppt/notesSlides/notesSlide63.xml" ContentType="application/vnd.openxmlformats-officedocument.presentationml.notesSlide+xml"/>
  <Override PartName="/ppt/charts/chart63.xml" ContentType="application/vnd.openxmlformats-officedocument.drawingml.chart+xml"/>
  <Override PartName="/ppt/tags/tag91.xml" ContentType="application/vnd.openxmlformats-officedocument.presentationml.tags+xml"/>
  <Override PartName="/ppt/notesSlides/notesSlide64.xml" ContentType="application/vnd.openxmlformats-officedocument.presentationml.notesSlide+xml"/>
  <Override PartName="/ppt/charts/chart64.xml" ContentType="application/vnd.openxmlformats-officedocument.drawingml.chart+xml"/>
  <Override PartName="/ppt/tags/tag92.xml" ContentType="application/vnd.openxmlformats-officedocument.presentationml.tags+xml"/>
  <Override PartName="/ppt/notesSlides/notesSlide65.xml" ContentType="application/vnd.openxmlformats-officedocument.presentationml.notesSlide+xml"/>
  <Override PartName="/ppt/charts/chart65.xml" ContentType="application/vnd.openxmlformats-officedocument.drawingml.chart+xml"/>
  <Override PartName="/ppt/tags/tag93.xml" ContentType="application/vnd.openxmlformats-officedocument.presentationml.tags+xml"/>
  <Override PartName="/ppt/notesSlides/notesSlide66.xml" ContentType="application/vnd.openxmlformats-officedocument.presentationml.notesSlide+xml"/>
  <Override PartName="/ppt/charts/chart66.xml" ContentType="application/vnd.openxmlformats-officedocument.drawingml.chart+xml"/>
  <Override PartName="/ppt/tags/tag94.xml" ContentType="application/vnd.openxmlformats-officedocument.presentationml.tags+xml"/>
  <Override PartName="/ppt/notesSlides/notesSlide67.xml" ContentType="application/vnd.openxmlformats-officedocument.presentationml.notesSlide+xml"/>
  <Override PartName="/ppt/charts/chart67.xml" ContentType="application/vnd.openxmlformats-officedocument.drawingml.chart+xml"/>
  <Override PartName="/ppt/tags/tag95.xml" ContentType="application/vnd.openxmlformats-officedocument.presentationml.tags+xml"/>
  <Override PartName="/ppt/notesSlides/notesSlide68.xml" ContentType="application/vnd.openxmlformats-officedocument.presentationml.notesSlide+xml"/>
  <Override PartName="/ppt/charts/chart68.xml" ContentType="application/vnd.openxmlformats-officedocument.drawingml.chart+xml"/>
  <Override PartName="/ppt/tags/tag96.xml" ContentType="application/vnd.openxmlformats-officedocument.presentationml.tags+xml"/>
  <Override PartName="/ppt/notesSlides/notesSlide69.xml" ContentType="application/vnd.openxmlformats-officedocument.presentationml.notesSlide+xml"/>
  <Override PartName="/ppt/charts/chart69.xml" ContentType="application/vnd.openxmlformats-officedocument.drawingml.chart+xml"/>
  <Override PartName="/ppt/tags/tag97.xml" ContentType="application/vnd.openxmlformats-officedocument.presentationml.tags+xml"/>
  <Override PartName="/ppt/notesSlides/notesSlide70.xml" ContentType="application/vnd.openxmlformats-officedocument.presentationml.notesSlide+xml"/>
  <Override PartName="/ppt/charts/chart70.xml" ContentType="application/vnd.openxmlformats-officedocument.drawingml.chart+xml"/>
  <Override PartName="/ppt/tags/tag98.xml" ContentType="application/vnd.openxmlformats-officedocument.presentationml.tags+xml"/>
  <Override PartName="/ppt/notesSlides/notesSlide71.xml" ContentType="application/vnd.openxmlformats-officedocument.presentationml.notesSlide+xml"/>
  <Override PartName="/ppt/charts/chart71.xml" ContentType="application/vnd.openxmlformats-officedocument.drawingml.chart+xml"/>
  <Override PartName="/ppt/tags/tag99.xml" ContentType="application/vnd.openxmlformats-officedocument.presentationml.tags+xml"/>
  <Override PartName="/ppt/notesSlides/notesSlide72.xml" ContentType="application/vnd.openxmlformats-officedocument.presentationml.notesSlide+xml"/>
  <Override PartName="/ppt/charts/chart72.xml" ContentType="application/vnd.openxmlformats-officedocument.drawingml.chart+xml"/>
  <Override PartName="/ppt/tags/tag100.xml" ContentType="application/vnd.openxmlformats-officedocument.presentationml.tags+xml"/>
  <Override PartName="/ppt/notesSlides/notesSlide73.xml" ContentType="application/vnd.openxmlformats-officedocument.presentationml.notesSlide+xml"/>
  <Override PartName="/ppt/charts/chart73.xml" ContentType="application/vnd.openxmlformats-officedocument.drawingml.chart+xml"/>
  <Override PartName="/ppt/tags/tag101.xml" ContentType="application/vnd.openxmlformats-officedocument.presentationml.tags+xml"/>
  <Override PartName="/ppt/notesSlides/notesSlide74.xml" ContentType="application/vnd.openxmlformats-officedocument.presentationml.notesSlide+xml"/>
  <Override PartName="/ppt/charts/chart74.xml" ContentType="application/vnd.openxmlformats-officedocument.drawingml.chart+xml"/>
  <Override PartName="/ppt/tags/tag102.xml" ContentType="application/vnd.openxmlformats-officedocument.presentationml.tags+xml"/>
  <Override PartName="/ppt/notesSlides/notesSlide75.xml" ContentType="application/vnd.openxmlformats-officedocument.presentationml.notesSlide+xml"/>
  <Override PartName="/ppt/charts/chart75.xml" ContentType="application/vnd.openxmlformats-officedocument.drawingml.chart+xml"/>
  <Override PartName="/ppt/tags/tag103.xml" ContentType="application/vnd.openxmlformats-officedocument.presentationml.tags+xml"/>
  <Override PartName="/ppt/notesSlides/notesSlide76.xml" ContentType="application/vnd.openxmlformats-officedocument.presentationml.notesSlide+xml"/>
  <Override PartName="/ppt/charts/chart76.xml" ContentType="application/vnd.openxmlformats-officedocument.drawingml.chart+xml"/>
  <Override PartName="/ppt/tags/tag104.xml" ContentType="application/vnd.openxmlformats-officedocument.presentationml.tags+xml"/>
  <Override PartName="/ppt/notesSlides/notesSlide77.xml" ContentType="application/vnd.openxmlformats-officedocument.presentationml.notesSlide+xml"/>
  <Override PartName="/ppt/charts/chart77.xml" ContentType="application/vnd.openxmlformats-officedocument.drawingml.chart+xml"/>
  <Override PartName="/ppt/tags/tag105.xml" ContentType="application/vnd.openxmlformats-officedocument.presentationml.tags+xml"/>
  <Override PartName="/ppt/notesSlides/notesSlide78.xml" ContentType="application/vnd.openxmlformats-officedocument.presentationml.notesSlide+xml"/>
  <Override PartName="/ppt/charts/chart78.xml" ContentType="application/vnd.openxmlformats-officedocument.drawingml.chart+xml"/>
  <Override PartName="/ppt/tags/tag106.xml" ContentType="application/vnd.openxmlformats-officedocument.presentationml.tags+xml"/>
  <Override PartName="/ppt/notesSlides/notesSlide79.xml" ContentType="application/vnd.openxmlformats-officedocument.presentationml.notesSlide+xml"/>
  <Override PartName="/ppt/charts/chart79.xml" ContentType="application/vnd.openxmlformats-officedocument.drawingml.chart+xml"/>
  <Override PartName="/ppt/tags/tag107.xml" ContentType="application/vnd.openxmlformats-officedocument.presentationml.tags+xml"/>
  <Override PartName="/ppt/notesSlides/notesSlide80.xml" ContentType="application/vnd.openxmlformats-officedocument.presentationml.notesSlide+xml"/>
  <Override PartName="/ppt/charts/chart80.xml" ContentType="application/vnd.openxmlformats-officedocument.drawingml.chart+xml"/>
  <Override PartName="/ppt/tags/tag108.xml" ContentType="application/vnd.openxmlformats-officedocument.presentationml.tags+xml"/>
  <Override PartName="/ppt/notesSlides/notesSlide81.xml" ContentType="application/vnd.openxmlformats-officedocument.presentationml.notesSlide+xml"/>
  <Override PartName="/ppt/charts/chart81.xml" ContentType="application/vnd.openxmlformats-officedocument.drawingml.chart+xml"/>
  <Override PartName="/ppt/tags/tag109.xml" ContentType="application/vnd.openxmlformats-officedocument.presentationml.tags+xml"/>
  <Override PartName="/ppt/notesSlides/notesSlide82.xml" ContentType="application/vnd.openxmlformats-officedocument.presentationml.notesSlide+xml"/>
  <Override PartName="/ppt/charts/chart82.xml" ContentType="application/vnd.openxmlformats-officedocument.drawingml.chart+xml"/>
  <Override PartName="/ppt/tags/tag110.xml" ContentType="application/vnd.openxmlformats-officedocument.presentationml.tags+xml"/>
  <Override PartName="/ppt/notesSlides/notesSlide83.xml" ContentType="application/vnd.openxmlformats-officedocument.presentationml.notesSlide+xml"/>
  <Override PartName="/ppt/charts/chart83.xml" ContentType="application/vnd.openxmlformats-officedocument.drawingml.chart+xml"/>
  <Override PartName="/ppt/tags/tag111.xml" ContentType="application/vnd.openxmlformats-officedocument.presentationml.tags+xml"/>
  <Override PartName="/ppt/notesSlides/notesSlide84.xml" ContentType="application/vnd.openxmlformats-officedocument.presentationml.notesSlide+xml"/>
  <Override PartName="/ppt/charts/chart84.xml" ContentType="application/vnd.openxmlformats-officedocument.drawingml.chart+xml"/>
  <Override PartName="/ppt/tags/tag112.xml" ContentType="application/vnd.openxmlformats-officedocument.presentationml.tags+xml"/>
  <Override PartName="/ppt/notesSlides/notesSlide85.xml" ContentType="application/vnd.openxmlformats-officedocument.presentationml.notesSlide+xml"/>
  <Override PartName="/ppt/charts/chart85.xml" ContentType="application/vnd.openxmlformats-officedocument.drawingml.chart+xml"/>
  <Override PartName="/ppt/tags/tag113.xml" ContentType="application/vnd.openxmlformats-officedocument.presentationml.tags+xml"/>
  <Override PartName="/ppt/notesSlides/notesSlide86.xml" ContentType="application/vnd.openxmlformats-officedocument.presentationml.notesSlide+xml"/>
  <Override PartName="/ppt/charts/chart86.xml" ContentType="application/vnd.openxmlformats-officedocument.drawingml.chart+xml"/>
  <Override PartName="/ppt/tags/tag114.xml" ContentType="application/vnd.openxmlformats-officedocument.presentationml.tags+xml"/>
  <Override PartName="/ppt/notesSlides/notesSlide87.xml" ContentType="application/vnd.openxmlformats-officedocument.presentationml.notesSlide+xml"/>
  <Override PartName="/ppt/charts/chart87.xml" ContentType="application/vnd.openxmlformats-officedocument.drawingml.chart+xml"/>
  <Override PartName="/ppt/tags/tag115.xml" ContentType="application/vnd.openxmlformats-officedocument.presentationml.tags+xml"/>
  <Override PartName="/ppt/notesSlides/notesSlide88.xml" ContentType="application/vnd.openxmlformats-officedocument.presentationml.notesSlide+xml"/>
  <Override PartName="/ppt/charts/chart88.xml" ContentType="application/vnd.openxmlformats-officedocument.drawingml.chart+xml"/>
  <Override PartName="/ppt/tags/tag116.xml" ContentType="application/vnd.openxmlformats-officedocument.presentationml.tags+xml"/>
  <Override PartName="/ppt/notesSlides/notesSlide89.xml" ContentType="application/vnd.openxmlformats-officedocument.presentationml.notesSlide+xml"/>
  <Override PartName="/ppt/charts/chart89.xml" ContentType="application/vnd.openxmlformats-officedocument.drawingml.chart+xml"/>
  <Override PartName="/ppt/tags/tag117.xml" ContentType="application/vnd.openxmlformats-officedocument.presentationml.tags+xml"/>
  <Override PartName="/ppt/notesSlides/notesSlide90.xml" ContentType="application/vnd.openxmlformats-officedocument.presentationml.notesSlide+xml"/>
  <Override PartName="/ppt/charts/chart90.xml" ContentType="application/vnd.openxmlformats-officedocument.drawingml.chart+xml"/>
  <Override PartName="/ppt/tags/tag118.xml" ContentType="application/vnd.openxmlformats-officedocument.presentationml.tags+xml"/>
  <Override PartName="/ppt/notesSlides/notesSlide91.xml" ContentType="application/vnd.openxmlformats-officedocument.presentationml.notesSlide+xml"/>
  <Override PartName="/ppt/charts/chart91.xml" ContentType="application/vnd.openxmlformats-officedocument.drawingml.chart+xml"/>
  <Override PartName="/ppt/tags/tag119.xml" ContentType="application/vnd.openxmlformats-officedocument.presentationml.tags+xml"/>
  <Override PartName="/ppt/notesSlides/notesSlide92.xml" ContentType="application/vnd.openxmlformats-officedocument.presentationml.notesSlide+xml"/>
  <Override PartName="/ppt/charts/chart92.xml" ContentType="application/vnd.openxmlformats-officedocument.drawingml.chart+xml"/>
  <Override PartName="/ppt/tags/tag120.xml" ContentType="application/vnd.openxmlformats-officedocument.presentationml.tags+xml"/>
  <Override PartName="/ppt/notesSlides/notesSlide93.xml" ContentType="application/vnd.openxmlformats-officedocument.presentationml.notesSlide+xml"/>
  <Override PartName="/ppt/charts/chart93.xml" ContentType="application/vnd.openxmlformats-officedocument.drawingml.chart+xml"/>
  <Override PartName="/ppt/theme/themeOverride1.xml" ContentType="application/vnd.openxmlformats-officedocument.themeOverride+xml"/>
  <Override PartName="/ppt/charts/chart94.xml" ContentType="application/vnd.openxmlformats-officedocument.drawingml.chart+xml"/>
  <Override PartName="/ppt/theme/themeOverride2.xml" ContentType="application/vnd.openxmlformats-officedocument.themeOverride+xml"/>
  <Override PartName="/ppt/charts/chart95.xml" ContentType="application/vnd.openxmlformats-officedocument.drawingml.chart+xml"/>
  <Override PartName="/ppt/tags/tag121.xml" ContentType="application/vnd.openxmlformats-officedocument.presentationml.tags+xml"/>
  <Override PartName="/ppt/notesSlides/notesSlide94.xml" ContentType="application/vnd.openxmlformats-officedocument.presentationml.notesSlide+xml"/>
  <Override PartName="/ppt/charts/chart96.xml" ContentType="application/vnd.openxmlformats-officedocument.drawingml.chart+xml"/>
  <Override PartName="/ppt/theme/themeOverride3.xml" ContentType="application/vnd.openxmlformats-officedocument.themeOverride+xml"/>
  <Override PartName="/ppt/charts/chart97.xml" ContentType="application/vnd.openxmlformats-officedocument.drawingml.chart+xml"/>
  <Override PartName="/ppt/theme/themeOverride4.xml" ContentType="application/vnd.openxmlformats-officedocument.themeOverride+xml"/>
  <Override PartName="/ppt/charts/chart98.xml" ContentType="application/vnd.openxmlformats-officedocument.drawingml.chart+xml"/>
  <Override PartName="/ppt/tags/tag122.xml" ContentType="application/vnd.openxmlformats-officedocument.presentationml.tags+xml"/>
  <Override PartName="/ppt/notesSlides/notesSlide95.xml" ContentType="application/vnd.openxmlformats-officedocument.presentationml.notesSlide+xml"/>
  <Override PartName="/ppt/charts/chart99.xml" ContentType="application/vnd.openxmlformats-officedocument.drawingml.chart+xml"/>
  <Override PartName="/ppt/theme/themeOverride5.xml" ContentType="application/vnd.openxmlformats-officedocument.themeOverride+xml"/>
  <Override PartName="/ppt/charts/chart100.xml" ContentType="application/vnd.openxmlformats-officedocument.drawingml.chart+xml"/>
  <Override PartName="/ppt/theme/themeOverride6.xml" ContentType="application/vnd.openxmlformats-officedocument.themeOverride+xml"/>
  <Override PartName="/ppt/charts/chart101.xml" ContentType="application/vnd.openxmlformats-officedocument.drawingml.chart+xml"/>
  <Override PartName="/ppt/tags/tag123.xml" ContentType="application/vnd.openxmlformats-officedocument.presentationml.tags+xml"/>
  <Override PartName="/ppt/notesSlides/notesSlide96.xml" ContentType="application/vnd.openxmlformats-officedocument.presentationml.notesSlide+xml"/>
  <Override PartName="/ppt/charts/chart102.xml" ContentType="application/vnd.openxmlformats-officedocument.drawingml.chart+xml"/>
  <Override PartName="/ppt/theme/themeOverride7.xml" ContentType="application/vnd.openxmlformats-officedocument.themeOverride+xml"/>
  <Override PartName="/ppt/charts/chart103.xml" ContentType="application/vnd.openxmlformats-officedocument.drawingml.chart+xml"/>
  <Override PartName="/ppt/theme/themeOverride8.xml" ContentType="application/vnd.openxmlformats-officedocument.themeOverride+xml"/>
  <Override PartName="/ppt/charts/chart104.xml" ContentType="application/vnd.openxmlformats-officedocument.drawingml.chart+xml"/>
  <Override PartName="/ppt/tags/tag124.xml" ContentType="application/vnd.openxmlformats-officedocument.presentationml.tags+xml"/>
  <Override PartName="/ppt/notesSlides/notesSlide97.xml" ContentType="application/vnd.openxmlformats-officedocument.presentationml.notesSlide+xml"/>
  <Override PartName="/ppt/charts/chart105.xml" ContentType="application/vnd.openxmlformats-officedocument.drawingml.chart+xml"/>
  <Override PartName="/ppt/theme/themeOverride9.xml" ContentType="application/vnd.openxmlformats-officedocument.themeOverride+xml"/>
  <Override PartName="/ppt/charts/chart106.xml" ContentType="application/vnd.openxmlformats-officedocument.drawingml.chart+xml"/>
  <Override PartName="/ppt/theme/themeOverride10.xml" ContentType="application/vnd.openxmlformats-officedocument.themeOverride+xml"/>
  <Override PartName="/ppt/charts/chart107.xml" ContentType="application/vnd.openxmlformats-officedocument.drawingml.chart+xml"/>
  <Override PartName="/ppt/tags/tag125.xml" ContentType="application/vnd.openxmlformats-officedocument.presentationml.tags+xml"/>
  <Override PartName="/ppt/notesSlides/notesSlide98.xml" ContentType="application/vnd.openxmlformats-officedocument.presentationml.notesSlide+xml"/>
  <Override PartName="/ppt/charts/chart108.xml" ContentType="application/vnd.openxmlformats-officedocument.drawingml.chart+xml"/>
  <Override PartName="/ppt/theme/themeOverride11.xml" ContentType="application/vnd.openxmlformats-officedocument.themeOverride+xml"/>
  <Override PartName="/ppt/charts/chart109.xml" ContentType="application/vnd.openxmlformats-officedocument.drawingml.chart+xml"/>
  <Override PartName="/ppt/theme/themeOverride12.xml" ContentType="application/vnd.openxmlformats-officedocument.themeOverride+xml"/>
  <Override PartName="/ppt/charts/chart110.xml" ContentType="application/vnd.openxmlformats-officedocument.drawingml.chart+xml"/>
  <Override PartName="/ppt/tags/tag126.xml" ContentType="application/vnd.openxmlformats-officedocument.presentationml.tags+xml"/>
  <Override PartName="/ppt/notesSlides/notesSlide99.xml" ContentType="application/vnd.openxmlformats-officedocument.presentationml.notesSlide+xml"/>
  <Override PartName="/ppt/charts/chart111.xml" ContentType="application/vnd.openxmlformats-officedocument.drawingml.chart+xml"/>
  <Override PartName="/ppt/theme/themeOverride13.xml" ContentType="application/vnd.openxmlformats-officedocument.themeOverride+xml"/>
  <Override PartName="/ppt/charts/chart112.xml" ContentType="application/vnd.openxmlformats-officedocument.drawingml.chart+xml"/>
  <Override PartName="/ppt/theme/themeOverride14.xml" ContentType="application/vnd.openxmlformats-officedocument.themeOverride+xml"/>
  <Override PartName="/ppt/charts/chart113.xml" ContentType="application/vnd.openxmlformats-officedocument.drawingml.chart+xml"/>
  <Override PartName="/ppt/tags/tag127.xml" ContentType="application/vnd.openxmlformats-officedocument.presentationml.tags+xml"/>
  <Override PartName="/ppt/notesSlides/notesSlide100.xml" ContentType="application/vnd.openxmlformats-officedocument.presentationml.notesSlide+xml"/>
  <Override PartName="/ppt/charts/chart114.xml" ContentType="application/vnd.openxmlformats-officedocument.drawingml.chart+xml"/>
  <Override PartName="/ppt/theme/themeOverride15.xml" ContentType="application/vnd.openxmlformats-officedocument.themeOverride+xml"/>
  <Override PartName="/ppt/charts/chart115.xml" ContentType="application/vnd.openxmlformats-officedocument.drawingml.chart+xml"/>
  <Override PartName="/ppt/theme/themeOverride16.xml" ContentType="application/vnd.openxmlformats-officedocument.themeOverride+xml"/>
  <Override PartName="/ppt/charts/chart116.xml" ContentType="application/vnd.openxmlformats-officedocument.drawingml.chart+xml"/>
  <Override PartName="/ppt/tags/tag128.xml" ContentType="application/vnd.openxmlformats-officedocument.presentationml.tags+xml"/>
  <Override PartName="/ppt/notesSlides/notesSlide101.xml" ContentType="application/vnd.openxmlformats-officedocument.presentationml.notesSlide+xml"/>
  <Override PartName="/ppt/charts/chart117.xml" ContentType="application/vnd.openxmlformats-officedocument.drawingml.chart+xml"/>
  <Override PartName="/ppt/theme/themeOverride17.xml" ContentType="application/vnd.openxmlformats-officedocument.themeOverride+xml"/>
  <Override PartName="/ppt/charts/chart118.xml" ContentType="application/vnd.openxmlformats-officedocument.drawingml.chart+xml"/>
  <Override PartName="/ppt/theme/themeOverride18.xml" ContentType="application/vnd.openxmlformats-officedocument.themeOverride+xml"/>
  <Override PartName="/ppt/charts/chart119.xml" ContentType="application/vnd.openxmlformats-officedocument.drawingml.chart+xml"/>
  <Override PartName="/ppt/tags/tag129.xml" ContentType="application/vnd.openxmlformats-officedocument.presentationml.tags+xml"/>
  <Override PartName="/ppt/notesSlides/notesSlide102.xml" ContentType="application/vnd.openxmlformats-officedocument.presentationml.notesSlide+xml"/>
  <Override PartName="/ppt/charts/chart120.xml" ContentType="application/vnd.openxmlformats-officedocument.drawingml.chart+xml"/>
  <Override PartName="/ppt/theme/themeOverride19.xml" ContentType="application/vnd.openxmlformats-officedocument.themeOverride+xml"/>
  <Override PartName="/ppt/charts/chart121.xml" ContentType="application/vnd.openxmlformats-officedocument.drawingml.chart+xml"/>
  <Override PartName="/ppt/theme/themeOverride20.xml" ContentType="application/vnd.openxmlformats-officedocument.themeOverride+xml"/>
  <Override PartName="/ppt/charts/chart122.xml" ContentType="application/vnd.openxmlformats-officedocument.drawingml.chart+xml"/>
  <Override PartName="/ppt/tags/tag130.xml" ContentType="application/vnd.openxmlformats-officedocument.presentationml.tags+xml"/>
  <Override PartName="/ppt/notesSlides/notesSlide103.xml" ContentType="application/vnd.openxmlformats-officedocument.presentationml.notesSlide+xml"/>
  <Override PartName="/ppt/charts/chart123.xml" ContentType="application/vnd.openxmlformats-officedocument.drawingml.chart+xml"/>
  <Override PartName="/ppt/theme/themeOverride21.xml" ContentType="application/vnd.openxmlformats-officedocument.themeOverride+xml"/>
  <Override PartName="/ppt/charts/chart124.xml" ContentType="application/vnd.openxmlformats-officedocument.drawingml.chart+xml"/>
  <Override PartName="/ppt/theme/themeOverride22.xml" ContentType="application/vnd.openxmlformats-officedocument.themeOverride+xml"/>
  <Override PartName="/ppt/charts/chart125.xml" ContentType="application/vnd.openxmlformats-officedocument.drawingml.chart+xml"/>
  <Override PartName="/ppt/tags/tag131.xml" ContentType="application/vnd.openxmlformats-officedocument.presentationml.tags+xml"/>
  <Override PartName="/ppt/notesSlides/notesSlide104.xml" ContentType="application/vnd.openxmlformats-officedocument.presentationml.notesSlide+xml"/>
  <Override PartName="/ppt/charts/chart126.xml" ContentType="application/vnd.openxmlformats-officedocument.drawingml.chart+xml"/>
  <Override PartName="/ppt/theme/themeOverride23.xml" ContentType="application/vnd.openxmlformats-officedocument.themeOverride+xml"/>
  <Override PartName="/ppt/charts/chart127.xml" ContentType="application/vnd.openxmlformats-officedocument.drawingml.chart+xml"/>
  <Override PartName="/ppt/theme/themeOverride24.xml" ContentType="application/vnd.openxmlformats-officedocument.themeOverride+xml"/>
  <Override PartName="/ppt/charts/chart128.xml" ContentType="application/vnd.openxmlformats-officedocument.drawingml.chart+xml"/>
  <Override PartName="/ppt/tags/tag132.xml" ContentType="application/vnd.openxmlformats-officedocument.presentationml.tags+xml"/>
  <Override PartName="/ppt/notesSlides/notesSlide105.xml" ContentType="application/vnd.openxmlformats-officedocument.presentationml.notesSlide+xml"/>
  <Override PartName="/ppt/charts/chart129.xml" ContentType="application/vnd.openxmlformats-officedocument.drawingml.chart+xml"/>
  <Override PartName="/ppt/theme/themeOverride25.xml" ContentType="application/vnd.openxmlformats-officedocument.themeOverride+xml"/>
  <Override PartName="/ppt/charts/chart130.xml" ContentType="application/vnd.openxmlformats-officedocument.drawingml.chart+xml"/>
  <Override PartName="/ppt/theme/themeOverride26.xml" ContentType="application/vnd.openxmlformats-officedocument.themeOverride+xml"/>
  <Override PartName="/ppt/charts/chart131.xml" ContentType="application/vnd.openxmlformats-officedocument.drawingml.chart+xml"/>
  <Override PartName="/ppt/tags/tag133.xml" ContentType="application/vnd.openxmlformats-officedocument.presentationml.tags+xml"/>
  <Override PartName="/ppt/notesSlides/notesSlide106.xml" ContentType="application/vnd.openxmlformats-officedocument.presentationml.notesSlide+xml"/>
  <Override PartName="/ppt/charts/chart132.xml" ContentType="application/vnd.openxmlformats-officedocument.drawingml.chart+xml"/>
  <Override PartName="/ppt/theme/themeOverride27.xml" ContentType="application/vnd.openxmlformats-officedocument.themeOverride+xml"/>
  <Override PartName="/ppt/charts/chart133.xml" ContentType="application/vnd.openxmlformats-officedocument.drawingml.chart+xml"/>
  <Override PartName="/ppt/theme/themeOverride28.xml" ContentType="application/vnd.openxmlformats-officedocument.themeOverride+xml"/>
  <Override PartName="/ppt/charts/chart134.xml" ContentType="application/vnd.openxmlformats-officedocument.drawingml.chart+xml"/>
  <Override PartName="/ppt/tags/tag134.xml" ContentType="application/vnd.openxmlformats-officedocument.presentationml.tags+xml"/>
  <Override PartName="/ppt/notesSlides/notesSlide107.xml" ContentType="application/vnd.openxmlformats-officedocument.presentationml.notesSlide+xml"/>
  <Override PartName="/ppt/charts/chart135.xml" ContentType="application/vnd.openxmlformats-officedocument.drawingml.chart+xml"/>
  <Override PartName="/ppt/theme/themeOverride29.xml" ContentType="application/vnd.openxmlformats-officedocument.themeOverride+xml"/>
  <Override PartName="/ppt/charts/chart136.xml" ContentType="application/vnd.openxmlformats-officedocument.drawingml.chart+xml"/>
  <Override PartName="/ppt/theme/themeOverride30.xml" ContentType="application/vnd.openxmlformats-officedocument.themeOverride+xml"/>
  <Override PartName="/ppt/charts/chart137.xml" ContentType="application/vnd.openxmlformats-officedocument.drawingml.chart+xml"/>
  <Override PartName="/ppt/tags/tag135.xml" ContentType="application/vnd.openxmlformats-officedocument.presentationml.tags+xml"/>
  <Override PartName="/ppt/notesSlides/notesSlide108.xml" ContentType="application/vnd.openxmlformats-officedocument.presentationml.notesSlide+xml"/>
  <Override PartName="/ppt/charts/chart138.xml" ContentType="application/vnd.openxmlformats-officedocument.drawingml.chart+xml"/>
  <Override PartName="/ppt/theme/themeOverride31.xml" ContentType="application/vnd.openxmlformats-officedocument.themeOverride+xml"/>
  <Override PartName="/ppt/charts/chart139.xml" ContentType="application/vnd.openxmlformats-officedocument.drawingml.chart+xml"/>
  <Override PartName="/ppt/theme/themeOverride32.xml" ContentType="application/vnd.openxmlformats-officedocument.themeOverride+xml"/>
  <Override PartName="/ppt/charts/chart140.xml" ContentType="application/vnd.openxmlformats-officedocument.drawingml.chart+xml"/>
  <Override PartName="/ppt/tags/tag136.xml" ContentType="application/vnd.openxmlformats-officedocument.presentationml.tags+xml"/>
  <Override PartName="/ppt/notesSlides/notesSlide109.xml" ContentType="application/vnd.openxmlformats-officedocument.presentationml.notesSlide+xml"/>
  <Override PartName="/ppt/charts/chart141.xml" ContentType="application/vnd.openxmlformats-officedocument.drawingml.chart+xml"/>
  <Override PartName="/ppt/theme/themeOverride33.xml" ContentType="application/vnd.openxmlformats-officedocument.themeOverride+xml"/>
  <Override PartName="/ppt/charts/chart142.xml" ContentType="application/vnd.openxmlformats-officedocument.drawingml.chart+xml"/>
  <Override PartName="/ppt/theme/themeOverride34.xml" ContentType="application/vnd.openxmlformats-officedocument.themeOverride+xml"/>
  <Override PartName="/ppt/charts/chart143.xml" ContentType="application/vnd.openxmlformats-officedocument.drawingml.chart+xml"/>
  <Override PartName="/ppt/tags/tag137.xml" ContentType="application/vnd.openxmlformats-officedocument.presentationml.tags+xml"/>
  <Override PartName="/ppt/notesSlides/notesSlide110.xml" ContentType="application/vnd.openxmlformats-officedocument.presentationml.notesSlide+xml"/>
  <Override PartName="/ppt/charts/chart144.xml" ContentType="application/vnd.openxmlformats-officedocument.drawingml.chart+xml"/>
  <Override PartName="/ppt/theme/themeOverride35.xml" ContentType="application/vnd.openxmlformats-officedocument.themeOverride+xml"/>
  <Override PartName="/ppt/charts/chart145.xml" ContentType="application/vnd.openxmlformats-officedocument.drawingml.chart+xml"/>
  <Override PartName="/ppt/theme/themeOverride36.xml" ContentType="application/vnd.openxmlformats-officedocument.themeOverride+xml"/>
  <Override PartName="/ppt/charts/chart146.xml" ContentType="application/vnd.openxmlformats-officedocument.drawingml.chart+xml"/>
  <Override PartName="/ppt/tags/tag138.xml" ContentType="application/vnd.openxmlformats-officedocument.presentationml.tags+xml"/>
  <Override PartName="/ppt/notesSlides/notesSlide111.xml" ContentType="application/vnd.openxmlformats-officedocument.presentationml.notesSlide+xml"/>
  <Override PartName="/ppt/charts/chart147.xml" ContentType="application/vnd.openxmlformats-officedocument.drawingml.chart+xml"/>
  <Override PartName="/ppt/theme/themeOverride37.xml" ContentType="application/vnd.openxmlformats-officedocument.themeOverride+xml"/>
  <Override PartName="/ppt/charts/chart148.xml" ContentType="application/vnd.openxmlformats-officedocument.drawingml.chart+xml"/>
  <Override PartName="/ppt/theme/themeOverride38.xml" ContentType="application/vnd.openxmlformats-officedocument.themeOverride+xml"/>
  <Override PartName="/ppt/charts/chart149.xml" ContentType="application/vnd.openxmlformats-officedocument.drawingml.chart+xml"/>
  <Override PartName="/ppt/tags/tag139.xml" ContentType="application/vnd.openxmlformats-officedocument.presentationml.tags+xml"/>
  <Override PartName="/ppt/notesSlides/notesSlide112.xml" ContentType="application/vnd.openxmlformats-officedocument.presentationml.notesSlide+xml"/>
  <Override PartName="/ppt/charts/chart150.xml" ContentType="application/vnd.openxmlformats-officedocument.drawingml.chart+xml"/>
  <Override PartName="/ppt/theme/themeOverride39.xml" ContentType="application/vnd.openxmlformats-officedocument.themeOverride+xml"/>
  <Override PartName="/ppt/charts/chart151.xml" ContentType="application/vnd.openxmlformats-officedocument.drawingml.chart+xml"/>
  <Override PartName="/ppt/theme/themeOverride40.xml" ContentType="application/vnd.openxmlformats-officedocument.themeOverride+xml"/>
  <Override PartName="/ppt/charts/chart152.xml" ContentType="application/vnd.openxmlformats-officedocument.drawingml.chart+xml"/>
  <Override PartName="/ppt/tags/tag140.xml" ContentType="application/vnd.openxmlformats-officedocument.presentationml.tags+xml"/>
  <Override PartName="/ppt/notesSlides/notesSlide113.xml" ContentType="application/vnd.openxmlformats-officedocument.presentationml.notesSlide+xml"/>
  <Override PartName="/ppt/charts/chart153.xml" ContentType="application/vnd.openxmlformats-officedocument.drawingml.chart+xml"/>
  <Override PartName="/ppt/theme/themeOverride41.xml" ContentType="application/vnd.openxmlformats-officedocument.themeOverride+xml"/>
  <Override PartName="/ppt/charts/chart154.xml" ContentType="application/vnd.openxmlformats-officedocument.drawingml.chart+xml"/>
  <Override PartName="/ppt/theme/themeOverride42.xml" ContentType="application/vnd.openxmlformats-officedocument.themeOverride+xml"/>
  <Override PartName="/ppt/charts/chart155.xml" ContentType="application/vnd.openxmlformats-officedocument.drawingml.chart+xml"/>
  <Override PartName="/ppt/tags/tag141.xml" ContentType="application/vnd.openxmlformats-officedocument.presentationml.tags+xml"/>
  <Override PartName="/ppt/notesSlides/notesSlide114.xml" ContentType="application/vnd.openxmlformats-officedocument.presentationml.notesSlide+xml"/>
  <Override PartName="/ppt/charts/chart156.xml" ContentType="application/vnd.openxmlformats-officedocument.drawingml.chart+xml"/>
  <Override PartName="/ppt/theme/themeOverride43.xml" ContentType="application/vnd.openxmlformats-officedocument.themeOverride+xml"/>
  <Override PartName="/ppt/charts/chart157.xml" ContentType="application/vnd.openxmlformats-officedocument.drawingml.chart+xml"/>
  <Override PartName="/ppt/theme/themeOverride44.xml" ContentType="application/vnd.openxmlformats-officedocument.themeOverride+xml"/>
  <Override PartName="/ppt/charts/chart158.xml" ContentType="application/vnd.openxmlformats-officedocument.drawingml.chart+xml"/>
  <Override PartName="/ppt/tags/tag142.xml" ContentType="application/vnd.openxmlformats-officedocument.presentationml.tags+xml"/>
  <Override PartName="/ppt/notesSlides/notesSlide115.xml" ContentType="application/vnd.openxmlformats-officedocument.presentationml.notesSlide+xml"/>
  <Override PartName="/ppt/charts/chart159.xml" ContentType="application/vnd.openxmlformats-officedocument.drawingml.chart+xml"/>
  <Override PartName="/ppt/theme/themeOverride45.xml" ContentType="application/vnd.openxmlformats-officedocument.themeOverride+xml"/>
  <Override PartName="/ppt/charts/chart160.xml" ContentType="application/vnd.openxmlformats-officedocument.drawingml.chart+xml"/>
  <Override PartName="/ppt/theme/themeOverride46.xml" ContentType="application/vnd.openxmlformats-officedocument.themeOverride+xml"/>
  <Override PartName="/ppt/charts/chart161.xml" ContentType="application/vnd.openxmlformats-officedocument.drawingml.chart+xml"/>
  <Override PartName="/ppt/tags/tag143.xml" ContentType="application/vnd.openxmlformats-officedocument.presentationml.tags+xml"/>
  <Override PartName="/ppt/notesSlides/notesSlide116.xml" ContentType="application/vnd.openxmlformats-officedocument.presentationml.notesSlide+xml"/>
  <Override PartName="/ppt/charts/chart162.xml" ContentType="application/vnd.openxmlformats-officedocument.drawingml.chart+xml"/>
  <Override PartName="/ppt/theme/themeOverride47.xml" ContentType="application/vnd.openxmlformats-officedocument.themeOverride+xml"/>
  <Override PartName="/ppt/charts/chart163.xml" ContentType="application/vnd.openxmlformats-officedocument.drawingml.chart+xml"/>
  <Override PartName="/ppt/theme/themeOverride48.xml" ContentType="application/vnd.openxmlformats-officedocument.themeOverride+xml"/>
  <Override PartName="/ppt/charts/chart164.xml" ContentType="application/vnd.openxmlformats-officedocument.drawingml.chart+xml"/>
  <Override PartName="/ppt/tags/tag144.xml" ContentType="application/vnd.openxmlformats-officedocument.presentationml.tags+xml"/>
  <Override PartName="/ppt/notesSlides/notesSlide117.xml" ContentType="application/vnd.openxmlformats-officedocument.presentationml.notesSlide+xml"/>
  <Override PartName="/ppt/charts/chart165.xml" ContentType="application/vnd.openxmlformats-officedocument.drawingml.chart+xml"/>
  <Override PartName="/ppt/theme/themeOverride49.xml" ContentType="application/vnd.openxmlformats-officedocument.themeOverride+xml"/>
  <Override PartName="/ppt/charts/chart166.xml" ContentType="application/vnd.openxmlformats-officedocument.drawingml.chart+xml"/>
  <Override PartName="/ppt/theme/themeOverride50.xml" ContentType="application/vnd.openxmlformats-officedocument.themeOverride+xml"/>
  <Override PartName="/ppt/charts/chart167.xml" ContentType="application/vnd.openxmlformats-officedocument.drawingml.chart+xml"/>
  <Override PartName="/ppt/tags/tag145.xml" ContentType="application/vnd.openxmlformats-officedocument.presentationml.tags+xml"/>
  <Override PartName="/ppt/notesSlides/notesSlide118.xml" ContentType="application/vnd.openxmlformats-officedocument.presentationml.notesSlide+xml"/>
  <Override PartName="/ppt/charts/chart168.xml" ContentType="application/vnd.openxmlformats-officedocument.drawingml.chart+xml"/>
  <Override PartName="/ppt/theme/themeOverride51.xml" ContentType="application/vnd.openxmlformats-officedocument.themeOverride+xml"/>
  <Override PartName="/ppt/charts/chart169.xml" ContentType="application/vnd.openxmlformats-officedocument.drawingml.chart+xml"/>
  <Override PartName="/ppt/theme/themeOverride52.xml" ContentType="application/vnd.openxmlformats-officedocument.themeOverride+xml"/>
  <Override PartName="/ppt/charts/chart170.xml" ContentType="application/vnd.openxmlformats-officedocument.drawingml.chart+xml"/>
  <Override PartName="/ppt/tags/tag146.xml" ContentType="application/vnd.openxmlformats-officedocument.presentationml.tags+xml"/>
  <Override PartName="/ppt/notesSlides/notesSlide119.xml" ContentType="application/vnd.openxmlformats-officedocument.presentationml.notesSlide+xml"/>
  <Override PartName="/ppt/charts/chart171.xml" ContentType="application/vnd.openxmlformats-officedocument.drawingml.chart+xml"/>
  <Override PartName="/ppt/theme/themeOverride53.xml" ContentType="application/vnd.openxmlformats-officedocument.themeOverride+xml"/>
  <Override PartName="/ppt/charts/chart172.xml" ContentType="application/vnd.openxmlformats-officedocument.drawingml.chart+xml"/>
  <Override PartName="/ppt/theme/themeOverride54.xml" ContentType="application/vnd.openxmlformats-officedocument.themeOverride+xml"/>
  <Override PartName="/ppt/charts/chart173.xml" ContentType="application/vnd.openxmlformats-officedocument.drawingml.chart+xml"/>
  <Override PartName="/ppt/tags/tag147.xml" ContentType="application/vnd.openxmlformats-officedocument.presentationml.tags+xml"/>
  <Override PartName="/ppt/notesSlides/notesSlide120.xml" ContentType="application/vnd.openxmlformats-officedocument.presentationml.notesSlide+xml"/>
  <Override PartName="/ppt/charts/chart174.xml" ContentType="application/vnd.openxmlformats-officedocument.drawingml.chart+xml"/>
  <Override PartName="/ppt/theme/themeOverride55.xml" ContentType="application/vnd.openxmlformats-officedocument.themeOverride+xml"/>
  <Override PartName="/ppt/charts/chart175.xml" ContentType="application/vnd.openxmlformats-officedocument.drawingml.chart+xml"/>
  <Override PartName="/ppt/theme/themeOverride56.xml" ContentType="application/vnd.openxmlformats-officedocument.themeOverride+xml"/>
  <Override PartName="/ppt/charts/chart176.xml" ContentType="application/vnd.openxmlformats-officedocument.drawingml.chart+xml"/>
  <Override PartName="/ppt/tags/tag148.xml" ContentType="application/vnd.openxmlformats-officedocument.presentationml.tags+xml"/>
  <Override PartName="/ppt/notesSlides/notesSlide121.xml" ContentType="application/vnd.openxmlformats-officedocument.presentationml.notesSlide+xml"/>
  <Override PartName="/ppt/charts/chart177.xml" ContentType="application/vnd.openxmlformats-officedocument.drawingml.chart+xml"/>
  <Override PartName="/ppt/theme/themeOverride57.xml" ContentType="application/vnd.openxmlformats-officedocument.themeOverride+xml"/>
  <Override PartName="/ppt/charts/chart178.xml" ContentType="application/vnd.openxmlformats-officedocument.drawingml.chart+xml"/>
  <Override PartName="/ppt/theme/themeOverride58.xml" ContentType="application/vnd.openxmlformats-officedocument.themeOverride+xml"/>
  <Override PartName="/ppt/charts/chart179.xml" ContentType="application/vnd.openxmlformats-officedocument.drawingml.chart+xml"/>
  <Override PartName="/ppt/tags/tag149.xml" ContentType="application/vnd.openxmlformats-officedocument.presentationml.tags+xml"/>
  <Override PartName="/ppt/notesSlides/notesSlide122.xml" ContentType="application/vnd.openxmlformats-officedocument.presentationml.notesSlide+xml"/>
  <Override PartName="/ppt/charts/chart180.xml" ContentType="application/vnd.openxmlformats-officedocument.drawingml.chart+xml"/>
  <Override PartName="/ppt/theme/themeOverride59.xml" ContentType="application/vnd.openxmlformats-officedocument.themeOverride+xml"/>
  <Override PartName="/ppt/charts/chart181.xml" ContentType="application/vnd.openxmlformats-officedocument.drawingml.chart+xml"/>
  <Override PartName="/ppt/theme/themeOverride60.xml" ContentType="application/vnd.openxmlformats-officedocument.themeOverride+xml"/>
  <Override PartName="/ppt/charts/chart182.xml" ContentType="application/vnd.openxmlformats-officedocument.drawingml.chart+xml"/>
  <Override PartName="/ppt/tags/tag150.xml" ContentType="application/vnd.openxmlformats-officedocument.presentationml.tags+xml"/>
  <Override PartName="/ppt/notesSlides/notesSlide123.xml" ContentType="application/vnd.openxmlformats-officedocument.presentationml.notesSlide+xml"/>
  <Override PartName="/ppt/charts/chart183.xml" ContentType="application/vnd.openxmlformats-officedocument.drawingml.chart+xml"/>
  <Override PartName="/ppt/theme/themeOverride61.xml" ContentType="application/vnd.openxmlformats-officedocument.themeOverride+xml"/>
  <Override PartName="/ppt/charts/chart184.xml" ContentType="application/vnd.openxmlformats-officedocument.drawingml.chart+xml"/>
  <Override PartName="/ppt/theme/themeOverride62.xml" ContentType="application/vnd.openxmlformats-officedocument.themeOverride+xml"/>
  <Override PartName="/ppt/charts/chart185.xml" ContentType="application/vnd.openxmlformats-officedocument.drawingml.chart+xml"/>
  <Override PartName="/ppt/tags/tag151.xml" ContentType="application/vnd.openxmlformats-officedocument.presentationml.tags+xml"/>
  <Override PartName="/ppt/notesSlides/notesSlide124.xml" ContentType="application/vnd.openxmlformats-officedocument.presentationml.notesSlide+xml"/>
  <Override PartName="/ppt/charts/chart186.xml" ContentType="application/vnd.openxmlformats-officedocument.drawingml.chart+xml"/>
  <Override PartName="/ppt/theme/themeOverride63.xml" ContentType="application/vnd.openxmlformats-officedocument.themeOverride+xml"/>
  <Override PartName="/ppt/charts/chart187.xml" ContentType="application/vnd.openxmlformats-officedocument.drawingml.chart+xml"/>
  <Override PartName="/ppt/theme/themeOverride64.xml" ContentType="application/vnd.openxmlformats-officedocument.themeOverride+xml"/>
  <Override PartName="/ppt/charts/chart188.xml" ContentType="application/vnd.openxmlformats-officedocument.drawingml.chart+xml"/>
  <Override PartName="/ppt/tags/tag152.xml" ContentType="application/vnd.openxmlformats-officedocument.presentationml.tags+xml"/>
  <Override PartName="/ppt/notesSlides/notesSlide125.xml" ContentType="application/vnd.openxmlformats-officedocument.presentationml.notesSlide+xml"/>
  <Override PartName="/ppt/tags/tag153.xml" ContentType="application/vnd.openxmlformats-officedocument.presentationml.tags+xml"/>
  <Override PartName="/ppt/notesSlides/notesSlide126.xml" ContentType="application/vnd.openxmlformats-officedocument.presentationml.notesSlide+xml"/>
  <Override PartName="/ppt/tags/tag154.xml" ContentType="application/vnd.openxmlformats-officedocument.presentationml.tags+xml"/>
  <Override PartName="/ppt/notesSlides/notesSlide127.xml" ContentType="application/vnd.openxmlformats-officedocument.presentationml.notesSlide+xml"/>
  <Override PartName="/ppt/tags/tag155.xml" ContentType="application/vnd.openxmlformats-officedocument.presentationml.tags+xml"/>
  <Override PartName="/ppt/notesSlides/notesSlide128.xml" ContentType="application/vnd.openxmlformats-officedocument.presentationml.notesSlide+xml"/>
  <Override PartName="/ppt/tags/tag156.xml" ContentType="application/vnd.openxmlformats-officedocument.presentationml.tags+xml"/>
  <Override PartName="/ppt/notesSlides/notesSlide129.xml" ContentType="application/vnd.openxmlformats-officedocument.presentationml.notesSlide+xml"/>
  <Override PartName="/ppt/tags/tag157.xml" ContentType="application/vnd.openxmlformats-officedocument.presentationml.tags+xml"/>
  <Override PartName="/ppt/notesSlides/notesSlide130.xml" ContentType="application/vnd.openxmlformats-officedocument.presentationml.notesSlide+xml"/>
  <Override PartName="/ppt/tags/tag158.xml" ContentType="application/vnd.openxmlformats-officedocument.presentationml.tags+xml"/>
  <Override PartName="/ppt/notesSlides/notesSlide131.xml" ContentType="application/vnd.openxmlformats-officedocument.presentationml.notesSlide+xml"/>
  <Override PartName="/ppt/tags/tag159.xml" ContentType="application/vnd.openxmlformats-officedocument.presentationml.tags+xml"/>
  <Override PartName="/ppt/notesSlides/notesSlide132.xml" ContentType="application/vnd.openxmlformats-officedocument.presentationml.notesSlide+xml"/>
  <Override PartName="/ppt/tags/tag160.xml" ContentType="application/vnd.openxmlformats-officedocument.presentationml.tags+xml"/>
  <Override PartName="/ppt/notesSlides/notesSlide133.xml" ContentType="application/vnd.openxmlformats-officedocument.presentationml.notesSlide+xml"/>
  <Override PartName="/ppt/tags/tag161.xml" ContentType="application/vnd.openxmlformats-officedocument.presentationml.tags+xml"/>
  <Override PartName="/ppt/notesSlides/notesSlide134.xml" ContentType="application/vnd.openxmlformats-officedocument.presentationml.notesSlide+xml"/>
  <Override PartName="/ppt/tags/tag162.xml" ContentType="application/vnd.openxmlformats-officedocument.presentationml.tags+xml"/>
  <Override PartName="/ppt/notesSlides/notesSlide135.xml" ContentType="application/vnd.openxmlformats-officedocument.presentationml.notesSlide+xml"/>
  <Override PartName="/ppt/tags/tag163.xml" ContentType="application/vnd.openxmlformats-officedocument.presentationml.tags+xml"/>
  <Override PartName="/ppt/notesSlides/notesSlide136.xml" ContentType="application/vnd.openxmlformats-officedocument.presentationml.notesSlide+xml"/>
  <Override PartName="/ppt/tags/tag164.xml" ContentType="application/vnd.openxmlformats-officedocument.presentationml.tags+xml"/>
  <Override PartName="/ppt/notesSlides/notesSlide137.xml" ContentType="application/vnd.openxmlformats-officedocument.presentationml.notesSlide+xml"/>
  <Override PartName="/ppt/tags/tag165.xml" ContentType="application/vnd.openxmlformats-officedocument.presentationml.tags+xml"/>
  <Override PartName="/ppt/notesSlides/notesSlide138.xml" ContentType="application/vnd.openxmlformats-officedocument.presentationml.notesSlide+xml"/>
  <Override PartName="/ppt/tags/tag166.xml" ContentType="application/vnd.openxmlformats-officedocument.presentationml.tags+xml"/>
  <Override PartName="/ppt/notesSlides/notesSlide139.xml" ContentType="application/vnd.openxmlformats-officedocument.presentationml.notesSlide+xml"/>
  <Override PartName="/ppt/tags/tag167.xml" ContentType="application/vnd.openxmlformats-officedocument.presentationml.tags+xml"/>
  <Override PartName="/ppt/notesSlides/notesSlide140.xml" ContentType="application/vnd.openxmlformats-officedocument.presentationml.notesSlide+xml"/>
  <Override PartName="/ppt/tags/tag168.xml" ContentType="application/vnd.openxmlformats-officedocument.presentationml.tags+xml"/>
  <Override PartName="/ppt/notesSlides/notesSlide141.xml" ContentType="application/vnd.openxmlformats-officedocument.presentationml.notesSlide+xml"/>
  <Override PartName="/ppt/tags/tag169.xml" ContentType="application/vnd.openxmlformats-officedocument.presentationml.tags+xml"/>
  <Override PartName="/ppt/notesSlides/notesSlide142.xml" ContentType="application/vnd.openxmlformats-officedocument.presentationml.notesSlide+xml"/>
  <Override PartName="/ppt/tags/tag170.xml" ContentType="application/vnd.openxmlformats-officedocument.presentationml.tags+xml"/>
  <Override PartName="/ppt/notesSlides/notesSlide143.xml" ContentType="application/vnd.openxmlformats-officedocument.presentationml.notesSlide+xml"/>
  <Override PartName="/ppt/tags/tag171.xml" ContentType="application/vnd.openxmlformats-officedocument.presentationml.tags+xml"/>
  <Override PartName="/ppt/notesSlides/notesSlide144.xml" ContentType="application/vnd.openxmlformats-officedocument.presentationml.notesSlide+xml"/>
  <Override PartName="/ppt/tags/tag172.xml" ContentType="application/vnd.openxmlformats-officedocument.presentationml.tags+xml"/>
  <Override PartName="/ppt/notesSlides/notesSlide145.xml" ContentType="application/vnd.openxmlformats-officedocument.presentationml.notesSlide+xml"/>
  <Override PartName="/ppt/tags/tag173.xml" ContentType="application/vnd.openxmlformats-officedocument.presentationml.tags+xml"/>
  <Override PartName="/ppt/notesSlides/notesSlide146.xml" ContentType="application/vnd.openxmlformats-officedocument.presentationml.notesSlide+xml"/>
  <Override PartName="/ppt/tags/tag174.xml" ContentType="application/vnd.openxmlformats-officedocument.presentationml.tags+xml"/>
  <Override PartName="/ppt/notesSlides/notesSlide147.xml" ContentType="application/vnd.openxmlformats-officedocument.presentationml.notesSlide+xml"/>
  <Override PartName="/ppt/tags/tag175.xml" ContentType="application/vnd.openxmlformats-officedocument.presentationml.tags+xml"/>
  <Override PartName="/ppt/notesSlides/notesSlide148.xml" ContentType="application/vnd.openxmlformats-officedocument.presentationml.notesSlide+xml"/>
  <Override PartName="/ppt/tags/tag176.xml" ContentType="application/vnd.openxmlformats-officedocument.presentationml.tags+xml"/>
  <Override PartName="/ppt/notesSlides/notesSlide149.xml" ContentType="application/vnd.openxmlformats-officedocument.presentationml.notesSlide+xml"/>
  <Override PartName="/ppt/tags/tag177.xml" ContentType="application/vnd.openxmlformats-officedocument.presentationml.tags+xml"/>
  <Override PartName="/ppt/notesSlides/notesSlide150.xml" ContentType="application/vnd.openxmlformats-officedocument.presentationml.notesSlide+xml"/>
  <Override PartName="/ppt/tags/tag178.xml" ContentType="application/vnd.openxmlformats-officedocument.presentationml.tags+xml"/>
  <Override PartName="/ppt/notesSlides/notesSlide151.xml" ContentType="application/vnd.openxmlformats-officedocument.presentationml.notesSlide+xml"/>
  <Override PartName="/ppt/tags/tag179.xml" ContentType="application/vnd.openxmlformats-officedocument.presentationml.tags+xml"/>
  <Override PartName="/ppt/notesSlides/notesSlide152.xml" ContentType="application/vnd.openxmlformats-officedocument.presentationml.notesSlide+xml"/>
  <Override PartName="/ppt/tags/tag180.xml" ContentType="application/vnd.openxmlformats-officedocument.presentationml.tags+xml"/>
  <Override PartName="/ppt/notesSlides/notesSlide153.xml" ContentType="application/vnd.openxmlformats-officedocument.presentationml.notesSlide+xml"/>
  <Override PartName="/ppt/tags/tag181.xml" ContentType="application/vnd.openxmlformats-officedocument.presentationml.tags+xml"/>
  <Override PartName="/ppt/notesSlides/notesSlide154.xml" ContentType="application/vnd.openxmlformats-officedocument.presentationml.notesSlide+xml"/>
  <Override PartName="/ppt/tags/tag182.xml" ContentType="application/vnd.openxmlformats-officedocument.presentationml.tags+xml"/>
  <Override PartName="/ppt/notesSlides/notesSlide155.xml" ContentType="application/vnd.openxmlformats-officedocument.presentationml.notesSlide+xml"/>
  <Override PartName="/ppt/tags/tag183.xml" ContentType="application/vnd.openxmlformats-officedocument.presentationml.tags+xml"/>
  <Override PartName="/ppt/notesSlides/notesSlide156.xml" ContentType="application/vnd.openxmlformats-officedocument.presentationml.notesSlide+xml"/>
  <Override PartName="/ppt/tags/tag184.xml" ContentType="application/vnd.openxmlformats-officedocument.presentationml.tags+xml"/>
  <Override PartName="/ppt/notesSlides/notesSlide157.xml" ContentType="application/vnd.openxmlformats-officedocument.presentationml.notesSlide+xml"/>
  <Override PartName="/ppt/tags/tag185.xml" ContentType="application/vnd.openxmlformats-officedocument.presentationml.tags+xml"/>
  <Override PartName="/ppt/notesSlides/notesSlide158.xml" ContentType="application/vnd.openxmlformats-officedocument.presentationml.notesSlide+xml"/>
  <Override PartName="/ppt/tags/tag186.xml" ContentType="application/vnd.openxmlformats-officedocument.presentationml.tags+xml"/>
  <Override PartName="/ppt/notesSlides/notesSlide159.xml" ContentType="application/vnd.openxmlformats-officedocument.presentationml.notesSlide+xml"/>
  <Override PartName="/ppt/tags/tag187.xml" ContentType="application/vnd.openxmlformats-officedocument.presentationml.tags+xml"/>
  <Override PartName="/ppt/notesSlides/notesSlide160.xml" ContentType="application/vnd.openxmlformats-officedocument.presentationml.notesSlide+xml"/>
  <Override PartName="/ppt/tags/tag188.xml" ContentType="application/vnd.openxmlformats-officedocument.presentationml.tags+xml"/>
  <Override PartName="/ppt/notesSlides/notesSlide161.xml" ContentType="application/vnd.openxmlformats-officedocument.presentationml.notesSlide+xml"/>
  <Override PartName="/ppt/tags/tag189.xml" ContentType="application/vnd.openxmlformats-officedocument.presentationml.tags+xml"/>
  <Override PartName="/ppt/notesSlides/notesSlide162.xml" ContentType="application/vnd.openxmlformats-officedocument.presentationml.notesSlide+xml"/>
  <Override PartName="/ppt/tags/tag190.xml" ContentType="application/vnd.openxmlformats-officedocument.presentationml.tags+xml"/>
  <Override PartName="/ppt/notesSlides/notesSlide163.xml" ContentType="application/vnd.openxmlformats-officedocument.presentationml.notesSlide+xml"/>
  <Override PartName="/ppt/tags/tag191.xml" ContentType="application/vnd.openxmlformats-officedocument.presentationml.tags+xml"/>
  <Override PartName="/ppt/notesSlides/notesSlide164.xml" ContentType="application/vnd.openxmlformats-officedocument.presentationml.notesSlide+xml"/>
  <Override PartName="/ppt/tags/tag192.xml" ContentType="application/vnd.openxmlformats-officedocument.presentationml.tags+xml"/>
  <Override PartName="/ppt/notesSlides/notesSlide165.xml" ContentType="application/vnd.openxmlformats-officedocument.presentationml.notesSlide+xml"/>
  <Override PartName="/ppt/tags/tag193.xml" ContentType="application/vnd.openxmlformats-officedocument.presentationml.tags+xml"/>
  <Override PartName="/ppt/notesSlides/notesSlide166.xml" ContentType="application/vnd.openxmlformats-officedocument.presentationml.notesSlide+xml"/>
  <Override PartName="/ppt/tags/tag194.xml" ContentType="application/vnd.openxmlformats-officedocument.presentationml.tags+xml"/>
  <Override PartName="/ppt/notesSlides/notesSlide167.xml" ContentType="application/vnd.openxmlformats-officedocument.presentationml.notesSlide+xml"/>
  <Override PartName="/ppt/tags/tag195.xml" ContentType="application/vnd.openxmlformats-officedocument.presentationml.tags+xml"/>
  <Override PartName="/ppt/notesSlides/notesSlide168.xml" ContentType="application/vnd.openxmlformats-officedocument.presentationml.notesSlide+xml"/>
  <Override PartName="/ppt/tags/tag196.xml" ContentType="application/vnd.openxmlformats-officedocument.presentationml.tags+xml"/>
  <Override PartName="/ppt/notesSlides/notesSlide169.xml" ContentType="application/vnd.openxmlformats-officedocument.presentationml.notesSlide+xml"/>
  <Override PartName="/ppt/tags/tag197.xml" ContentType="application/vnd.openxmlformats-officedocument.presentationml.tags+xml"/>
  <Override PartName="/ppt/notesSlides/notesSlide170.xml" ContentType="application/vnd.openxmlformats-officedocument.presentationml.notesSlide+xml"/>
  <Override PartName="/ppt/tags/tag198.xml" ContentType="application/vnd.openxmlformats-officedocument.presentationml.tags+xml"/>
  <Override PartName="/ppt/notesSlides/notesSlide171.xml" ContentType="application/vnd.openxmlformats-officedocument.presentationml.notesSlide+xml"/>
  <Override PartName="/ppt/tags/tag199.xml" ContentType="application/vnd.openxmlformats-officedocument.presentationml.tags+xml"/>
  <Override PartName="/ppt/notesSlides/notesSlide172.xml" ContentType="application/vnd.openxmlformats-officedocument.presentationml.notesSlide+xml"/>
  <Override PartName="/ppt/tags/tag200.xml" ContentType="application/vnd.openxmlformats-officedocument.presentationml.tags+xml"/>
  <Override PartName="/ppt/notesSlides/notesSlide173.xml" ContentType="application/vnd.openxmlformats-officedocument.presentationml.notesSlide+xml"/>
  <Override PartName="/ppt/tags/tag201.xml" ContentType="application/vnd.openxmlformats-officedocument.presentationml.tags+xml"/>
  <Override PartName="/ppt/notesSlides/notesSlide174.xml" ContentType="application/vnd.openxmlformats-officedocument.presentationml.notesSlide+xml"/>
  <Override PartName="/ppt/tags/tag202.xml" ContentType="application/vnd.openxmlformats-officedocument.presentationml.tags+xml"/>
  <Override PartName="/ppt/notesSlides/notesSlide175.xml" ContentType="application/vnd.openxmlformats-officedocument.presentationml.notesSlide+xml"/>
  <Override PartName="/ppt/tags/tag203.xml" ContentType="application/vnd.openxmlformats-officedocument.presentationml.tags+xml"/>
  <Override PartName="/ppt/notesSlides/notesSlide176.xml" ContentType="application/vnd.openxmlformats-officedocument.presentationml.notesSlide+xml"/>
  <Override PartName="/ppt/tags/tag204.xml" ContentType="application/vnd.openxmlformats-officedocument.presentationml.tags+xml"/>
  <Override PartName="/ppt/notesSlides/notesSlide177.xml" ContentType="application/vnd.openxmlformats-officedocument.presentationml.notesSlide+xml"/>
  <Override PartName="/ppt/tags/tag205.xml" ContentType="application/vnd.openxmlformats-officedocument.presentationml.tags+xml"/>
  <Override PartName="/ppt/notesSlides/notesSlide178.xml" ContentType="application/vnd.openxmlformats-officedocument.presentationml.notesSlide+xml"/>
  <Override PartName="/ppt/tags/tag206.xml" ContentType="application/vnd.openxmlformats-officedocument.presentationml.tags+xml"/>
  <Override PartName="/ppt/notesSlides/notesSlide179.xml" ContentType="application/vnd.openxmlformats-officedocument.presentationml.notesSlide+xml"/>
  <Override PartName="/ppt/tags/tag207.xml" ContentType="application/vnd.openxmlformats-officedocument.presentationml.tags+xml"/>
  <Override PartName="/ppt/notesSlides/notesSlide180.xml" ContentType="application/vnd.openxmlformats-officedocument.presentationml.notesSlide+xml"/>
  <Override PartName="/ppt/tags/tag208.xml" ContentType="application/vnd.openxmlformats-officedocument.presentationml.tags+xml"/>
  <Override PartName="/ppt/notesSlides/notesSlide181.xml" ContentType="application/vnd.openxmlformats-officedocument.presentationml.notesSlide+xml"/>
  <Override PartName="/ppt/tags/tag209.xml" ContentType="application/vnd.openxmlformats-officedocument.presentationml.tags+xml"/>
  <Override PartName="/ppt/notesSlides/notesSlide182.xml" ContentType="application/vnd.openxmlformats-officedocument.presentationml.notesSlide+xml"/>
  <Override PartName="/ppt/tags/tag210.xml" ContentType="application/vnd.openxmlformats-officedocument.presentationml.tags+xml"/>
  <Override PartName="/ppt/notesSlides/notesSlide183.xml" ContentType="application/vnd.openxmlformats-officedocument.presentationml.notesSlide+xml"/>
  <Override PartName="/ppt/tags/tag211.xml" ContentType="application/vnd.openxmlformats-officedocument.presentationml.tags+xml"/>
  <Override PartName="/ppt/notesSlides/notesSlide184.xml" ContentType="application/vnd.openxmlformats-officedocument.presentationml.notesSlide+xml"/>
  <Override PartName="/ppt/tags/tag212.xml" ContentType="application/vnd.openxmlformats-officedocument.presentationml.tags+xml"/>
  <Override PartName="/ppt/notesSlides/notesSlide185.xml" ContentType="application/vnd.openxmlformats-officedocument.presentationml.notesSlide+xml"/>
  <Override PartName="/ppt/tags/tag213.xml" ContentType="application/vnd.openxmlformats-officedocument.presentationml.tags+xml"/>
  <Override PartName="/ppt/notesSlides/notesSlide186.xml" ContentType="application/vnd.openxmlformats-officedocument.presentationml.notesSlide+xml"/>
  <Override PartName="/ppt/tags/tag214.xml" ContentType="application/vnd.openxmlformats-officedocument.presentationml.tags+xml"/>
  <Override PartName="/ppt/notesSlides/notesSlide187.xml" ContentType="application/vnd.openxmlformats-officedocument.presentationml.notesSlide+xml"/>
  <Override PartName="/ppt/tags/tag215.xml" ContentType="application/vnd.openxmlformats-officedocument.presentationml.tags+xml"/>
  <Override PartName="/ppt/notesSlides/notesSlide188.xml" ContentType="application/vnd.openxmlformats-officedocument.presentationml.notesSlide+xml"/>
  <Override PartName="/ppt/tags/tag216.xml" ContentType="application/vnd.openxmlformats-officedocument.presentationml.tags+xml"/>
  <Override PartName="/ppt/notesSlides/notesSlide189.xml" ContentType="application/vnd.openxmlformats-officedocument.presentationml.notesSlide+xml"/>
  <Override PartName="/ppt/tags/tag217.xml" ContentType="application/vnd.openxmlformats-officedocument.presentationml.tags+xml"/>
  <Override PartName="/ppt/notesSlides/notesSlide190.xml" ContentType="application/vnd.openxmlformats-officedocument.presentationml.notesSlide+xml"/>
  <Override PartName="/ppt/tags/tag218.xml" ContentType="application/vnd.openxmlformats-officedocument.presentationml.tags+xml"/>
  <Override PartName="/ppt/notesSlides/notesSlide191.xml" ContentType="application/vnd.openxmlformats-officedocument.presentationml.notesSlide+xml"/>
  <Override PartName="/ppt/tags/tag219.xml" ContentType="application/vnd.openxmlformats-officedocument.presentationml.tags+xml"/>
  <Override PartName="/ppt/notesSlides/notesSlide192.xml" ContentType="application/vnd.openxmlformats-officedocument.presentationml.notesSlide+xml"/>
  <Override PartName="/ppt/tags/tag220.xml" ContentType="application/vnd.openxmlformats-officedocument.presentationml.tags+xml"/>
  <Override PartName="/ppt/notesSlides/notesSlide193.xml" ContentType="application/vnd.openxmlformats-officedocument.presentationml.notesSlide+xml"/>
  <Override PartName="/ppt/tags/tag221.xml" ContentType="application/vnd.openxmlformats-officedocument.presentationml.tags+xml"/>
  <Override PartName="/ppt/notesSlides/notesSlide194.xml" ContentType="application/vnd.openxmlformats-officedocument.presentationml.notesSlide+xml"/>
  <Override PartName="/ppt/tags/tag222.xml" ContentType="application/vnd.openxmlformats-officedocument.presentationml.tags+xml"/>
  <Override PartName="/ppt/notesSlides/notesSlide195.xml" ContentType="application/vnd.openxmlformats-officedocument.presentationml.notesSlide+xml"/>
  <Override PartName="/ppt/tags/tag223.xml" ContentType="application/vnd.openxmlformats-officedocument.presentationml.tags+xml"/>
  <Override PartName="/ppt/notesSlides/notesSlide196.xml" ContentType="application/vnd.openxmlformats-officedocument.presentationml.notesSlide+xml"/>
  <Override PartName="/ppt/tags/tag224.xml" ContentType="application/vnd.openxmlformats-officedocument.presentationml.tags+xml"/>
  <Override PartName="/ppt/notesSlides/notesSlide197.xml" ContentType="application/vnd.openxmlformats-officedocument.presentationml.notesSlide+xml"/>
  <Override PartName="/ppt/tags/tag225.xml" ContentType="application/vnd.openxmlformats-officedocument.presentationml.tags+xml"/>
  <Override PartName="/ppt/notesSlides/notesSlide198.xml" ContentType="application/vnd.openxmlformats-officedocument.presentationml.notesSlide+xml"/>
  <Override PartName="/ppt/tags/tag226.xml" ContentType="application/vnd.openxmlformats-officedocument.presentationml.tags+xml"/>
  <Override PartName="/ppt/notesSlides/notesSlide199.xml" ContentType="application/vnd.openxmlformats-officedocument.presentationml.notesSlide+xml"/>
  <Override PartName="/ppt/tags/tag227.xml" ContentType="application/vnd.openxmlformats-officedocument.presentationml.tags+xml"/>
  <Override PartName="/ppt/notesSlides/notesSlide200.xml" ContentType="application/vnd.openxmlformats-officedocument.presentationml.notesSlide+xml"/>
  <Override PartName="/ppt/tags/tag228.xml" ContentType="application/vnd.openxmlformats-officedocument.presentationml.tags+xml"/>
  <Override PartName="/ppt/notesSlides/notesSlide201.xml" ContentType="application/vnd.openxmlformats-officedocument.presentationml.notesSlide+xml"/>
  <Override PartName="/ppt/tags/tag229.xml" ContentType="application/vnd.openxmlformats-officedocument.presentationml.tags+xml"/>
  <Override PartName="/ppt/notesSlides/notesSlide202.xml" ContentType="application/vnd.openxmlformats-officedocument.presentationml.notesSlide+xml"/>
  <Override PartName="/ppt/tags/tag230.xml" ContentType="application/vnd.openxmlformats-officedocument.presentationml.tags+xml"/>
  <Override PartName="/ppt/notesSlides/notesSlide203.xml" ContentType="application/vnd.openxmlformats-officedocument.presentationml.notesSlide+xml"/>
  <Override PartName="/ppt/tags/tag231.xml" ContentType="application/vnd.openxmlformats-officedocument.presentationml.tags+xml"/>
  <Override PartName="/ppt/notesSlides/notesSlide204.xml" ContentType="application/vnd.openxmlformats-officedocument.presentationml.notesSlide+xml"/>
  <Override PartName="/ppt/tags/tag232.xml" ContentType="application/vnd.openxmlformats-officedocument.presentationml.tags+xml"/>
  <Override PartName="/ppt/notesSlides/notesSlide205.xml" ContentType="application/vnd.openxmlformats-officedocument.presentationml.notesSlide+xml"/>
  <Override PartName="/ppt/tags/tag233.xml" ContentType="application/vnd.openxmlformats-officedocument.presentationml.tags+xml"/>
  <Override PartName="/ppt/notesSlides/notesSlide206.xml" ContentType="application/vnd.openxmlformats-officedocument.presentationml.notesSlide+xml"/>
  <Override PartName="/ppt/tags/tag234.xml" ContentType="application/vnd.openxmlformats-officedocument.presentationml.tags+xml"/>
  <Override PartName="/ppt/notesSlides/notesSlide207.xml" ContentType="application/vnd.openxmlformats-officedocument.presentationml.notesSlide+xml"/>
  <Override PartName="/ppt/tags/tag235.xml" ContentType="application/vnd.openxmlformats-officedocument.presentationml.tags+xml"/>
  <Override PartName="/ppt/notesSlides/notesSlide208.xml" ContentType="application/vnd.openxmlformats-officedocument.presentationml.notesSlide+xml"/>
  <Override PartName="/ppt/tags/tag236.xml" ContentType="application/vnd.openxmlformats-officedocument.presentationml.tags+xml"/>
  <Override PartName="/ppt/notesSlides/notesSlide209.xml" ContentType="application/vnd.openxmlformats-officedocument.presentationml.notesSlide+xml"/>
  <Override PartName="/ppt/tags/tag237.xml" ContentType="application/vnd.openxmlformats-officedocument.presentationml.tags+xml"/>
  <Override PartName="/ppt/notesSlides/notesSlide210.xml" ContentType="application/vnd.openxmlformats-officedocument.presentationml.notesSlide+xml"/>
  <Override PartName="/ppt/tags/tag238.xml" ContentType="application/vnd.openxmlformats-officedocument.presentationml.tags+xml"/>
  <Override PartName="/ppt/notesSlides/notesSlide211.xml" ContentType="application/vnd.openxmlformats-officedocument.presentationml.notesSlide+xml"/>
  <Override PartName="/ppt/tags/tag239.xml" ContentType="application/vnd.openxmlformats-officedocument.presentationml.tags+xml"/>
  <Override PartName="/ppt/notesSlides/notesSlide212.xml" ContentType="application/vnd.openxmlformats-officedocument.presentationml.notesSlide+xml"/>
  <Override PartName="/ppt/tags/tag240.xml" ContentType="application/vnd.openxmlformats-officedocument.presentationml.tags+xml"/>
  <Override PartName="/ppt/notesSlides/notesSlide213.xml" ContentType="application/vnd.openxmlformats-officedocument.presentationml.notesSlide+xml"/>
  <Override PartName="/ppt/tags/tag241.xml" ContentType="application/vnd.openxmlformats-officedocument.presentationml.tags+xml"/>
  <Override PartName="/ppt/notesSlides/notesSlide214.xml" ContentType="application/vnd.openxmlformats-officedocument.presentationml.notesSlide+xml"/>
  <Override PartName="/ppt/tags/tag242.xml" ContentType="application/vnd.openxmlformats-officedocument.presentationml.tags+xml"/>
  <Override PartName="/ppt/notesSlides/notesSlide215.xml" ContentType="application/vnd.openxmlformats-officedocument.presentationml.notesSlide+xml"/>
  <Override PartName="/ppt/tags/tag243.xml" ContentType="application/vnd.openxmlformats-officedocument.presentationml.tags+xml"/>
  <Override PartName="/ppt/notesSlides/notesSlide216.xml" ContentType="application/vnd.openxmlformats-officedocument.presentationml.notesSlide+xml"/>
  <Override PartName="/ppt/tags/tag244.xml" ContentType="application/vnd.openxmlformats-officedocument.presentationml.tags+xml"/>
  <Override PartName="/ppt/notesSlides/notesSlide217.xml" ContentType="application/vnd.openxmlformats-officedocument.presentationml.notesSlide+xml"/>
  <Override PartName="/ppt/tags/tag245.xml" ContentType="application/vnd.openxmlformats-officedocument.presentationml.tags+xml"/>
  <Override PartName="/ppt/notesSlides/notesSlide218.xml" ContentType="application/vnd.openxmlformats-officedocument.presentationml.notesSlide+xml"/>
  <Override PartName="/ppt/tags/tag246.xml" ContentType="application/vnd.openxmlformats-officedocument.presentationml.tags+xml"/>
  <Override PartName="/ppt/notesSlides/notesSlide219.xml" ContentType="application/vnd.openxmlformats-officedocument.presentationml.notesSlide+xml"/>
  <Override PartName="/ppt/tags/tag247.xml" ContentType="application/vnd.openxmlformats-officedocument.presentationml.tags+xml"/>
  <Override PartName="/ppt/notesSlides/notesSlide220.xml" ContentType="application/vnd.openxmlformats-officedocument.presentationml.notesSlide+xml"/>
  <Override PartName="/ppt/tags/tag248.xml" ContentType="application/vnd.openxmlformats-officedocument.presentationml.tags+xml"/>
  <Override PartName="/ppt/notesSlides/notesSlide221.xml" ContentType="application/vnd.openxmlformats-officedocument.presentationml.notesSlide+xml"/>
  <Override PartName="/ppt/tags/tag249.xml" ContentType="application/vnd.openxmlformats-officedocument.presentationml.tags+xml"/>
  <Override PartName="/ppt/notesSlides/notesSlide222.xml" ContentType="application/vnd.openxmlformats-officedocument.presentationml.notesSlide+xml"/>
  <Override PartName="/ppt/tags/tag250.xml" ContentType="application/vnd.openxmlformats-officedocument.presentationml.tags+xml"/>
  <Override PartName="/ppt/notesSlides/notesSlide223.xml" ContentType="application/vnd.openxmlformats-officedocument.presentationml.notesSlide+xml"/>
  <Override PartName="/ppt/tags/tag251.xml" ContentType="application/vnd.openxmlformats-officedocument.presentationml.tags+xml"/>
  <Override PartName="/ppt/notesSlides/notesSlide224.xml" ContentType="application/vnd.openxmlformats-officedocument.presentationml.notesSlide+xml"/>
  <Override PartName="/ppt/tags/tag252.xml" ContentType="application/vnd.openxmlformats-officedocument.presentationml.tags+xml"/>
  <Override PartName="/ppt/notesSlides/notesSlide225.xml" ContentType="application/vnd.openxmlformats-officedocument.presentationml.notesSlide+xml"/>
  <Override PartName="/ppt/tags/tag253.xml" ContentType="application/vnd.openxmlformats-officedocument.presentationml.tags+xml"/>
  <Override PartName="/ppt/notesSlides/notesSlide226.xml" ContentType="application/vnd.openxmlformats-officedocument.presentationml.notesSlide+xml"/>
  <Override PartName="/ppt/tags/tag254.xml" ContentType="application/vnd.openxmlformats-officedocument.presentationml.tags+xml"/>
  <Override PartName="/ppt/notesSlides/notesSlide227.xml" ContentType="application/vnd.openxmlformats-officedocument.presentationml.notesSlide+xml"/>
  <Override PartName="/ppt/tags/tag255.xml" ContentType="application/vnd.openxmlformats-officedocument.presentationml.tags+xml"/>
  <Override PartName="/ppt/notesSlides/notesSlide228.xml" ContentType="application/vnd.openxmlformats-officedocument.presentationml.notesSlide+xml"/>
  <Override PartName="/ppt/tags/tag256.xml" ContentType="application/vnd.openxmlformats-officedocument.presentationml.tags+xml"/>
  <Override PartName="/ppt/notesSlides/notesSlide229.xml" ContentType="application/vnd.openxmlformats-officedocument.presentationml.notesSlide+xml"/>
  <Override PartName="/ppt/tags/tag257.xml" ContentType="application/vnd.openxmlformats-officedocument.presentationml.tags+xml"/>
  <Override PartName="/ppt/notesSlides/notesSlide230.xml" ContentType="application/vnd.openxmlformats-officedocument.presentationml.notesSlide+xml"/>
  <Override PartName="/ppt/tags/tag258.xml" ContentType="application/vnd.openxmlformats-officedocument.presentationml.tags+xml"/>
  <Override PartName="/ppt/notesSlides/notesSlide231.xml" ContentType="application/vnd.openxmlformats-officedocument.presentationml.notesSlide+xml"/>
  <Override PartName="/ppt/tags/tag259.xml" ContentType="application/vnd.openxmlformats-officedocument.presentationml.tags+xml"/>
  <Override PartName="/ppt/notesSlides/notesSlide232.xml" ContentType="application/vnd.openxmlformats-officedocument.presentationml.notesSlide+xml"/>
  <Override PartName="/ppt/tags/tag260.xml" ContentType="application/vnd.openxmlformats-officedocument.presentationml.tags+xml"/>
  <Override PartName="/ppt/notesSlides/notesSlide233.xml" ContentType="application/vnd.openxmlformats-officedocument.presentationml.notesSlide+xml"/>
  <Override PartName="/ppt/tags/tag261.xml" ContentType="application/vnd.openxmlformats-officedocument.presentationml.tags+xml"/>
  <Override PartName="/ppt/notesSlides/notesSlide234.xml" ContentType="application/vnd.openxmlformats-officedocument.presentationml.notesSlide+xml"/>
  <Override PartName="/ppt/tags/tag262.xml" ContentType="application/vnd.openxmlformats-officedocument.presentationml.tags+xml"/>
  <Override PartName="/ppt/notesSlides/notesSlide235.xml" ContentType="application/vnd.openxmlformats-officedocument.presentationml.notesSlide+xml"/>
  <Override PartName="/ppt/tags/tag263.xml" ContentType="application/vnd.openxmlformats-officedocument.presentationml.tags+xml"/>
  <Override PartName="/ppt/notesSlides/notesSlide236.xml" ContentType="application/vnd.openxmlformats-officedocument.presentationml.notesSlide+xml"/>
  <Override PartName="/ppt/tags/tag264.xml" ContentType="application/vnd.openxmlformats-officedocument.presentationml.tags+xml"/>
  <Override PartName="/ppt/notesSlides/notesSlide237.xml" ContentType="application/vnd.openxmlformats-officedocument.presentationml.notesSlide+xml"/>
  <Override PartName="/ppt/tags/tag265.xml" ContentType="application/vnd.openxmlformats-officedocument.presentationml.tags+xml"/>
  <Override PartName="/ppt/notesSlides/notesSlide238.xml" ContentType="application/vnd.openxmlformats-officedocument.presentationml.notesSlide+xml"/>
  <Override PartName="/ppt/tags/tag266.xml" ContentType="application/vnd.openxmlformats-officedocument.presentationml.tags+xml"/>
  <Override PartName="/ppt/notesSlides/notesSlide239.xml" ContentType="application/vnd.openxmlformats-officedocument.presentationml.notesSlide+xml"/>
  <Override PartName="/ppt/tags/tag267.xml" ContentType="application/vnd.openxmlformats-officedocument.presentationml.tags+xml"/>
  <Override PartName="/ppt/notesSlides/notesSlide240.xml" ContentType="application/vnd.openxmlformats-officedocument.presentationml.notesSlide+xml"/>
  <Override PartName="/ppt/tags/tag268.xml" ContentType="application/vnd.openxmlformats-officedocument.presentationml.tags+xml"/>
  <Override PartName="/ppt/notesSlides/notesSlide241.xml" ContentType="application/vnd.openxmlformats-officedocument.presentationml.notesSlide+xml"/>
  <Override PartName="/ppt/tags/tag269.xml" ContentType="application/vnd.openxmlformats-officedocument.presentationml.tags+xml"/>
  <Override PartName="/ppt/notesSlides/notesSlide242.xml" ContentType="application/vnd.openxmlformats-officedocument.presentationml.notesSlide+xml"/>
  <Override PartName="/ppt/tags/tag270.xml" ContentType="application/vnd.openxmlformats-officedocument.presentationml.tags+xml"/>
  <Override PartName="/ppt/notesSlides/notesSlide243.xml" ContentType="application/vnd.openxmlformats-officedocument.presentationml.notesSlide+xml"/>
  <Override PartName="/ppt/tags/tag271.xml" ContentType="application/vnd.openxmlformats-officedocument.presentationml.tags+xml"/>
  <Override PartName="/ppt/notesSlides/notesSlide244.xml" ContentType="application/vnd.openxmlformats-officedocument.presentationml.notesSlide+xml"/>
  <Override PartName="/ppt/tags/tag272.xml" ContentType="application/vnd.openxmlformats-officedocument.presentationml.tags+xml"/>
  <Override PartName="/ppt/notesSlides/notesSlide245.xml" ContentType="application/vnd.openxmlformats-officedocument.presentationml.notesSlide+xml"/>
  <Override PartName="/ppt/tags/tag273.xml" ContentType="application/vnd.openxmlformats-officedocument.presentationml.tags+xml"/>
  <Override PartName="/ppt/notesSlides/notesSlide246.xml" ContentType="application/vnd.openxmlformats-officedocument.presentationml.notesSlide+xml"/>
  <Override PartName="/ppt/tags/tag274.xml" ContentType="application/vnd.openxmlformats-officedocument.presentationml.tags+xml"/>
  <Override PartName="/ppt/notesSlides/notesSlide247.xml" ContentType="application/vnd.openxmlformats-officedocument.presentationml.notesSlide+xml"/>
  <Override PartName="/ppt/tags/tag275.xml" ContentType="application/vnd.openxmlformats-officedocument.presentationml.tags+xml"/>
  <Override PartName="/ppt/notesSlides/notesSlide248.xml" ContentType="application/vnd.openxmlformats-officedocument.presentationml.notesSlide+xml"/>
  <Override PartName="/ppt/tags/tag276.xml" ContentType="application/vnd.openxmlformats-officedocument.presentationml.tags+xml"/>
  <Override PartName="/ppt/notesSlides/notesSlide249.xml" ContentType="application/vnd.openxmlformats-officedocument.presentationml.notesSlide+xml"/>
  <Override PartName="/ppt/tags/tag277.xml" ContentType="application/vnd.openxmlformats-officedocument.presentationml.tags+xml"/>
  <Override PartName="/ppt/notesSlides/notesSlide250.xml" ContentType="application/vnd.openxmlformats-officedocument.presentationml.notesSlide+xml"/>
  <Override PartName="/ppt/tags/tag278.xml" ContentType="application/vnd.openxmlformats-officedocument.presentationml.tags+xml"/>
  <Override PartName="/ppt/notesSlides/notesSlide251.xml" ContentType="application/vnd.openxmlformats-officedocument.presentationml.notesSlide+xml"/>
  <Override PartName="/ppt/tags/tag279.xml" ContentType="application/vnd.openxmlformats-officedocument.presentationml.tags+xml"/>
  <Override PartName="/ppt/notesSlides/notesSlide252.xml" ContentType="application/vnd.openxmlformats-officedocument.presentationml.notesSlide+xml"/>
  <Override PartName="/ppt/tags/tag280.xml" ContentType="application/vnd.openxmlformats-officedocument.presentationml.tags+xml"/>
  <Override PartName="/ppt/notesSlides/notesSlide253.xml" ContentType="application/vnd.openxmlformats-officedocument.presentationml.notesSlide+xml"/>
  <Override PartName="/ppt/tags/tag281.xml" ContentType="application/vnd.openxmlformats-officedocument.presentationml.tags+xml"/>
  <Override PartName="/ppt/notesSlides/notesSlide254.xml" ContentType="application/vnd.openxmlformats-officedocument.presentationml.notesSlide+xml"/>
  <Override PartName="/ppt/tags/tag282.xml" ContentType="application/vnd.openxmlformats-officedocument.presentationml.tags+xml"/>
  <Override PartName="/ppt/notesSlides/notesSlide255.xml" ContentType="application/vnd.openxmlformats-officedocument.presentationml.notesSlide+xml"/>
  <Override PartName="/ppt/tags/tag283.xml" ContentType="application/vnd.openxmlformats-officedocument.presentationml.tags+xml"/>
  <Override PartName="/ppt/notesSlides/notesSlide256.xml" ContentType="application/vnd.openxmlformats-officedocument.presentationml.notesSlide+xml"/>
  <Override PartName="/ppt/tags/tag284.xml" ContentType="application/vnd.openxmlformats-officedocument.presentationml.tags+xml"/>
  <Override PartName="/ppt/notesSlides/notesSlide257.xml" ContentType="application/vnd.openxmlformats-officedocument.presentationml.notesSlide+xml"/>
  <Override PartName="/ppt/tags/tag285.xml" ContentType="application/vnd.openxmlformats-officedocument.presentationml.tags+xml"/>
  <Override PartName="/ppt/notesSlides/notesSlide258.xml" ContentType="application/vnd.openxmlformats-officedocument.presentationml.notesSlide+xml"/>
  <Override PartName="/ppt/tags/tag286.xml" ContentType="application/vnd.openxmlformats-officedocument.presentationml.tags+xml"/>
  <Override PartName="/ppt/notesSlides/notesSlide259.xml" ContentType="application/vnd.openxmlformats-officedocument.presentationml.notesSlide+xml"/>
  <Override PartName="/ppt/tags/tag287.xml" ContentType="application/vnd.openxmlformats-officedocument.presentationml.tags+xml"/>
  <Override PartName="/ppt/notesSlides/notesSlide260.xml" ContentType="application/vnd.openxmlformats-officedocument.presentationml.notesSlide+xml"/>
  <Override PartName="/ppt/tags/tag288.xml" ContentType="application/vnd.openxmlformats-officedocument.presentationml.tags+xml"/>
  <Override PartName="/ppt/notesSlides/notesSlide261.xml" ContentType="application/vnd.openxmlformats-officedocument.presentationml.notesSlide+xml"/>
  <Override PartName="/ppt/tags/tag289.xml" ContentType="application/vnd.openxmlformats-officedocument.presentationml.tags+xml"/>
  <Override PartName="/ppt/notesSlides/notesSlide262.xml" ContentType="application/vnd.openxmlformats-officedocument.presentationml.notesSlide+xml"/>
  <Override PartName="/ppt/tags/tag290.xml" ContentType="application/vnd.openxmlformats-officedocument.presentationml.tags+xml"/>
  <Override PartName="/ppt/notesSlides/notesSlide263.xml" ContentType="application/vnd.openxmlformats-officedocument.presentationml.notesSlide+xml"/>
  <Override PartName="/ppt/tags/tag291.xml" ContentType="application/vnd.openxmlformats-officedocument.presentationml.tags+xml"/>
  <Override PartName="/ppt/notesSlides/notesSlide264.xml" ContentType="application/vnd.openxmlformats-officedocument.presentationml.notesSlide+xml"/>
  <Override PartName="/ppt/tags/tag292.xml" ContentType="application/vnd.openxmlformats-officedocument.presentationml.tags+xml"/>
  <Override PartName="/ppt/notesSlides/notesSlide265.xml" ContentType="application/vnd.openxmlformats-officedocument.presentationml.notesSlide+xml"/>
  <Override PartName="/ppt/tags/tag293.xml" ContentType="application/vnd.openxmlformats-officedocument.presentationml.tags+xml"/>
  <Override PartName="/ppt/notesSlides/notesSlide266.xml" ContentType="application/vnd.openxmlformats-officedocument.presentationml.notesSlide+xml"/>
  <Override PartName="/ppt/tags/tag294.xml" ContentType="application/vnd.openxmlformats-officedocument.presentationml.tags+xml"/>
  <Override PartName="/ppt/notesSlides/notesSlide267.xml" ContentType="application/vnd.openxmlformats-officedocument.presentationml.notesSlide+xml"/>
  <Override PartName="/ppt/tags/tag295.xml" ContentType="application/vnd.openxmlformats-officedocument.presentationml.tags+xml"/>
  <Override PartName="/ppt/notesSlides/notesSlide268.xml" ContentType="application/vnd.openxmlformats-officedocument.presentationml.notesSlide+xml"/>
  <Override PartName="/ppt/tags/tag296.xml" ContentType="application/vnd.openxmlformats-officedocument.presentationml.tags+xml"/>
  <Override PartName="/ppt/notesSlides/notesSlide269.xml" ContentType="application/vnd.openxmlformats-officedocument.presentationml.notesSlide+xml"/>
  <Override PartName="/ppt/tags/tag297.xml" ContentType="application/vnd.openxmlformats-officedocument.presentationml.tags+xml"/>
  <Override PartName="/ppt/notesSlides/notesSlide270.xml" ContentType="application/vnd.openxmlformats-officedocument.presentationml.notesSlide+xml"/>
  <Override PartName="/ppt/tags/tag298.xml" ContentType="application/vnd.openxmlformats-officedocument.presentationml.tags+xml"/>
  <Override PartName="/ppt/notesSlides/notesSlide271.xml" ContentType="application/vnd.openxmlformats-officedocument.presentationml.notesSlide+xml"/>
  <Override PartName="/ppt/tags/tag299.xml" ContentType="application/vnd.openxmlformats-officedocument.presentationml.tags+xml"/>
  <Override PartName="/ppt/notesSlides/notesSlide272.xml" ContentType="application/vnd.openxmlformats-officedocument.presentationml.notesSlide+xml"/>
  <Override PartName="/ppt/tags/tag300.xml" ContentType="application/vnd.openxmlformats-officedocument.presentationml.tags+xml"/>
  <Override PartName="/ppt/notesSlides/notesSlide273.xml" ContentType="application/vnd.openxmlformats-officedocument.presentationml.notesSlide+xml"/>
  <Override PartName="/ppt/tags/tag301.xml" ContentType="application/vnd.openxmlformats-officedocument.presentationml.tags+xml"/>
  <Override PartName="/ppt/notesSlides/notesSlide274.xml" ContentType="application/vnd.openxmlformats-officedocument.presentationml.notesSlide+xml"/>
  <Override PartName="/ppt/tags/tag302.xml" ContentType="application/vnd.openxmlformats-officedocument.presentationml.tags+xml"/>
  <Override PartName="/ppt/notesSlides/notesSlide275.xml" ContentType="application/vnd.openxmlformats-officedocument.presentationml.notesSlide+xml"/>
  <Override PartName="/ppt/tags/tag303.xml" ContentType="application/vnd.openxmlformats-officedocument.presentationml.tags+xml"/>
  <Override PartName="/ppt/notesSlides/notesSlide276.xml" ContentType="application/vnd.openxmlformats-officedocument.presentationml.notesSlide+xml"/>
  <Override PartName="/ppt/tags/tag304.xml" ContentType="application/vnd.openxmlformats-officedocument.presentationml.tags+xml"/>
  <Override PartName="/ppt/notesSlides/notesSlide277.xml" ContentType="application/vnd.openxmlformats-officedocument.presentationml.notesSlide+xml"/>
  <Override PartName="/ppt/tags/tag305.xml" ContentType="application/vnd.openxmlformats-officedocument.presentationml.tags+xml"/>
  <Override PartName="/ppt/notesSlides/notesSlide278.xml" ContentType="application/vnd.openxmlformats-officedocument.presentationml.notesSlide+xml"/>
  <Override PartName="/ppt/tags/tag306.xml" ContentType="application/vnd.openxmlformats-officedocument.presentationml.tags+xml"/>
  <Override PartName="/ppt/notesSlides/notesSlide279.xml" ContentType="application/vnd.openxmlformats-officedocument.presentationml.notesSlide+xml"/>
  <Override PartName="/ppt/tags/tag307.xml" ContentType="application/vnd.openxmlformats-officedocument.presentationml.tags+xml"/>
  <Override PartName="/ppt/notesSlides/notesSlide280.xml" ContentType="application/vnd.openxmlformats-officedocument.presentationml.notesSlide+xml"/>
  <Override PartName="/ppt/tags/tag308.xml" ContentType="application/vnd.openxmlformats-officedocument.presentationml.tags+xml"/>
  <Override PartName="/ppt/notesSlides/notesSlide281.xml" ContentType="application/vnd.openxmlformats-officedocument.presentationml.notesSlide+xml"/>
  <Override PartName="/ppt/tags/tag309.xml" ContentType="application/vnd.openxmlformats-officedocument.presentationml.tags+xml"/>
  <Override PartName="/ppt/notesSlides/notesSlide282.xml" ContentType="application/vnd.openxmlformats-officedocument.presentationml.notesSlide+xml"/>
  <Override PartName="/ppt/tags/tag310.xml" ContentType="application/vnd.openxmlformats-officedocument.presentationml.tags+xml"/>
  <Override PartName="/ppt/notesSlides/notesSlide283.xml" ContentType="application/vnd.openxmlformats-officedocument.presentationml.notesSlide+xml"/>
  <Override PartName="/ppt/tags/tag311.xml" ContentType="application/vnd.openxmlformats-officedocument.presentationml.tags+xml"/>
  <Override PartName="/ppt/notesSlides/notesSlide284.xml" ContentType="application/vnd.openxmlformats-officedocument.presentationml.notesSlide+xml"/>
  <Override PartName="/ppt/tags/tag312.xml" ContentType="application/vnd.openxmlformats-officedocument.presentationml.tags+xml"/>
  <Override PartName="/ppt/notesSlides/notesSlide285.xml" ContentType="application/vnd.openxmlformats-officedocument.presentationml.notesSlide+xml"/>
  <Override PartName="/ppt/tags/tag313.xml" ContentType="application/vnd.openxmlformats-officedocument.presentationml.tags+xml"/>
  <Override PartName="/ppt/notesSlides/notesSlide286.xml" ContentType="application/vnd.openxmlformats-officedocument.presentationml.notesSlide+xml"/>
  <Override PartName="/ppt/tags/tag314.xml" ContentType="application/vnd.openxmlformats-officedocument.presentationml.tags+xml"/>
  <Override PartName="/ppt/notesSlides/notesSlide287.xml" ContentType="application/vnd.openxmlformats-officedocument.presentationml.notesSlide+xml"/>
  <Override PartName="/ppt/tags/tag315.xml" ContentType="application/vnd.openxmlformats-officedocument.presentationml.tags+xml"/>
  <Override PartName="/ppt/notesSlides/notesSlide288.xml" ContentType="application/vnd.openxmlformats-officedocument.presentationml.notesSlide+xml"/>
  <Override PartName="/ppt/tags/tag316.xml" ContentType="application/vnd.openxmlformats-officedocument.presentationml.tags+xml"/>
  <Override PartName="/ppt/notesSlides/notesSlide289.xml" ContentType="application/vnd.openxmlformats-officedocument.presentationml.notesSlide+xml"/>
  <Override PartName="/ppt/tags/tag317.xml" ContentType="application/vnd.openxmlformats-officedocument.presentationml.tags+xml"/>
  <Override PartName="/ppt/notesSlides/notesSlide290.xml" ContentType="application/vnd.openxmlformats-officedocument.presentationml.notesSlide+xml"/>
  <Override PartName="/ppt/tags/tag318.xml" ContentType="application/vnd.openxmlformats-officedocument.presentationml.tags+xml"/>
  <Override PartName="/ppt/notesSlides/notesSlide291.xml" ContentType="application/vnd.openxmlformats-officedocument.presentationml.notesSlide+xml"/>
  <Override PartName="/ppt/tags/tag319.xml" ContentType="application/vnd.openxmlformats-officedocument.presentationml.tags+xml"/>
  <Override PartName="/ppt/notesSlides/notesSlide292.xml" ContentType="application/vnd.openxmlformats-officedocument.presentationml.notesSlide+xml"/>
  <Override PartName="/ppt/tags/tag320.xml" ContentType="application/vnd.openxmlformats-officedocument.presentationml.tags+xml"/>
  <Override PartName="/ppt/notesSlides/notesSlide293.xml" ContentType="application/vnd.openxmlformats-officedocument.presentationml.notesSlide+xml"/>
  <Override PartName="/ppt/tags/tag321.xml" ContentType="application/vnd.openxmlformats-officedocument.presentationml.tags+xml"/>
  <Override PartName="/ppt/notesSlides/notesSlide294.xml" ContentType="application/vnd.openxmlformats-officedocument.presentationml.notesSlide+xml"/>
  <Override PartName="/ppt/tags/tag322.xml" ContentType="application/vnd.openxmlformats-officedocument.presentationml.tags+xml"/>
  <Override PartName="/ppt/notesSlides/notesSlide295.xml" ContentType="application/vnd.openxmlformats-officedocument.presentationml.notesSlide+xml"/>
  <Override PartName="/ppt/tags/tag323.xml" ContentType="application/vnd.openxmlformats-officedocument.presentationml.tags+xml"/>
  <Override PartName="/ppt/notesSlides/notesSlide296.xml" ContentType="application/vnd.openxmlformats-officedocument.presentationml.notesSlide+xml"/>
  <Override PartName="/ppt/tags/tag324.xml" ContentType="application/vnd.openxmlformats-officedocument.presentationml.tags+xml"/>
  <Override PartName="/ppt/notesSlides/notesSlide297.xml" ContentType="application/vnd.openxmlformats-officedocument.presentationml.notesSlide+xml"/>
  <Override PartName="/ppt/tags/tag325.xml" ContentType="application/vnd.openxmlformats-officedocument.presentationml.tags+xml"/>
  <Override PartName="/ppt/notesSlides/notesSlide298.xml" ContentType="application/vnd.openxmlformats-officedocument.presentationml.notesSlide+xml"/>
  <Override PartName="/ppt/tags/tag326.xml" ContentType="application/vnd.openxmlformats-officedocument.presentationml.tags+xml"/>
  <Override PartName="/ppt/notesSlides/notesSlide299.xml" ContentType="application/vnd.openxmlformats-officedocument.presentationml.notesSlide+xml"/>
  <Override PartName="/ppt/tags/tag327.xml" ContentType="application/vnd.openxmlformats-officedocument.presentationml.tags+xml"/>
  <Override PartName="/ppt/notesSlides/notesSlide300.xml" ContentType="application/vnd.openxmlformats-officedocument.presentationml.notesSlide+xml"/>
  <Override PartName="/ppt/tags/tag328.xml" ContentType="application/vnd.openxmlformats-officedocument.presentationml.tags+xml"/>
  <Override PartName="/ppt/notesSlides/notesSlide301.xml" ContentType="application/vnd.openxmlformats-officedocument.presentationml.notesSlide+xml"/>
  <Override PartName="/ppt/tags/tag329.xml" ContentType="application/vnd.openxmlformats-officedocument.presentationml.tags+xml"/>
  <Override PartName="/ppt/notesSlides/notesSlide302.xml" ContentType="application/vnd.openxmlformats-officedocument.presentationml.notesSlide+xml"/>
  <Override PartName="/ppt/tags/tag330.xml" ContentType="application/vnd.openxmlformats-officedocument.presentationml.tags+xml"/>
  <Override PartName="/ppt/notesSlides/notesSlide303.xml" ContentType="application/vnd.openxmlformats-officedocument.presentationml.notesSlide+xml"/>
  <Override PartName="/ppt/tags/tag331.xml" ContentType="application/vnd.openxmlformats-officedocument.presentationml.tags+xml"/>
  <Override PartName="/ppt/notesSlides/notesSlide304.xml" ContentType="application/vnd.openxmlformats-officedocument.presentationml.notesSlide+xml"/>
  <Override PartName="/ppt/tags/tag332.xml" ContentType="application/vnd.openxmlformats-officedocument.presentationml.tags+xml"/>
  <Override PartName="/ppt/notesSlides/notesSlide305.xml" ContentType="application/vnd.openxmlformats-officedocument.presentationml.notesSlide+xml"/>
  <Override PartName="/ppt/tags/tag333.xml" ContentType="application/vnd.openxmlformats-officedocument.presentationml.tags+xml"/>
  <Override PartName="/ppt/notesSlides/notesSlide306.xml" ContentType="application/vnd.openxmlformats-officedocument.presentationml.notesSlide+xml"/>
  <Override PartName="/ppt/tags/tag334.xml" ContentType="application/vnd.openxmlformats-officedocument.presentationml.tags+xml"/>
  <Override PartName="/ppt/notesSlides/notesSlide307.xml" ContentType="application/vnd.openxmlformats-officedocument.presentationml.notesSlide+xml"/>
  <Override PartName="/ppt/tags/tag335.xml" ContentType="application/vnd.openxmlformats-officedocument.presentationml.tags+xml"/>
  <Override PartName="/ppt/notesSlides/notesSlide308.xml" ContentType="application/vnd.openxmlformats-officedocument.presentationml.notesSlide+xml"/>
  <Override PartName="/ppt/tags/tag336.xml" ContentType="application/vnd.openxmlformats-officedocument.presentationml.tags+xml"/>
  <Override PartName="/ppt/notesSlides/notesSlide309.xml" ContentType="application/vnd.openxmlformats-officedocument.presentationml.notesSlide+xml"/>
  <Override PartName="/ppt/tags/tag337.xml" ContentType="application/vnd.openxmlformats-officedocument.presentationml.tags+xml"/>
  <Override PartName="/ppt/notesSlides/notesSlide310.xml" ContentType="application/vnd.openxmlformats-officedocument.presentationml.notesSlide+xml"/>
  <Override PartName="/ppt/tags/tag338.xml" ContentType="application/vnd.openxmlformats-officedocument.presentationml.tags+xml"/>
  <Override PartName="/ppt/notesSlides/notesSlide311.xml" ContentType="application/vnd.openxmlformats-officedocument.presentationml.notesSlide+xml"/>
  <Override PartName="/ppt/tags/tag339.xml" ContentType="application/vnd.openxmlformats-officedocument.presentationml.tags+xml"/>
  <Override PartName="/ppt/notesSlides/notesSlide312.xml" ContentType="application/vnd.openxmlformats-officedocument.presentationml.notesSlide+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charts/chart189.xml" ContentType="application/vnd.openxmlformats-officedocument.drawingml.chart+xml"/>
  <Override PartName="/ppt/charts/style1.xml" ContentType="application/vnd.ms-office.chartstyle+xml"/>
  <Override PartName="/ppt/charts/colors1.xml" ContentType="application/vnd.ms-office.chartcolorstyle+xml"/>
  <Override PartName="/ppt/tags/tag381.xml" ContentType="application/vnd.openxmlformats-officedocument.presentationml.tags+xml"/>
  <Override PartName="/ppt/charts/chart190.xml" ContentType="application/vnd.openxmlformats-officedocument.drawingml.chart+xml"/>
  <Override PartName="/ppt/charts/style2.xml" ContentType="application/vnd.ms-office.chartstyle+xml"/>
  <Override PartName="/ppt/charts/colors2.xml" ContentType="application/vnd.ms-office.chartcolorstyle+xml"/>
  <Override PartName="/ppt/tags/tag382.xml" ContentType="application/vnd.openxmlformats-officedocument.presentationml.tags+xml"/>
  <Override PartName="/ppt/charts/chart191.xml" ContentType="application/vnd.openxmlformats-officedocument.drawingml.chart+xml"/>
  <Override PartName="/ppt/charts/style3.xml" ContentType="application/vnd.ms-office.chartstyle+xml"/>
  <Override PartName="/ppt/charts/colors3.xml" ContentType="application/vnd.ms-office.chartcolorstyle+xml"/>
  <Override PartName="/ppt/tags/tag383.xml" ContentType="application/vnd.openxmlformats-officedocument.presentationml.tags+xml"/>
  <Override PartName="/ppt/charts/chart192.xml" ContentType="application/vnd.openxmlformats-officedocument.drawingml.chart+xml"/>
  <Override PartName="/ppt/charts/style4.xml" ContentType="application/vnd.ms-office.chartstyle+xml"/>
  <Override PartName="/ppt/charts/colors4.xml" ContentType="application/vnd.ms-office.chartcolorstyle+xml"/>
  <Override PartName="/ppt/tags/tag384.xml" ContentType="application/vnd.openxmlformats-officedocument.presentationml.tags+xml"/>
  <Override PartName="/ppt/charts/chart193.xml" ContentType="application/vnd.openxmlformats-officedocument.drawingml.chart+xml"/>
  <Override PartName="/ppt/charts/style5.xml" ContentType="application/vnd.ms-office.chartstyle+xml"/>
  <Override PartName="/ppt/charts/colors5.xml" ContentType="application/vnd.ms-office.chartcolorstyle+xml"/>
  <Override PartName="/ppt/tags/tag385.xml" ContentType="application/vnd.openxmlformats-officedocument.presentationml.tags+xml"/>
  <Override PartName="/ppt/charts/chart194.xml" ContentType="application/vnd.openxmlformats-officedocument.drawingml.chart+xml"/>
  <Override PartName="/ppt/charts/style6.xml" ContentType="application/vnd.ms-office.chartstyle+xml"/>
  <Override PartName="/ppt/charts/colors6.xml" ContentType="application/vnd.ms-office.chartcolorstyle+xml"/>
  <Override PartName="/ppt/tags/tag386.xml" ContentType="application/vnd.openxmlformats-officedocument.presentationml.tags+xml"/>
  <Override PartName="/ppt/charts/chart195.xml" ContentType="application/vnd.openxmlformats-officedocument.drawingml.chart+xml"/>
  <Override PartName="/ppt/charts/style7.xml" ContentType="application/vnd.ms-office.chartstyle+xml"/>
  <Override PartName="/ppt/charts/colors7.xml" ContentType="application/vnd.ms-office.chartcolorstyle+xml"/>
  <Override PartName="/ppt/tags/tag387.xml" ContentType="application/vnd.openxmlformats-officedocument.presentationml.tags+xml"/>
  <Override PartName="/ppt/charts/chart196.xml" ContentType="application/vnd.openxmlformats-officedocument.drawingml.chart+xml"/>
  <Override PartName="/ppt/charts/style8.xml" ContentType="application/vnd.ms-office.chartstyle+xml"/>
  <Override PartName="/ppt/charts/colors8.xml" ContentType="application/vnd.ms-office.chartcolorstyle+xml"/>
  <Override PartName="/ppt/tags/tag388.xml" ContentType="application/vnd.openxmlformats-officedocument.presentationml.tags+xml"/>
  <Override PartName="/ppt/charts/chart197.xml" ContentType="application/vnd.openxmlformats-officedocument.drawingml.chart+xml"/>
  <Override PartName="/ppt/charts/style9.xml" ContentType="application/vnd.ms-office.chartstyle+xml"/>
  <Override PartName="/ppt/charts/colors9.xml" ContentType="application/vnd.ms-office.chartcolorstyle+xml"/>
  <Override PartName="/ppt/tags/tag389.xml" ContentType="application/vnd.openxmlformats-officedocument.presentationml.tags+xml"/>
  <Override PartName="/ppt/charts/chart198.xml" ContentType="application/vnd.openxmlformats-officedocument.drawingml.chart+xml"/>
  <Override PartName="/ppt/charts/style10.xml" ContentType="application/vnd.ms-office.chartstyle+xml"/>
  <Override PartName="/ppt/charts/colors10.xml" ContentType="application/vnd.ms-office.chartcolorstyle+xml"/>
  <Override PartName="/ppt/tags/tag390.xml" ContentType="application/vnd.openxmlformats-officedocument.presentationml.tags+xml"/>
  <Override PartName="/ppt/charts/chart199.xml" ContentType="application/vnd.openxmlformats-officedocument.drawingml.chart+xml"/>
  <Override PartName="/ppt/charts/style11.xml" ContentType="application/vnd.ms-office.chartstyle+xml"/>
  <Override PartName="/ppt/charts/colors11.xml" ContentType="application/vnd.ms-office.chartcolorstyle+xml"/>
  <Override PartName="/ppt/tags/tag391.xml" ContentType="application/vnd.openxmlformats-officedocument.presentationml.tags+xml"/>
  <Override PartName="/ppt/charts/chart200.xml" ContentType="application/vnd.openxmlformats-officedocument.drawingml.chart+xml"/>
  <Override PartName="/ppt/charts/style12.xml" ContentType="application/vnd.ms-office.chartstyle+xml"/>
  <Override PartName="/ppt/charts/colors12.xml" ContentType="application/vnd.ms-office.chartcolorstyle+xml"/>
  <Override PartName="/ppt/tags/tag392.xml" ContentType="application/vnd.openxmlformats-officedocument.presentationml.tags+xml"/>
  <Override PartName="/ppt/charts/chart201.xml" ContentType="application/vnd.openxmlformats-officedocument.drawingml.chart+xml"/>
  <Override PartName="/ppt/charts/style13.xml" ContentType="application/vnd.ms-office.chartstyle+xml"/>
  <Override PartName="/ppt/charts/colors13.xml" ContentType="application/vnd.ms-office.chartcolorstyle+xml"/>
  <Override PartName="/ppt/tags/tag393.xml" ContentType="application/vnd.openxmlformats-officedocument.presentationml.tags+xml"/>
  <Override PartName="/ppt/charts/chart202.xml" ContentType="application/vnd.openxmlformats-officedocument.drawingml.chart+xml"/>
  <Override PartName="/ppt/charts/style14.xml" ContentType="application/vnd.ms-office.chartstyle+xml"/>
  <Override PartName="/ppt/charts/colors14.xml" ContentType="application/vnd.ms-office.chartcolorstyle+xml"/>
  <Override PartName="/ppt/tags/tag394.xml" ContentType="application/vnd.openxmlformats-officedocument.presentationml.tags+xml"/>
  <Override PartName="/ppt/charts/chart203.xml" ContentType="application/vnd.openxmlformats-officedocument.drawingml.chart+xml"/>
  <Override PartName="/ppt/charts/style15.xml" ContentType="application/vnd.ms-office.chartstyle+xml"/>
  <Override PartName="/ppt/charts/colors15.xml" ContentType="application/vnd.ms-office.chartcolorstyle+xml"/>
  <Override PartName="/ppt/tags/tag395.xml" ContentType="application/vnd.openxmlformats-officedocument.presentationml.tags+xml"/>
  <Override PartName="/ppt/charts/chart204.xml" ContentType="application/vnd.openxmlformats-officedocument.drawingml.chart+xml"/>
  <Override PartName="/ppt/charts/style16.xml" ContentType="application/vnd.ms-office.chartstyle+xml"/>
  <Override PartName="/ppt/charts/colors16.xml" ContentType="application/vnd.ms-office.chartcolorstyle+xml"/>
  <Override PartName="/ppt/tags/tag396.xml" ContentType="application/vnd.openxmlformats-officedocument.presentationml.tags+xml"/>
  <Override PartName="/ppt/charts/chart205.xml" ContentType="application/vnd.openxmlformats-officedocument.drawingml.chart+xml"/>
  <Override PartName="/ppt/charts/style17.xml" ContentType="application/vnd.ms-office.chartstyle+xml"/>
  <Override PartName="/ppt/charts/colors17.xml" ContentType="application/vnd.ms-office.chartcolorstyle+xml"/>
  <Override PartName="/ppt/tags/tag397.xml" ContentType="application/vnd.openxmlformats-officedocument.presentationml.tags+xml"/>
  <Override PartName="/ppt/charts/chart206.xml" ContentType="application/vnd.openxmlformats-officedocument.drawingml.chart+xml"/>
  <Override PartName="/ppt/charts/style18.xml" ContentType="application/vnd.ms-office.chartstyle+xml"/>
  <Override PartName="/ppt/charts/colors18.xml" ContentType="application/vnd.ms-office.chartcolorstyle+xml"/>
  <Override PartName="/ppt/tags/tag398.xml" ContentType="application/vnd.openxmlformats-officedocument.presentationml.tags+xml"/>
  <Override PartName="/ppt/charts/chart207.xml" ContentType="application/vnd.openxmlformats-officedocument.drawingml.chart+xml"/>
  <Override PartName="/ppt/charts/style19.xml" ContentType="application/vnd.ms-office.chartstyle+xml"/>
  <Override PartName="/ppt/charts/colors19.xml" ContentType="application/vnd.ms-office.chartcolorstyle+xml"/>
  <Override PartName="/ppt/tags/tag399.xml" ContentType="application/vnd.openxmlformats-officedocument.presentationml.tags+xml"/>
  <Override PartName="/ppt/charts/chart208.xml" ContentType="application/vnd.openxmlformats-officedocument.drawingml.chart+xml"/>
  <Override PartName="/ppt/charts/style20.xml" ContentType="application/vnd.ms-office.chartstyle+xml"/>
  <Override PartName="/ppt/charts/colors20.xml" ContentType="application/vnd.ms-office.chartcolorstyle+xml"/>
  <Override PartName="/ppt/tags/tag400.xml" ContentType="application/vnd.openxmlformats-officedocument.presentationml.tags+xml"/>
  <Override PartName="/ppt/charts/chart209.xml" ContentType="application/vnd.openxmlformats-officedocument.drawingml.chart+xml"/>
  <Override PartName="/ppt/charts/style21.xml" ContentType="application/vnd.ms-office.chartstyle+xml"/>
  <Override PartName="/ppt/charts/colors21.xml" ContentType="application/vnd.ms-office.chartcolorstyle+xml"/>
  <Override PartName="/ppt/tags/tag401.xml" ContentType="application/vnd.openxmlformats-officedocument.presentationml.tags+xml"/>
  <Override PartName="/ppt/charts/chart210.xml" ContentType="application/vnd.openxmlformats-officedocument.drawingml.chart+xml"/>
  <Override PartName="/ppt/charts/style22.xml" ContentType="application/vnd.ms-office.chartstyle+xml"/>
  <Override PartName="/ppt/charts/colors22.xml" ContentType="application/vnd.ms-office.chartcolorstyle+xml"/>
  <Override PartName="/ppt/tags/tag402.xml" ContentType="application/vnd.openxmlformats-officedocument.presentationml.tags+xml"/>
  <Override PartName="/ppt/charts/chart211.xml" ContentType="application/vnd.openxmlformats-officedocument.drawingml.chart+xml"/>
  <Override PartName="/ppt/charts/style23.xml" ContentType="application/vnd.ms-office.chartstyle+xml"/>
  <Override PartName="/ppt/charts/colors23.xml" ContentType="application/vnd.ms-office.chartcolorstyle+xml"/>
  <Override PartName="/ppt/tags/tag403.xml" ContentType="application/vnd.openxmlformats-officedocument.presentationml.tags+xml"/>
  <Override PartName="/ppt/charts/chart212.xml" ContentType="application/vnd.openxmlformats-officedocument.drawingml.chart+xml"/>
  <Override PartName="/ppt/charts/style24.xml" ContentType="application/vnd.ms-office.chartstyle+xml"/>
  <Override PartName="/ppt/charts/colors24.xml" ContentType="application/vnd.ms-office.chartcolorstyle+xml"/>
  <Override PartName="/ppt/tags/tag404.xml" ContentType="application/vnd.openxmlformats-officedocument.presentationml.tags+xml"/>
  <Override PartName="/ppt/charts/chart213.xml" ContentType="application/vnd.openxmlformats-officedocument.drawingml.chart+xml"/>
  <Override PartName="/ppt/charts/style25.xml" ContentType="application/vnd.ms-office.chartstyle+xml"/>
  <Override PartName="/ppt/charts/colors25.xml" ContentType="application/vnd.ms-office.chartcolorstyle+xml"/>
  <Override PartName="/ppt/tags/tag405.xml" ContentType="application/vnd.openxmlformats-officedocument.presentationml.tags+xml"/>
  <Override PartName="/ppt/charts/chart214.xml" ContentType="application/vnd.openxmlformats-officedocument.drawingml.chart+xml"/>
  <Override PartName="/ppt/charts/style26.xml" ContentType="application/vnd.ms-office.chartstyle+xml"/>
  <Override PartName="/ppt/charts/colors26.xml" ContentType="application/vnd.ms-office.chartcolorstyle+xml"/>
  <Override PartName="/ppt/tags/tag406.xml" ContentType="application/vnd.openxmlformats-officedocument.presentationml.tags+xml"/>
  <Override PartName="/ppt/charts/chart215.xml" ContentType="application/vnd.openxmlformats-officedocument.drawingml.chart+xml"/>
  <Override PartName="/ppt/charts/style27.xml" ContentType="application/vnd.ms-office.chartstyle+xml"/>
  <Override PartName="/ppt/charts/colors27.xml" ContentType="application/vnd.ms-office.chartcolorstyle+xml"/>
  <Override PartName="/ppt/tags/tag407.xml" ContentType="application/vnd.openxmlformats-officedocument.presentationml.tags+xml"/>
  <Override PartName="/ppt/charts/chart216.xml" ContentType="application/vnd.openxmlformats-officedocument.drawingml.chart+xml"/>
  <Override PartName="/ppt/charts/style28.xml" ContentType="application/vnd.ms-office.chartstyle+xml"/>
  <Override PartName="/ppt/charts/colors28.xml" ContentType="application/vnd.ms-office.chartcolorstyle+xml"/>
  <Override PartName="/ppt/tags/tag408.xml" ContentType="application/vnd.openxmlformats-officedocument.presentationml.tags+xml"/>
  <Override PartName="/ppt/charts/chart217.xml" ContentType="application/vnd.openxmlformats-officedocument.drawingml.chart+xml"/>
  <Override PartName="/ppt/charts/style29.xml" ContentType="application/vnd.ms-office.chartstyle+xml"/>
  <Override PartName="/ppt/charts/colors29.xml" ContentType="application/vnd.ms-office.chartcolorstyle+xml"/>
  <Override PartName="/ppt/tags/tag409.xml" ContentType="application/vnd.openxmlformats-officedocument.presentationml.tags+xml"/>
  <Override PartName="/ppt/charts/chart218.xml" ContentType="application/vnd.openxmlformats-officedocument.drawingml.chart+xml"/>
  <Override PartName="/ppt/charts/style30.xml" ContentType="application/vnd.ms-office.chartstyle+xml"/>
  <Override PartName="/ppt/charts/colors30.xml" ContentType="application/vnd.ms-office.chartcolorstyle+xml"/>
  <Override PartName="/ppt/tags/tag410.xml" ContentType="application/vnd.openxmlformats-officedocument.presentationml.tags+xml"/>
  <Override PartName="/ppt/charts/chart219.xml" ContentType="application/vnd.openxmlformats-officedocument.drawingml.chart+xml"/>
  <Override PartName="/ppt/charts/style31.xml" ContentType="application/vnd.ms-office.chartstyle+xml"/>
  <Override PartName="/ppt/charts/colors31.xml" ContentType="application/vnd.ms-office.chartcolorstyle+xml"/>
  <Override PartName="/ppt/tags/tag411.xml" ContentType="application/vnd.openxmlformats-officedocument.presentationml.tags+xml"/>
  <Override PartName="/ppt/charts/chart220.xml" ContentType="application/vnd.openxmlformats-officedocument.drawingml.chart+xml"/>
  <Override PartName="/ppt/charts/style32.xml" ContentType="application/vnd.ms-office.chartstyle+xml"/>
  <Override PartName="/ppt/charts/colors32.xml" ContentType="application/vnd.ms-office.chartcolorstyle+xml"/>
  <Override PartName="/ppt/tags/tag412.xml" ContentType="application/vnd.openxmlformats-officedocument.presentationml.tags+xml"/>
  <Override PartName="/ppt/charts/chart221.xml" ContentType="application/vnd.openxmlformats-officedocument.drawingml.chart+xml"/>
  <Override PartName="/ppt/charts/style33.xml" ContentType="application/vnd.ms-office.chartstyle+xml"/>
  <Override PartName="/ppt/charts/colors33.xml" ContentType="application/vnd.ms-office.chartcolorstyle+xml"/>
  <Override PartName="/ppt/tags/tag413.xml" ContentType="application/vnd.openxmlformats-officedocument.presentationml.tags+xml"/>
  <Override PartName="/ppt/charts/chart222.xml" ContentType="application/vnd.openxmlformats-officedocument.drawingml.chart+xml"/>
  <Override PartName="/ppt/charts/style34.xml" ContentType="application/vnd.ms-office.chartstyle+xml"/>
  <Override PartName="/ppt/charts/colors34.xml" ContentType="application/vnd.ms-office.chartcolorstyle+xml"/>
  <Override PartName="/ppt/tags/tag414.xml" ContentType="application/vnd.openxmlformats-officedocument.presentationml.tags+xml"/>
  <Override PartName="/ppt/charts/chart223.xml" ContentType="application/vnd.openxmlformats-officedocument.drawingml.chart+xml"/>
  <Override PartName="/ppt/charts/style35.xml" ContentType="application/vnd.ms-office.chartstyle+xml"/>
  <Override PartName="/ppt/charts/colors35.xml" ContentType="application/vnd.ms-office.chartcolorstyle+xml"/>
  <Override PartName="/ppt/tags/tag415.xml" ContentType="application/vnd.openxmlformats-officedocument.presentationml.tags+xml"/>
  <Override PartName="/ppt/charts/chart224.xml" ContentType="application/vnd.openxmlformats-officedocument.drawingml.chart+xml"/>
  <Override PartName="/ppt/charts/style36.xml" ContentType="application/vnd.ms-office.chartstyle+xml"/>
  <Override PartName="/ppt/charts/colors36.xml" ContentType="application/vnd.ms-office.chartcolorstyle+xml"/>
  <Override PartName="/ppt/tags/tag416.xml" ContentType="application/vnd.openxmlformats-officedocument.presentationml.tags+xml"/>
  <Override PartName="/ppt/charts/chart225.xml" ContentType="application/vnd.openxmlformats-officedocument.drawingml.chart+xml"/>
  <Override PartName="/ppt/charts/style37.xml" ContentType="application/vnd.ms-office.chartstyle+xml"/>
  <Override PartName="/ppt/charts/colors37.xml" ContentType="application/vnd.ms-office.chartcolorstyle+xml"/>
  <Override PartName="/ppt/tags/tag417.xml" ContentType="application/vnd.openxmlformats-officedocument.presentationml.tags+xml"/>
  <Override PartName="/ppt/charts/chart226.xml" ContentType="application/vnd.openxmlformats-officedocument.drawingml.chart+xml"/>
  <Override PartName="/ppt/charts/style38.xml" ContentType="application/vnd.ms-office.chartstyle+xml"/>
  <Override PartName="/ppt/charts/colors38.xml" ContentType="application/vnd.ms-office.chartcolorstyle+xml"/>
  <Override PartName="/ppt/tags/tag418.xml" ContentType="application/vnd.openxmlformats-officedocument.presentationml.tags+xml"/>
  <Override PartName="/ppt/charts/chart227.xml" ContentType="application/vnd.openxmlformats-officedocument.drawingml.chart+xml"/>
  <Override PartName="/ppt/charts/style39.xml" ContentType="application/vnd.ms-office.chartstyle+xml"/>
  <Override PartName="/ppt/charts/colors39.xml" ContentType="application/vnd.ms-office.chartcolorstyle+xml"/>
  <Override PartName="/ppt/tags/tag419.xml" ContentType="application/vnd.openxmlformats-officedocument.presentationml.tags+xml"/>
  <Override PartName="/ppt/charts/chart228.xml" ContentType="application/vnd.openxmlformats-officedocument.drawingml.chart+xml"/>
  <Override PartName="/ppt/charts/style40.xml" ContentType="application/vnd.ms-office.chartstyle+xml"/>
  <Override PartName="/ppt/charts/colors40.xml" ContentType="application/vnd.ms-office.chartcolorstyle+xml"/>
  <Override PartName="/ppt/tags/tag420.xml" ContentType="application/vnd.openxmlformats-officedocument.presentationml.tags+xml"/>
  <Override PartName="/ppt/charts/chart229.xml" ContentType="application/vnd.openxmlformats-officedocument.drawingml.chart+xml"/>
  <Override PartName="/ppt/charts/style41.xml" ContentType="application/vnd.ms-office.chartstyle+xml"/>
  <Override PartName="/ppt/charts/colors41.xml" ContentType="application/vnd.ms-office.chartcolorstyle+xml"/>
  <Override PartName="/ppt/tags/tag421.xml" ContentType="application/vnd.openxmlformats-officedocument.presentationml.tags+xml"/>
  <Override PartName="/ppt/charts/chart230.xml" ContentType="application/vnd.openxmlformats-officedocument.drawingml.chart+xml"/>
  <Override PartName="/ppt/charts/style42.xml" ContentType="application/vnd.ms-office.chartstyle+xml"/>
  <Override PartName="/ppt/charts/colors42.xml" ContentType="application/vnd.ms-office.chartcolorstyle+xml"/>
  <Override PartName="/ppt/tags/tag422.xml" ContentType="application/vnd.openxmlformats-officedocument.presentationml.tags+xml"/>
  <Override PartName="/ppt/charts/chart231.xml" ContentType="application/vnd.openxmlformats-officedocument.drawingml.chart+xml"/>
  <Override PartName="/ppt/charts/style43.xml" ContentType="application/vnd.ms-office.chartstyle+xml"/>
  <Override PartName="/ppt/charts/colors43.xml" ContentType="application/vnd.ms-office.chartcolorstyle+xml"/>
  <Override PartName="/ppt/tags/tag423.xml" ContentType="application/vnd.openxmlformats-officedocument.presentationml.tags+xml"/>
  <Override PartName="/ppt/charts/chart232.xml" ContentType="application/vnd.openxmlformats-officedocument.drawingml.chart+xml"/>
  <Override PartName="/ppt/charts/style44.xml" ContentType="application/vnd.ms-office.chartstyle+xml"/>
  <Override PartName="/ppt/charts/colors44.xml" ContentType="application/vnd.ms-office.chartcolorstyle+xml"/>
  <Override PartName="/ppt/tags/tag424.xml" ContentType="application/vnd.openxmlformats-officedocument.presentationml.tags+xml"/>
  <Override PartName="/ppt/charts/chart233.xml" ContentType="application/vnd.openxmlformats-officedocument.drawingml.chart+xml"/>
  <Override PartName="/ppt/charts/style45.xml" ContentType="application/vnd.ms-office.chartstyle+xml"/>
  <Override PartName="/ppt/charts/colors45.xml" ContentType="application/vnd.ms-office.chartcolorstyle+xml"/>
  <Override PartName="/ppt/tags/tag425.xml" ContentType="application/vnd.openxmlformats-officedocument.presentationml.tags+xml"/>
  <Override PartName="/ppt/charts/chart234.xml" ContentType="application/vnd.openxmlformats-officedocument.drawingml.chart+xml"/>
  <Override PartName="/ppt/charts/style46.xml" ContentType="application/vnd.ms-office.chartstyle+xml"/>
  <Override PartName="/ppt/charts/colors46.xml" ContentType="application/vnd.ms-office.chartcolorstyle+xml"/>
  <Override PartName="/ppt/tags/tag426.xml" ContentType="application/vnd.openxmlformats-officedocument.presentationml.tags+xml"/>
  <Override PartName="/ppt/charts/chart235.xml" ContentType="application/vnd.openxmlformats-officedocument.drawingml.chart+xml"/>
  <Override PartName="/ppt/charts/style47.xml" ContentType="application/vnd.ms-office.chartstyle+xml"/>
  <Override PartName="/ppt/charts/colors47.xml" ContentType="application/vnd.ms-office.chartcolorstyle+xml"/>
  <Override PartName="/ppt/tags/tag427.xml" ContentType="application/vnd.openxmlformats-officedocument.presentationml.tags+xml"/>
  <Override PartName="/ppt/charts/chart236.xml" ContentType="application/vnd.openxmlformats-officedocument.drawingml.chart+xml"/>
  <Override PartName="/ppt/charts/style48.xml" ContentType="application/vnd.ms-office.chartstyle+xml"/>
  <Override PartName="/ppt/charts/colors48.xml" ContentType="application/vnd.ms-office.chartcolorstyle+xml"/>
  <Override PartName="/ppt/tags/tag428.xml" ContentType="application/vnd.openxmlformats-officedocument.presentationml.tags+xml"/>
  <Override PartName="/ppt/charts/chart237.xml" ContentType="application/vnd.openxmlformats-officedocument.drawingml.chart+xml"/>
  <Override PartName="/ppt/charts/style49.xml" ContentType="application/vnd.ms-office.chartstyle+xml"/>
  <Override PartName="/ppt/charts/colors49.xml" ContentType="application/vnd.ms-office.chartcolorstyle+xml"/>
  <Override PartName="/ppt/tags/tag429.xml" ContentType="application/vnd.openxmlformats-officedocument.presentationml.tags+xml"/>
  <Override PartName="/ppt/charts/chart238.xml" ContentType="application/vnd.openxmlformats-officedocument.drawingml.chart+xml"/>
  <Override PartName="/ppt/charts/style50.xml" ContentType="application/vnd.ms-office.chartstyle+xml"/>
  <Override PartName="/ppt/charts/colors50.xml" ContentType="application/vnd.ms-office.chartcolorstyle+xml"/>
  <Override PartName="/ppt/tags/tag430.xml" ContentType="application/vnd.openxmlformats-officedocument.presentationml.tags+xml"/>
  <Override PartName="/ppt/charts/chart239.xml" ContentType="application/vnd.openxmlformats-officedocument.drawingml.chart+xml"/>
  <Override PartName="/ppt/charts/style51.xml" ContentType="application/vnd.ms-office.chartstyle+xml"/>
  <Override PartName="/ppt/charts/colors51.xml" ContentType="application/vnd.ms-office.chartcolorstyle+xml"/>
  <Override PartName="/ppt/tags/tag431.xml" ContentType="application/vnd.openxmlformats-officedocument.presentationml.tags+xml"/>
  <Override PartName="/ppt/charts/chart240.xml" ContentType="application/vnd.openxmlformats-officedocument.drawingml.chart+xml"/>
  <Override PartName="/ppt/charts/style52.xml" ContentType="application/vnd.ms-office.chartstyle+xml"/>
  <Override PartName="/ppt/charts/colors52.xml" ContentType="application/vnd.ms-office.chartcolorstyle+xml"/>
  <Override PartName="/ppt/tags/tag432.xml" ContentType="application/vnd.openxmlformats-officedocument.presentationml.tags+xml"/>
  <Override PartName="/ppt/charts/chart241.xml" ContentType="application/vnd.openxmlformats-officedocument.drawingml.chart+xml"/>
  <Override PartName="/ppt/charts/style53.xml" ContentType="application/vnd.ms-office.chartstyle+xml"/>
  <Override PartName="/ppt/charts/colors53.xml" ContentType="application/vnd.ms-office.chartcolorstyle+xml"/>
  <Override PartName="/ppt/tags/tag433.xml" ContentType="application/vnd.openxmlformats-officedocument.presentationml.tags+xml"/>
  <Override PartName="/ppt/charts/chart242.xml" ContentType="application/vnd.openxmlformats-officedocument.drawingml.chart+xml"/>
  <Override PartName="/ppt/charts/style54.xml" ContentType="application/vnd.ms-office.chartstyle+xml"/>
  <Override PartName="/ppt/charts/colors54.xml" ContentType="application/vnd.ms-office.chartcolorstyle+xml"/>
  <Override PartName="/ppt/tags/tag434.xml" ContentType="application/vnd.openxmlformats-officedocument.presentationml.tags+xml"/>
  <Override PartName="/ppt/charts/chart243.xml" ContentType="application/vnd.openxmlformats-officedocument.drawingml.chart+xml"/>
  <Override PartName="/ppt/charts/style55.xml" ContentType="application/vnd.ms-office.chartstyle+xml"/>
  <Override PartName="/ppt/charts/colors55.xml" ContentType="application/vnd.ms-office.chartcolorstyle+xml"/>
  <Override PartName="/ppt/tags/tag435.xml" ContentType="application/vnd.openxmlformats-officedocument.presentationml.tags+xml"/>
  <Override PartName="/ppt/charts/chart244.xml" ContentType="application/vnd.openxmlformats-officedocument.drawingml.chart+xml"/>
  <Override PartName="/ppt/charts/style56.xml" ContentType="application/vnd.ms-office.chartstyle+xml"/>
  <Override PartName="/ppt/charts/colors56.xml" ContentType="application/vnd.ms-office.chartcolorstyle+xml"/>
  <Override PartName="/ppt/tags/tag436.xml" ContentType="application/vnd.openxmlformats-officedocument.presentationml.tags+xml"/>
  <Override PartName="/ppt/charts/chart245.xml" ContentType="application/vnd.openxmlformats-officedocument.drawingml.chart+xml"/>
  <Override PartName="/ppt/charts/style57.xml" ContentType="application/vnd.ms-office.chartstyle+xml"/>
  <Override PartName="/ppt/charts/colors57.xml" ContentType="application/vnd.ms-office.chartcolorstyle+xml"/>
  <Override PartName="/ppt/tags/tag437.xml" ContentType="application/vnd.openxmlformats-officedocument.presentationml.tags+xml"/>
  <Override PartName="/ppt/charts/chart246.xml" ContentType="application/vnd.openxmlformats-officedocument.drawingml.chart+xml"/>
  <Override PartName="/ppt/charts/style58.xml" ContentType="application/vnd.ms-office.chartstyle+xml"/>
  <Override PartName="/ppt/charts/colors58.xml" ContentType="application/vnd.ms-office.chartcolorstyle+xml"/>
  <Override PartName="/ppt/tags/tag438.xml" ContentType="application/vnd.openxmlformats-officedocument.presentationml.tags+xml"/>
  <Override PartName="/ppt/charts/chart247.xml" ContentType="application/vnd.openxmlformats-officedocument.drawingml.chart+xml"/>
  <Override PartName="/ppt/charts/style59.xml" ContentType="application/vnd.ms-office.chartstyle+xml"/>
  <Override PartName="/ppt/charts/colors59.xml" ContentType="application/vnd.ms-office.chartcolorstyle+xml"/>
  <Override PartName="/ppt/tags/tag439.xml" ContentType="application/vnd.openxmlformats-officedocument.presentationml.tags+xml"/>
  <Override PartName="/ppt/charts/chart248.xml" ContentType="application/vnd.openxmlformats-officedocument.drawingml.chart+xml"/>
  <Override PartName="/ppt/charts/style60.xml" ContentType="application/vnd.ms-office.chartstyle+xml"/>
  <Override PartName="/ppt/charts/colors60.xml" ContentType="application/vnd.ms-office.chartcolorstyle+xml"/>
  <Override PartName="/ppt/tags/tag440.xml" ContentType="application/vnd.openxmlformats-officedocument.presentationml.tags+xml"/>
  <Override PartName="/ppt/charts/chart249.xml" ContentType="application/vnd.openxmlformats-officedocument.drawingml.chart+xml"/>
  <Override PartName="/ppt/charts/style61.xml" ContentType="application/vnd.ms-office.chartstyle+xml"/>
  <Override PartName="/ppt/charts/colors61.xml" ContentType="application/vnd.ms-office.chartcolorstyle+xml"/>
  <Override PartName="/ppt/tags/tag441.xml" ContentType="application/vnd.openxmlformats-officedocument.presentationml.tags+xml"/>
  <Override PartName="/ppt/charts/chart250.xml" ContentType="application/vnd.openxmlformats-officedocument.drawingml.chart+xml"/>
  <Override PartName="/ppt/charts/style62.xml" ContentType="application/vnd.ms-office.chartstyle+xml"/>
  <Override PartName="/ppt/charts/colors62.xml" ContentType="application/vnd.ms-office.chartcolorstyle+xml"/>
  <Override PartName="/ppt/tags/tag442.xml" ContentType="application/vnd.openxmlformats-officedocument.presentationml.tags+xml"/>
  <Override PartName="/ppt/charts/chart251.xml" ContentType="application/vnd.openxmlformats-officedocument.drawingml.chart+xml"/>
  <Override PartName="/ppt/charts/style63.xml" ContentType="application/vnd.ms-office.chartstyle+xml"/>
  <Override PartName="/ppt/charts/colors63.xml" ContentType="application/vnd.ms-office.chartcolorstyle+xml"/>
  <Override PartName="/ppt/tags/tag443.xml" ContentType="application/vnd.openxmlformats-officedocument.presentationml.tags+xml"/>
  <Override PartName="/ppt/charts/chart252.xml" ContentType="application/vnd.openxmlformats-officedocument.drawingml.chart+xml"/>
  <Override PartName="/ppt/charts/style64.xml" ContentType="application/vnd.ms-office.chartstyle+xml"/>
  <Override PartName="/ppt/charts/colors64.xml" ContentType="application/vnd.ms-office.chartcolorstyle+xml"/>
  <Override PartName="/ppt/tags/tag444.xml" ContentType="application/vnd.openxmlformats-officedocument.presentationml.tags+xml"/>
  <Override PartName="/ppt/charts/chart253.xml" ContentType="application/vnd.openxmlformats-officedocument.drawingml.chart+xml"/>
  <Override PartName="/ppt/charts/style65.xml" ContentType="application/vnd.ms-office.chartstyle+xml"/>
  <Override PartName="/ppt/charts/colors65.xml" ContentType="application/vnd.ms-office.chartcolorstyle+xml"/>
  <Override PartName="/ppt/tags/tag445.xml" ContentType="application/vnd.openxmlformats-officedocument.presentationml.tags+xml"/>
  <Override PartName="/ppt/charts/chart254.xml" ContentType="application/vnd.openxmlformats-officedocument.drawingml.chart+xml"/>
  <Override PartName="/ppt/charts/style66.xml" ContentType="application/vnd.ms-office.chartstyle+xml"/>
  <Override PartName="/ppt/charts/colors66.xml" ContentType="application/vnd.ms-office.chartcolorstyle+xml"/>
  <Override PartName="/ppt/tags/tag446.xml" ContentType="application/vnd.openxmlformats-officedocument.presentationml.tags+xml"/>
  <Override PartName="/ppt/charts/chart255.xml" ContentType="application/vnd.openxmlformats-officedocument.drawingml.chart+xml"/>
  <Override PartName="/ppt/charts/style67.xml" ContentType="application/vnd.ms-office.chartstyle+xml"/>
  <Override PartName="/ppt/charts/colors67.xml" ContentType="application/vnd.ms-office.chartcolorstyle+xml"/>
  <Override PartName="/ppt/tags/tag447.xml" ContentType="application/vnd.openxmlformats-officedocument.presentationml.tags+xml"/>
  <Override PartName="/ppt/charts/chart256.xml" ContentType="application/vnd.openxmlformats-officedocument.drawingml.chart+xml"/>
  <Override PartName="/ppt/charts/style68.xml" ContentType="application/vnd.ms-office.chartstyle+xml"/>
  <Override PartName="/ppt/charts/colors68.xml" ContentType="application/vnd.ms-office.chartcolorstyle+xml"/>
  <Override PartName="/ppt/tags/tag448.xml" ContentType="application/vnd.openxmlformats-officedocument.presentationml.tags+xml"/>
  <Override PartName="/ppt/charts/chart257.xml" ContentType="application/vnd.openxmlformats-officedocument.drawingml.chart+xml"/>
  <Override PartName="/ppt/charts/style69.xml" ContentType="application/vnd.ms-office.chartstyle+xml"/>
  <Override PartName="/ppt/charts/colors69.xml" ContentType="application/vnd.ms-office.chartcolorstyle+xml"/>
  <Override PartName="/ppt/tags/tag449.xml" ContentType="application/vnd.openxmlformats-officedocument.presentationml.tags+xml"/>
  <Override PartName="/ppt/charts/chart258.xml" ContentType="application/vnd.openxmlformats-officedocument.drawingml.chart+xml"/>
  <Override PartName="/ppt/charts/style70.xml" ContentType="application/vnd.ms-office.chartstyle+xml"/>
  <Override PartName="/ppt/charts/colors70.xml" ContentType="application/vnd.ms-office.chartcolorstyle+xml"/>
  <Override PartName="/ppt/tags/tag450.xml" ContentType="application/vnd.openxmlformats-officedocument.presentationml.tags+xml"/>
  <Override PartName="/ppt/charts/chart259.xml" ContentType="application/vnd.openxmlformats-officedocument.drawingml.chart+xml"/>
  <Override PartName="/ppt/charts/style71.xml" ContentType="application/vnd.ms-office.chartstyle+xml"/>
  <Override PartName="/ppt/charts/colors71.xml" ContentType="application/vnd.ms-office.chartcolorstyle+xml"/>
  <Override PartName="/ppt/tags/tag451.xml" ContentType="application/vnd.openxmlformats-officedocument.presentationml.tags+xml"/>
  <Override PartName="/ppt/charts/chart260.xml" ContentType="application/vnd.openxmlformats-officedocument.drawingml.chart+xml"/>
  <Override PartName="/ppt/charts/style72.xml" ContentType="application/vnd.ms-office.chartstyle+xml"/>
  <Override PartName="/ppt/charts/colors72.xml" ContentType="application/vnd.ms-office.chartcolorstyle+xml"/>
  <Override PartName="/ppt/tags/tag452.xml" ContentType="application/vnd.openxmlformats-officedocument.presentationml.tags+xml"/>
  <Override PartName="/ppt/charts/chart261.xml" ContentType="application/vnd.openxmlformats-officedocument.drawingml.chart+xml"/>
  <Override PartName="/ppt/charts/style73.xml" ContentType="application/vnd.ms-office.chartstyle+xml"/>
  <Override PartName="/ppt/charts/colors73.xml" ContentType="application/vnd.ms-office.chartcolorstyle+xml"/>
  <Override PartName="/ppt/tags/tag453.xml" ContentType="application/vnd.openxmlformats-officedocument.presentationml.tags+xml"/>
  <Override PartName="/ppt/charts/chart262.xml" ContentType="application/vnd.openxmlformats-officedocument.drawingml.chart+xml"/>
  <Override PartName="/ppt/charts/style74.xml" ContentType="application/vnd.ms-office.chartstyle+xml"/>
  <Override PartName="/ppt/charts/colors74.xml" ContentType="application/vnd.ms-office.chartcolorstyle+xml"/>
  <Override PartName="/ppt/tags/tag454.xml" ContentType="application/vnd.openxmlformats-officedocument.presentationml.tags+xml"/>
  <Override PartName="/ppt/charts/chart263.xml" ContentType="application/vnd.openxmlformats-officedocument.drawingml.chart+xml"/>
  <Override PartName="/ppt/charts/style75.xml" ContentType="application/vnd.ms-office.chartstyle+xml"/>
  <Override PartName="/ppt/charts/colors75.xml" ContentType="application/vnd.ms-office.chartcolorstyle+xml"/>
  <Override PartName="/ppt/tags/tag455.xml" ContentType="application/vnd.openxmlformats-officedocument.presentationml.tags+xml"/>
  <Override PartName="/ppt/charts/chart264.xml" ContentType="application/vnd.openxmlformats-officedocument.drawingml.chart+xml"/>
  <Override PartName="/ppt/charts/style76.xml" ContentType="application/vnd.ms-office.chartstyle+xml"/>
  <Override PartName="/ppt/charts/colors76.xml" ContentType="application/vnd.ms-office.chartcolorstyle+xml"/>
  <Override PartName="/ppt/tags/tag456.xml" ContentType="application/vnd.openxmlformats-officedocument.presentationml.tags+xml"/>
  <Override PartName="/ppt/charts/chart265.xml" ContentType="application/vnd.openxmlformats-officedocument.drawingml.chart+xml"/>
  <Override PartName="/ppt/charts/style77.xml" ContentType="application/vnd.ms-office.chartstyle+xml"/>
  <Override PartName="/ppt/charts/colors77.xml" ContentType="application/vnd.ms-office.chartcolorstyle+xml"/>
  <Override PartName="/ppt/tags/tag457.xml" ContentType="application/vnd.openxmlformats-officedocument.presentationml.tags+xml"/>
  <Override PartName="/ppt/charts/chart266.xml" ContentType="application/vnd.openxmlformats-officedocument.drawingml.chart+xml"/>
  <Override PartName="/ppt/charts/style78.xml" ContentType="application/vnd.ms-office.chartstyle+xml"/>
  <Override PartName="/ppt/charts/colors78.xml" ContentType="application/vnd.ms-office.chartcolorstyle+xml"/>
  <Override PartName="/ppt/tags/tag458.xml" ContentType="application/vnd.openxmlformats-officedocument.presentationml.tags+xml"/>
  <Override PartName="/ppt/charts/chart267.xml" ContentType="application/vnd.openxmlformats-officedocument.drawingml.chart+xml"/>
  <Override PartName="/ppt/charts/style79.xml" ContentType="application/vnd.ms-office.chartstyle+xml"/>
  <Override PartName="/ppt/charts/colors79.xml" ContentType="application/vnd.ms-office.chartcolorstyle+xml"/>
  <Override PartName="/ppt/tags/tag459.xml" ContentType="application/vnd.openxmlformats-officedocument.presentationml.tags+xml"/>
  <Override PartName="/ppt/charts/chart268.xml" ContentType="application/vnd.openxmlformats-officedocument.drawingml.chart+xml"/>
  <Override PartName="/ppt/charts/style80.xml" ContentType="application/vnd.ms-office.chartstyle+xml"/>
  <Override PartName="/ppt/charts/colors80.xml" ContentType="application/vnd.ms-office.chartcolorstyle+xml"/>
  <Override PartName="/ppt/tags/tag460.xml" ContentType="application/vnd.openxmlformats-officedocument.presentationml.tags+xml"/>
  <Override PartName="/ppt/charts/chart269.xml" ContentType="application/vnd.openxmlformats-officedocument.drawingml.chart+xml"/>
  <Override PartName="/ppt/charts/style81.xml" ContentType="application/vnd.ms-office.chartstyle+xml"/>
  <Override PartName="/ppt/charts/colors81.xml" ContentType="application/vnd.ms-office.chartcolorstyle+xml"/>
  <Override PartName="/ppt/tags/tag461.xml" ContentType="application/vnd.openxmlformats-officedocument.presentationml.tags+xml"/>
  <Override PartName="/ppt/charts/chart270.xml" ContentType="application/vnd.openxmlformats-officedocument.drawingml.chart+xml"/>
  <Override PartName="/ppt/charts/style82.xml" ContentType="application/vnd.ms-office.chartstyle+xml"/>
  <Override PartName="/ppt/charts/colors82.xml" ContentType="application/vnd.ms-office.chartcolorstyle+xml"/>
  <Override PartName="/ppt/tags/tag462.xml" ContentType="application/vnd.openxmlformats-officedocument.presentationml.tags+xml"/>
  <Override PartName="/ppt/charts/chart271.xml" ContentType="application/vnd.openxmlformats-officedocument.drawingml.chart+xml"/>
  <Override PartName="/ppt/charts/style83.xml" ContentType="application/vnd.ms-office.chartstyle+xml"/>
  <Override PartName="/ppt/charts/colors83.xml" ContentType="application/vnd.ms-office.chartcolorstyle+xml"/>
  <Override PartName="/ppt/tags/tag463.xml" ContentType="application/vnd.openxmlformats-officedocument.presentationml.tags+xml"/>
  <Override PartName="/ppt/charts/chart272.xml" ContentType="application/vnd.openxmlformats-officedocument.drawingml.chart+xml"/>
  <Override PartName="/ppt/charts/style84.xml" ContentType="application/vnd.ms-office.chartstyle+xml"/>
  <Override PartName="/ppt/charts/colors84.xml" ContentType="application/vnd.ms-office.chartcolorstyle+xml"/>
  <Override PartName="/ppt/tags/tag464.xml" ContentType="application/vnd.openxmlformats-officedocument.presentationml.tags+xml"/>
  <Override PartName="/ppt/charts/chart273.xml" ContentType="application/vnd.openxmlformats-officedocument.drawingml.chart+xml"/>
  <Override PartName="/ppt/charts/style85.xml" ContentType="application/vnd.ms-office.chartstyle+xml"/>
  <Override PartName="/ppt/charts/colors85.xml" ContentType="application/vnd.ms-office.chartcolorstyle+xml"/>
  <Override PartName="/ppt/tags/tag465.xml" ContentType="application/vnd.openxmlformats-officedocument.presentationml.tags+xml"/>
  <Override PartName="/ppt/charts/chart274.xml" ContentType="application/vnd.openxmlformats-officedocument.drawingml.chart+xml"/>
  <Override PartName="/ppt/charts/style86.xml" ContentType="application/vnd.ms-office.chartstyle+xml"/>
  <Override PartName="/ppt/charts/colors86.xml" ContentType="application/vnd.ms-office.chartcolorstyle+xml"/>
  <Override PartName="/ppt/tags/tag466.xml" ContentType="application/vnd.openxmlformats-officedocument.presentationml.tags+xml"/>
  <Override PartName="/ppt/charts/chart275.xml" ContentType="application/vnd.openxmlformats-officedocument.drawingml.chart+xml"/>
  <Override PartName="/ppt/charts/style87.xml" ContentType="application/vnd.ms-office.chartstyle+xml"/>
  <Override PartName="/ppt/charts/colors87.xml" ContentType="application/vnd.ms-office.chartcolorstyle+xml"/>
  <Override PartName="/ppt/tags/tag467.xml" ContentType="application/vnd.openxmlformats-officedocument.presentationml.tags+xml"/>
  <Override PartName="/ppt/charts/chart276.xml" ContentType="application/vnd.openxmlformats-officedocument.drawingml.chart+xml"/>
  <Override PartName="/ppt/charts/style88.xml" ContentType="application/vnd.ms-office.chartstyle+xml"/>
  <Override PartName="/ppt/charts/colors88.xml" ContentType="application/vnd.ms-office.chartcolorstyle+xml"/>
  <Override PartName="/ppt/tags/tag468.xml" ContentType="application/vnd.openxmlformats-officedocument.presentationml.tags+xml"/>
  <Override PartName="/ppt/charts/chart277.xml" ContentType="application/vnd.openxmlformats-officedocument.drawingml.chart+xml"/>
  <Override PartName="/ppt/charts/style89.xml" ContentType="application/vnd.ms-office.chartstyle+xml"/>
  <Override PartName="/ppt/charts/colors89.xml" ContentType="application/vnd.ms-office.chartcolorstyle+xml"/>
  <Override PartName="/ppt/tags/tag469.xml" ContentType="application/vnd.openxmlformats-officedocument.presentationml.tags+xml"/>
  <Override PartName="/ppt/charts/chart278.xml" ContentType="application/vnd.openxmlformats-officedocument.drawingml.chart+xml"/>
  <Override PartName="/ppt/charts/style90.xml" ContentType="application/vnd.ms-office.chartstyle+xml"/>
  <Override PartName="/ppt/charts/colors90.xml" ContentType="application/vnd.ms-office.chartcolorstyle+xml"/>
  <Override PartName="/ppt/tags/tag470.xml" ContentType="application/vnd.openxmlformats-officedocument.presentationml.tags+xml"/>
  <Override PartName="/ppt/charts/chart279.xml" ContentType="application/vnd.openxmlformats-officedocument.drawingml.chart+xml"/>
  <Override PartName="/ppt/charts/style91.xml" ContentType="application/vnd.ms-office.chartstyle+xml"/>
  <Override PartName="/ppt/charts/colors91.xml" ContentType="application/vnd.ms-office.chartcolorstyle+xml"/>
  <Override PartName="/ppt/tags/tag471.xml" ContentType="application/vnd.openxmlformats-officedocument.presentationml.tags+xml"/>
  <Override PartName="/ppt/charts/chart280.xml" ContentType="application/vnd.openxmlformats-officedocument.drawingml.chart+xml"/>
  <Override PartName="/ppt/charts/style92.xml" ContentType="application/vnd.ms-office.chartstyle+xml"/>
  <Override PartName="/ppt/charts/colors92.xml" ContentType="application/vnd.ms-office.chartcolorstyle+xml"/>
  <Override PartName="/ppt/tags/tag472.xml" ContentType="application/vnd.openxmlformats-officedocument.presentationml.tags+xml"/>
  <Override PartName="/ppt/charts/chart281.xml" ContentType="application/vnd.openxmlformats-officedocument.drawingml.chart+xml"/>
  <Override PartName="/ppt/charts/style93.xml" ContentType="application/vnd.ms-office.chartstyle+xml"/>
  <Override PartName="/ppt/charts/colors93.xml" ContentType="application/vnd.ms-office.chartcolorstyle+xml"/>
  <Override PartName="/ppt/tags/tag473.xml" ContentType="application/vnd.openxmlformats-officedocument.presentationml.tags+xml"/>
  <Override PartName="/ppt/charts/chart282.xml" ContentType="application/vnd.openxmlformats-officedocument.drawingml.chart+xml"/>
  <Override PartName="/ppt/charts/style94.xml" ContentType="application/vnd.ms-office.chartstyle+xml"/>
  <Override PartName="/ppt/charts/colors94.xml" ContentType="application/vnd.ms-office.chartcolorstyle+xml"/>
  <Override PartName="/ppt/tags/tag474.xml" ContentType="application/vnd.openxmlformats-officedocument.presentationml.tags+xml"/>
  <Override PartName="/ppt/charts/chart283.xml" ContentType="application/vnd.openxmlformats-officedocument.drawingml.chart+xml"/>
  <Override PartName="/ppt/charts/style95.xml" ContentType="application/vnd.ms-office.chartstyle+xml"/>
  <Override PartName="/ppt/charts/colors95.xml" ContentType="application/vnd.ms-office.chartcolorstyle+xml"/>
  <Override PartName="/ppt/tags/tag475.xml" ContentType="application/vnd.openxmlformats-officedocument.presentationml.tags+xml"/>
  <Override PartName="/ppt/charts/chart284.xml" ContentType="application/vnd.openxmlformats-officedocument.drawingml.chart+xml"/>
  <Override PartName="/ppt/charts/style96.xml" ContentType="application/vnd.ms-office.chartstyle+xml"/>
  <Override PartName="/ppt/charts/colors96.xml" ContentType="application/vnd.ms-office.chartcolorstyle+xml"/>
  <Override PartName="/ppt/tags/tag476.xml" ContentType="application/vnd.openxmlformats-officedocument.presentationml.tags+xml"/>
  <Override PartName="/ppt/charts/chart285.xml" ContentType="application/vnd.openxmlformats-officedocument.drawingml.chart+xml"/>
  <Override PartName="/ppt/charts/style97.xml" ContentType="application/vnd.ms-office.chartstyle+xml"/>
  <Override PartName="/ppt/charts/colors97.xml" ContentType="application/vnd.ms-office.chartcolorstyle+xml"/>
  <Override PartName="/ppt/tags/tag477.xml" ContentType="application/vnd.openxmlformats-officedocument.presentationml.tags+xml"/>
  <Override PartName="/ppt/charts/chart286.xml" ContentType="application/vnd.openxmlformats-officedocument.drawingml.chart+xml"/>
  <Override PartName="/ppt/charts/style98.xml" ContentType="application/vnd.ms-office.chartstyle+xml"/>
  <Override PartName="/ppt/charts/colors98.xml" ContentType="application/vnd.ms-office.chartcolorstyle+xml"/>
  <Override PartName="/ppt/tags/tag478.xml" ContentType="application/vnd.openxmlformats-officedocument.presentationml.tags+xml"/>
  <Override PartName="/ppt/charts/chart287.xml" ContentType="application/vnd.openxmlformats-officedocument.drawingml.chart+xml"/>
  <Override PartName="/ppt/charts/style99.xml" ContentType="application/vnd.ms-office.chartstyle+xml"/>
  <Override PartName="/ppt/charts/colors99.xml" ContentType="application/vnd.ms-office.chartcolorstyle+xml"/>
  <Override PartName="/ppt/tags/tag479.xml" ContentType="application/vnd.openxmlformats-officedocument.presentationml.tags+xml"/>
  <Override PartName="/ppt/charts/chart288.xml" ContentType="application/vnd.openxmlformats-officedocument.drawingml.chart+xml"/>
  <Override PartName="/ppt/charts/style100.xml" ContentType="application/vnd.ms-office.chartstyle+xml"/>
  <Override PartName="/ppt/charts/colors100.xml" ContentType="application/vnd.ms-office.chartcolorstyle+xml"/>
  <Override PartName="/ppt/tags/tag480.xml" ContentType="application/vnd.openxmlformats-officedocument.presentationml.tags+xml"/>
  <Override PartName="/ppt/charts/chart289.xml" ContentType="application/vnd.openxmlformats-officedocument.drawingml.chart+xml"/>
  <Override PartName="/ppt/charts/style101.xml" ContentType="application/vnd.ms-office.chartstyle+xml"/>
  <Override PartName="/ppt/charts/colors101.xml" ContentType="application/vnd.ms-office.chartcolorstyle+xml"/>
  <Override PartName="/ppt/tags/tag481.xml" ContentType="application/vnd.openxmlformats-officedocument.presentationml.tags+xml"/>
  <Override PartName="/ppt/charts/chart290.xml" ContentType="application/vnd.openxmlformats-officedocument.drawingml.chart+xml"/>
  <Override PartName="/ppt/charts/style102.xml" ContentType="application/vnd.ms-office.chartstyle+xml"/>
  <Override PartName="/ppt/charts/colors102.xml" ContentType="application/vnd.ms-office.chartcolorstyle+xml"/>
  <Override PartName="/ppt/tags/tag482.xml" ContentType="application/vnd.openxmlformats-officedocument.presentationml.tags+xml"/>
  <Override PartName="/ppt/charts/chart291.xml" ContentType="application/vnd.openxmlformats-officedocument.drawingml.chart+xml"/>
  <Override PartName="/ppt/charts/style103.xml" ContentType="application/vnd.ms-office.chartstyle+xml"/>
  <Override PartName="/ppt/charts/colors103.xml" ContentType="application/vnd.ms-office.chartcolorstyle+xml"/>
  <Override PartName="/ppt/tags/tag483.xml" ContentType="application/vnd.openxmlformats-officedocument.presentationml.tags+xml"/>
  <Override PartName="/ppt/charts/chart292.xml" ContentType="application/vnd.openxmlformats-officedocument.drawingml.chart+xml"/>
  <Override PartName="/ppt/charts/style104.xml" ContentType="application/vnd.ms-office.chartstyle+xml"/>
  <Override PartName="/ppt/charts/colors104.xml" ContentType="application/vnd.ms-office.chartcolorstyle+xml"/>
  <Override PartName="/ppt/tags/tag484.xml" ContentType="application/vnd.openxmlformats-officedocument.presentationml.tags+xml"/>
  <Override PartName="/ppt/charts/chart293.xml" ContentType="application/vnd.openxmlformats-officedocument.drawingml.chart+xml"/>
  <Override PartName="/ppt/charts/style105.xml" ContentType="application/vnd.ms-office.chartstyle+xml"/>
  <Override PartName="/ppt/charts/colors105.xml" ContentType="application/vnd.ms-office.chartcolorstyle+xml"/>
  <Override PartName="/ppt/tags/tag485.xml" ContentType="application/vnd.openxmlformats-officedocument.presentationml.tags+xml"/>
  <Override PartName="/ppt/charts/chart294.xml" ContentType="application/vnd.openxmlformats-officedocument.drawingml.chart+xml"/>
  <Override PartName="/ppt/charts/style106.xml" ContentType="application/vnd.ms-office.chartstyle+xml"/>
  <Override PartName="/ppt/charts/colors106.xml" ContentType="application/vnd.ms-office.chartcolorstyle+xml"/>
  <Override PartName="/ppt/tags/tag486.xml" ContentType="application/vnd.openxmlformats-officedocument.presentationml.tags+xml"/>
  <Override PartName="/ppt/charts/chart295.xml" ContentType="application/vnd.openxmlformats-officedocument.drawingml.chart+xml"/>
  <Override PartName="/ppt/charts/style107.xml" ContentType="application/vnd.ms-office.chartstyle+xml"/>
  <Override PartName="/ppt/charts/colors107.xml" ContentType="application/vnd.ms-office.chartcolorstyle+xml"/>
  <Override PartName="/ppt/tags/tag487.xml" ContentType="application/vnd.openxmlformats-officedocument.presentationml.tags+xml"/>
  <Override PartName="/ppt/charts/chart296.xml" ContentType="application/vnd.openxmlformats-officedocument.drawingml.chart+xml"/>
  <Override PartName="/ppt/charts/style108.xml" ContentType="application/vnd.ms-office.chartstyle+xml"/>
  <Override PartName="/ppt/charts/colors108.xml" ContentType="application/vnd.ms-office.chartcolorstyle+xml"/>
  <Override PartName="/ppt/tags/tag488.xml" ContentType="application/vnd.openxmlformats-officedocument.presentationml.tags+xml"/>
  <Override PartName="/ppt/charts/chart297.xml" ContentType="application/vnd.openxmlformats-officedocument.drawingml.chart+xml"/>
  <Override PartName="/ppt/charts/style109.xml" ContentType="application/vnd.ms-office.chartstyle+xml"/>
  <Override PartName="/ppt/charts/colors109.xml" ContentType="application/vnd.ms-office.chartcolorstyle+xml"/>
  <Override PartName="/ppt/tags/tag489.xml" ContentType="application/vnd.openxmlformats-officedocument.presentationml.tags+xml"/>
  <Override PartName="/ppt/charts/chart298.xml" ContentType="application/vnd.openxmlformats-officedocument.drawingml.chart+xml"/>
  <Override PartName="/ppt/charts/style110.xml" ContentType="application/vnd.ms-office.chartstyle+xml"/>
  <Override PartName="/ppt/charts/colors110.xml" ContentType="application/vnd.ms-office.chartcolorstyle+xml"/>
  <Override PartName="/ppt/tags/tag490.xml" ContentType="application/vnd.openxmlformats-officedocument.presentationml.tags+xml"/>
  <Override PartName="/ppt/charts/chart299.xml" ContentType="application/vnd.openxmlformats-officedocument.drawingml.chart+xml"/>
  <Override PartName="/ppt/charts/style111.xml" ContentType="application/vnd.ms-office.chartstyle+xml"/>
  <Override PartName="/ppt/charts/colors111.xml" ContentType="application/vnd.ms-office.chartcolorstyle+xml"/>
  <Override PartName="/ppt/tags/tag491.xml" ContentType="application/vnd.openxmlformats-officedocument.presentationml.tags+xml"/>
  <Override PartName="/ppt/charts/chart300.xml" ContentType="application/vnd.openxmlformats-officedocument.drawingml.chart+xml"/>
  <Override PartName="/ppt/charts/style112.xml" ContentType="application/vnd.ms-office.chartstyle+xml"/>
  <Override PartName="/ppt/charts/colors112.xml" ContentType="application/vnd.ms-office.chartcolorstyle+xml"/>
  <Override PartName="/ppt/tags/tag492.xml" ContentType="application/vnd.openxmlformats-officedocument.presentationml.tags+xml"/>
  <Override PartName="/ppt/charts/chart301.xml" ContentType="application/vnd.openxmlformats-officedocument.drawingml.chart+xml"/>
  <Override PartName="/ppt/charts/style113.xml" ContentType="application/vnd.ms-office.chartstyle+xml"/>
  <Override PartName="/ppt/charts/colors113.xml" ContentType="application/vnd.ms-office.chartcolorstyle+xml"/>
  <Override PartName="/ppt/tags/tag493.xml" ContentType="application/vnd.openxmlformats-officedocument.presentationml.tags+xml"/>
  <Override PartName="/ppt/charts/chart302.xml" ContentType="application/vnd.openxmlformats-officedocument.drawingml.chart+xml"/>
  <Override PartName="/ppt/charts/style114.xml" ContentType="application/vnd.ms-office.chartstyle+xml"/>
  <Override PartName="/ppt/charts/colors114.xml" ContentType="application/vnd.ms-office.chartcolorstyle+xml"/>
  <Override PartName="/ppt/tags/tag494.xml" ContentType="application/vnd.openxmlformats-officedocument.presentationml.tags+xml"/>
  <Override PartName="/ppt/charts/chart303.xml" ContentType="application/vnd.openxmlformats-officedocument.drawingml.chart+xml"/>
  <Override PartName="/ppt/charts/style115.xml" ContentType="application/vnd.ms-office.chartstyle+xml"/>
  <Override PartName="/ppt/charts/colors115.xml" ContentType="application/vnd.ms-office.chartcolorstyle+xml"/>
  <Override PartName="/ppt/tags/tag495.xml" ContentType="application/vnd.openxmlformats-officedocument.presentationml.tags+xml"/>
  <Override PartName="/ppt/charts/chart304.xml" ContentType="application/vnd.openxmlformats-officedocument.drawingml.chart+xml"/>
  <Override PartName="/ppt/charts/style116.xml" ContentType="application/vnd.ms-office.chartstyle+xml"/>
  <Override PartName="/ppt/charts/colors116.xml" ContentType="application/vnd.ms-office.chartcolorstyle+xml"/>
  <Override PartName="/ppt/tags/tag496.xml" ContentType="application/vnd.openxmlformats-officedocument.presentationml.tags+xml"/>
  <Override PartName="/ppt/charts/chart305.xml" ContentType="application/vnd.openxmlformats-officedocument.drawingml.chart+xml"/>
  <Override PartName="/ppt/charts/style117.xml" ContentType="application/vnd.ms-office.chartstyle+xml"/>
  <Override PartName="/ppt/charts/colors117.xml" ContentType="application/vnd.ms-office.chartcolorstyle+xml"/>
  <Override PartName="/ppt/tags/tag497.xml" ContentType="application/vnd.openxmlformats-officedocument.presentationml.tags+xml"/>
  <Override PartName="/ppt/charts/chart306.xml" ContentType="application/vnd.openxmlformats-officedocument.drawingml.chart+xml"/>
  <Override PartName="/ppt/charts/style118.xml" ContentType="application/vnd.ms-office.chartstyle+xml"/>
  <Override PartName="/ppt/charts/colors118.xml" ContentType="application/vnd.ms-office.chartcolorstyle+xml"/>
  <Override PartName="/ppt/tags/tag498.xml" ContentType="application/vnd.openxmlformats-officedocument.presentationml.tags+xml"/>
  <Override PartName="/ppt/charts/chart307.xml" ContentType="application/vnd.openxmlformats-officedocument.drawingml.chart+xml"/>
  <Override PartName="/ppt/charts/style119.xml" ContentType="application/vnd.ms-office.chartstyle+xml"/>
  <Override PartName="/ppt/charts/colors119.xml" ContentType="application/vnd.ms-office.chartcolorstyle+xml"/>
  <Override PartName="/ppt/tags/tag499.xml" ContentType="application/vnd.openxmlformats-officedocument.presentationml.tags+xml"/>
  <Override PartName="/ppt/charts/chart308.xml" ContentType="application/vnd.openxmlformats-officedocument.drawingml.chart+xml"/>
  <Override PartName="/ppt/charts/style120.xml" ContentType="application/vnd.ms-office.chartstyle+xml"/>
  <Override PartName="/ppt/charts/colors120.xml" ContentType="application/vnd.ms-office.chartcolorstyle+xml"/>
  <Override PartName="/ppt/tags/tag500.xml" ContentType="application/vnd.openxmlformats-officedocument.presentationml.tags+xml"/>
  <Override PartName="/ppt/charts/chart309.xml" ContentType="application/vnd.openxmlformats-officedocument.drawingml.chart+xml"/>
  <Override PartName="/ppt/charts/style121.xml" ContentType="application/vnd.ms-office.chartstyle+xml"/>
  <Override PartName="/ppt/charts/colors121.xml" ContentType="application/vnd.ms-office.chartcolorstyle+xml"/>
  <Override PartName="/ppt/tags/tag501.xml" ContentType="application/vnd.openxmlformats-officedocument.presentationml.tags+xml"/>
  <Override PartName="/ppt/charts/chart310.xml" ContentType="application/vnd.openxmlformats-officedocument.drawingml.chart+xml"/>
  <Override PartName="/ppt/charts/style122.xml" ContentType="application/vnd.ms-office.chartstyle+xml"/>
  <Override PartName="/ppt/charts/colors122.xml" ContentType="application/vnd.ms-office.chartcolorstyle+xml"/>
  <Override PartName="/ppt/tags/tag502.xml" ContentType="application/vnd.openxmlformats-officedocument.presentationml.tags+xml"/>
  <Override PartName="/ppt/charts/chart311.xml" ContentType="application/vnd.openxmlformats-officedocument.drawingml.chart+xml"/>
  <Override PartName="/ppt/charts/style123.xml" ContentType="application/vnd.ms-office.chartstyle+xml"/>
  <Override PartName="/ppt/charts/colors123.xml" ContentType="application/vnd.ms-office.chartcolorstyle+xml"/>
  <Override PartName="/ppt/tags/tag503.xml" ContentType="application/vnd.openxmlformats-officedocument.presentationml.tags+xml"/>
  <Override PartName="/ppt/charts/chart312.xml" ContentType="application/vnd.openxmlformats-officedocument.drawingml.chart+xml"/>
  <Override PartName="/ppt/charts/style124.xml" ContentType="application/vnd.ms-office.chartstyle+xml"/>
  <Override PartName="/ppt/charts/colors124.xml" ContentType="application/vnd.ms-office.chartcolorstyle+xml"/>
  <Override PartName="/ppt/tags/tag504.xml" ContentType="application/vnd.openxmlformats-officedocument.presentationml.tags+xml"/>
  <Override PartName="/ppt/charts/chart313.xml" ContentType="application/vnd.openxmlformats-officedocument.drawingml.chart+xml"/>
  <Override PartName="/ppt/charts/style125.xml" ContentType="application/vnd.ms-office.chartstyle+xml"/>
  <Override PartName="/ppt/charts/colors125.xml" ContentType="application/vnd.ms-office.chartcolorstyle+xml"/>
  <Override PartName="/ppt/tags/tag505.xml" ContentType="application/vnd.openxmlformats-officedocument.presentationml.tags+xml"/>
  <Override PartName="/ppt/charts/chart314.xml" ContentType="application/vnd.openxmlformats-officedocument.drawingml.chart+xml"/>
  <Override PartName="/ppt/charts/style126.xml" ContentType="application/vnd.ms-office.chartstyle+xml"/>
  <Override PartName="/ppt/charts/colors126.xml" ContentType="application/vnd.ms-office.chartcolorstyle+xml"/>
  <Override PartName="/ppt/tags/tag506.xml" ContentType="application/vnd.openxmlformats-officedocument.presentationml.tags+xml"/>
  <Override PartName="/ppt/charts/chart315.xml" ContentType="application/vnd.openxmlformats-officedocument.drawingml.chart+xml"/>
  <Override PartName="/ppt/charts/style127.xml" ContentType="application/vnd.ms-office.chartstyle+xml"/>
  <Override PartName="/ppt/charts/colors127.xml" ContentType="application/vnd.ms-office.chartcolorstyle+xml"/>
  <Override PartName="/ppt/tags/tag507.xml" ContentType="application/vnd.openxmlformats-officedocument.presentationml.tags+xml"/>
  <Override PartName="/ppt/charts/chart316.xml" ContentType="application/vnd.openxmlformats-officedocument.drawingml.chart+xml"/>
  <Override PartName="/ppt/charts/style128.xml" ContentType="application/vnd.ms-office.chartstyle+xml"/>
  <Override PartName="/ppt/charts/colors128.xml" ContentType="application/vnd.ms-office.chartcolorstyle+xml"/>
  <Override PartName="/ppt/tags/tag508.xml" ContentType="application/vnd.openxmlformats-officedocument.presentationml.tags+xml"/>
  <Override PartName="/ppt/charts/chart317.xml" ContentType="application/vnd.openxmlformats-officedocument.drawingml.chart+xml"/>
  <Override PartName="/ppt/charts/style129.xml" ContentType="application/vnd.ms-office.chartstyle+xml"/>
  <Override PartName="/ppt/charts/colors129.xml" ContentType="application/vnd.ms-office.chartcolorstyle+xml"/>
  <Override PartName="/ppt/tags/tag509.xml" ContentType="application/vnd.openxmlformats-officedocument.presentationml.tags+xml"/>
  <Override PartName="/ppt/charts/chart318.xml" ContentType="application/vnd.openxmlformats-officedocument.drawingml.chart+xml"/>
  <Override PartName="/ppt/charts/style130.xml" ContentType="application/vnd.ms-office.chartstyle+xml"/>
  <Override PartName="/ppt/charts/colors130.xml" ContentType="application/vnd.ms-office.chartcolorstyle+xml"/>
  <Override PartName="/ppt/tags/tag510.xml" ContentType="application/vnd.openxmlformats-officedocument.presentationml.tags+xml"/>
  <Override PartName="/ppt/charts/chart319.xml" ContentType="application/vnd.openxmlformats-officedocument.drawingml.chart+xml"/>
  <Override PartName="/ppt/charts/style131.xml" ContentType="application/vnd.ms-office.chartstyle+xml"/>
  <Override PartName="/ppt/charts/colors131.xml" ContentType="application/vnd.ms-office.chartcolorstyle+xml"/>
  <Override PartName="/ppt/tags/tag511.xml" ContentType="application/vnd.openxmlformats-officedocument.presentationml.tags+xml"/>
  <Override PartName="/ppt/charts/chart320.xml" ContentType="application/vnd.openxmlformats-officedocument.drawingml.chart+xml"/>
  <Override PartName="/ppt/charts/style132.xml" ContentType="application/vnd.ms-office.chartstyle+xml"/>
  <Override PartName="/ppt/charts/colors132.xml" ContentType="application/vnd.ms-office.chartcolorstyle+xml"/>
  <Override PartName="/ppt/tags/tag512.xml" ContentType="application/vnd.openxmlformats-officedocument.presentationml.tags+xml"/>
  <Override PartName="/ppt/charts/chart321.xml" ContentType="application/vnd.openxmlformats-officedocument.drawingml.chart+xml"/>
  <Override PartName="/ppt/charts/style133.xml" ContentType="application/vnd.ms-office.chartstyle+xml"/>
  <Override PartName="/ppt/charts/colors133.xml" ContentType="application/vnd.ms-office.chartcolorstyle+xml"/>
  <Override PartName="/ppt/tags/tag513.xml" ContentType="application/vnd.openxmlformats-officedocument.presentationml.tags+xml"/>
  <Override PartName="/ppt/charts/chart322.xml" ContentType="application/vnd.openxmlformats-officedocument.drawingml.chart+xml"/>
  <Override PartName="/ppt/charts/style134.xml" ContentType="application/vnd.ms-office.chartstyle+xml"/>
  <Override PartName="/ppt/charts/colors134.xml" ContentType="application/vnd.ms-office.chartcolorstyle+xml"/>
  <Override PartName="/ppt/tags/tag514.xml" ContentType="application/vnd.openxmlformats-officedocument.presentationml.tags+xml"/>
  <Override PartName="/ppt/charts/chart323.xml" ContentType="application/vnd.openxmlformats-officedocument.drawingml.chart+xml"/>
  <Override PartName="/ppt/charts/style135.xml" ContentType="application/vnd.ms-office.chartstyle+xml"/>
  <Override PartName="/ppt/charts/colors135.xml" ContentType="application/vnd.ms-office.chartcolorstyle+xml"/>
  <Override PartName="/ppt/tags/tag515.xml" ContentType="application/vnd.openxmlformats-officedocument.presentationml.tags+xml"/>
  <Override PartName="/ppt/charts/chart324.xml" ContentType="application/vnd.openxmlformats-officedocument.drawingml.chart+xml"/>
  <Override PartName="/ppt/charts/style136.xml" ContentType="application/vnd.ms-office.chartstyle+xml"/>
  <Override PartName="/ppt/charts/colors136.xml" ContentType="application/vnd.ms-office.chartcolorstyle+xml"/>
  <Override PartName="/ppt/tags/tag516.xml" ContentType="application/vnd.openxmlformats-officedocument.presentationml.tags+xml"/>
  <Override PartName="/ppt/charts/chart325.xml" ContentType="application/vnd.openxmlformats-officedocument.drawingml.chart+xml"/>
  <Override PartName="/ppt/charts/style137.xml" ContentType="application/vnd.ms-office.chartstyle+xml"/>
  <Override PartName="/ppt/charts/colors137.xml" ContentType="application/vnd.ms-office.chartcolorstyle+xml"/>
  <Override PartName="/ppt/tags/tag517.xml" ContentType="application/vnd.openxmlformats-officedocument.presentationml.tags+xml"/>
  <Override PartName="/ppt/charts/chart326.xml" ContentType="application/vnd.openxmlformats-officedocument.drawingml.chart+xml"/>
  <Override PartName="/ppt/charts/style138.xml" ContentType="application/vnd.ms-office.chartstyle+xml"/>
  <Override PartName="/ppt/charts/colors138.xml" ContentType="application/vnd.ms-office.chartcolorstyle+xml"/>
  <Override PartName="/ppt/tags/tag518.xml" ContentType="application/vnd.openxmlformats-officedocument.presentationml.tags+xml"/>
  <Override PartName="/ppt/charts/chart327.xml" ContentType="application/vnd.openxmlformats-officedocument.drawingml.chart+xml"/>
  <Override PartName="/ppt/charts/style139.xml" ContentType="application/vnd.ms-office.chartstyle+xml"/>
  <Override PartName="/ppt/charts/colors139.xml" ContentType="application/vnd.ms-office.chartcolorstyle+xml"/>
  <Override PartName="/ppt/tags/tag519.xml" ContentType="application/vnd.openxmlformats-officedocument.presentationml.tags+xml"/>
  <Override PartName="/ppt/charts/chart328.xml" ContentType="application/vnd.openxmlformats-officedocument.drawingml.chart+xml"/>
  <Override PartName="/ppt/charts/style140.xml" ContentType="application/vnd.ms-office.chartstyle+xml"/>
  <Override PartName="/ppt/charts/colors140.xml" ContentType="application/vnd.ms-office.chartcolorstyle+xml"/>
  <Override PartName="/ppt/tags/tag520.xml" ContentType="application/vnd.openxmlformats-officedocument.presentationml.tags+xml"/>
  <Override PartName="/ppt/charts/chart329.xml" ContentType="application/vnd.openxmlformats-officedocument.drawingml.chart+xml"/>
  <Override PartName="/ppt/charts/style141.xml" ContentType="application/vnd.ms-office.chartstyle+xml"/>
  <Override PartName="/ppt/charts/colors141.xml" ContentType="application/vnd.ms-office.chartcolorstyle+xml"/>
  <Override PartName="/ppt/tags/tag521.xml" ContentType="application/vnd.openxmlformats-officedocument.presentationml.tags+xml"/>
  <Override PartName="/ppt/charts/chart330.xml" ContentType="application/vnd.openxmlformats-officedocument.drawingml.chart+xml"/>
  <Override PartName="/ppt/charts/style142.xml" ContentType="application/vnd.ms-office.chartstyle+xml"/>
  <Override PartName="/ppt/charts/colors142.xml" ContentType="application/vnd.ms-office.chartcolorstyle+xml"/>
  <Override PartName="/ppt/tags/tag522.xml" ContentType="application/vnd.openxmlformats-officedocument.presentationml.tags+xml"/>
  <Override PartName="/ppt/charts/chart331.xml" ContentType="application/vnd.openxmlformats-officedocument.drawingml.chart+xml"/>
  <Override PartName="/ppt/charts/style143.xml" ContentType="application/vnd.ms-office.chartstyle+xml"/>
  <Override PartName="/ppt/charts/colors143.xml" ContentType="application/vnd.ms-office.chartcolorstyle+xml"/>
  <Override PartName="/ppt/tags/tag523.xml" ContentType="application/vnd.openxmlformats-officedocument.presentationml.tags+xml"/>
  <Override PartName="/ppt/charts/chart332.xml" ContentType="application/vnd.openxmlformats-officedocument.drawingml.chart+xml"/>
  <Override PartName="/ppt/charts/style144.xml" ContentType="application/vnd.ms-office.chartstyle+xml"/>
  <Override PartName="/ppt/charts/colors144.xml" ContentType="application/vnd.ms-office.chartcolorstyle+xml"/>
  <Override PartName="/ppt/tags/tag524.xml" ContentType="application/vnd.openxmlformats-officedocument.presentationml.tags+xml"/>
  <Override PartName="/ppt/charts/chart333.xml" ContentType="application/vnd.openxmlformats-officedocument.drawingml.chart+xml"/>
  <Override PartName="/ppt/charts/style145.xml" ContentType="application/vnd.ms-office.chartstyle+xml"/>
  <Override PartName="/ppt/charts/colors145.xml" ContentType="application/vnd.ms-office.chartcolorstyle+xml"/>
  <Override PartName="/ppt/tags/tag525.xml" ContentType="application/vnd.openxmlformats-officedocument.presentationml.tags+xml"/>
  <Override PartName="/ppt/charts/chart334.xml" ContentType="application/vnd.openxmlformats-officedocument.drawingml.chart+xml"/>
  <Override PartName="/ppt/charts/style146.xml" ContentType="application/vnd.ms-office.chartstyle+xml"/>
  <Override PartName="/ppt/charts/colors146.xml" ContentType="application/vnd.ms-office.chartcolorstyle+xml"/>
  <Override PartName="/ppt/tags/tag526.xml" ContentType="application/vnd.openxmlformats-officedocument.presentationml.tags+xml"/>
  <Override PartName="/ppt/charts/chart335.xml" ContentType="application/vnd.openxmlformats-officedocument.drawingml.chart+xml"/>
  <Override PartName="/ppt/charts/style147.xml" ContentType="application/vnd.ms-office.chartstyle+xml"/>
  <Override PartName="/ppt/charts/colors147.xml" ContentType="application/vnd.ms-office.chartcolorstyle+xml"/>
  <Override PartName="/ppt/tags/tag527.xml" ContentType="application/vnd.openxmlformats-officedocument.presentationml.tags+xml"/>
  <Override PartName="/ppt/charts/chart336.xml" ContentType="application/vnd.openxmlformats-officedocument.drawingml.chart+xml"/>
  <Override PartName="/ppt/charts/style148.xml" ContentType="application/vnd.ms-office.chartstyle+xml"/>
  <Override PartName="/ppt/charts/colors148.xml" ContentType="application/vnd.ms-office.chartcolorstyle+xml"/>
  <Override PartName="/ppt/tags/tag528.xml" ContentType="application/vnd.openxmlformats-officedocument.presentationml.tags+xml"/>
  <Override PartName="/ppt/charts/chart337.xml" ContentType="application/vnd.openxmlformats-officedocument.drawingml.chart+xml"/>
  <Override PartName="/ppt/charts/style149.xml" ContentType="application/vnd.ms-office.chartstyle+xml"/>
  <Override PartName="/ppt/charts/colors149.xml" ContentType="application/vnd.ms-office.chartcolorstyle+xml"/>
  <Override PartName="/ppt/tags/tag529.xml" ContentType="application/vnd.openxmlformats-officedocument.presentationml.tags+xml"/>
  <Override PartName="/ppt/charts/chart338.xml" ContentType="application/vnd.openxmlformats-officedocument.drawingml.chart+xml"/>
  <Override PartName="/ppt/charts/style150.xml" ContentType="application/vnd.ms-office.chartstyle+xml"/>
  <Override PartName="/ppt/charts/colors150.xml" ContentType="application/vnd.ms-office.chartcolorstyle+xml"/>
  <Override PartName="/ppt/tags/tag530.xml" ContentType="application/vnd.openxmlformats-officedocument.presentationml.tags+xml"/>
  <Override PartName="/ppt/charts/chart339.xml" ContentType="application/vnd.openxmlformats-officedocument.drawingml.chart+xml"/>
  <Override PartName="/ppt/charts/style151.xml" ContentType="application/vnd.ms-office.chartstyle+xml"/>
  <Override PartName="/ppt/charts/colors151.xml" ContentType="application/vnd.ms-office.chartcolorstyle+xml"/>
  <Override PartName="/ppt/tags/tag531.xml" ContentType="application/vnd.openxmlformats-officedocument.presentationml.tags+xml"/>
  <Override PartName="/ppt/charts/chart340.xml" ContentType="application/vnd.openxmlformats-officedocument.drawingml.chart+xml"/>
  <Override PartName="/ppt/charts/style152.xml" ContentType="application/vnd.ms-office.chartstyle+xml"/>
  <Override PartName="/ppt/charts/colors152.xml" ContentType="application/vnd.ms-office.chartcolorstyle+xml"/>
  <Override PartName="/ppt/tags/tag532.xml" ContentType="application/vnd.openxmlformats-officedocument.presentationml.tags+xml"/>
  <Override PartName="/ppt/charts/chart341.xml" ContentType="application/vnd.openxmlformats-officedocument.drawingml.chart+xml"/>
  <Override PartName="/ppt/charts/style153.xml" ContentType="application/vnd.ms-office.chartstyle+xml"/>
  <Override PartName="/ppt/charts/colors153.xml" ContentType="application/vnd.ms-office.chartcolorstyle+xml"/>
  <Override PartName="/ppt/tags/tag533.xml" ContentType="application/vnd.openxmlformats-officedocument.presentationml.tags+xml"/>
  <Override PartName="/ppt/charts/chart342.xml" ContentType="application/vnd.openxmlformats-officedocument.drawingml.chart+xml"/>
  <Override PartName="/ppt/charts/style154.xml" ContentType="application/vnd.ms-office.chartstyle+xml"/>
  <Override PartName="/ppt/charts/colors154.xml" ContentType="application/vnd.ms-office.chartcolorstyle+xml"/>
  <Override PartName="/ppt/tags/tag534.xml" ContentType="application/vnd.openxmlformats-officedocument.presentationml.tags+xml"/>
  <Override PartName="/ppt/charts/chart343.xml" ContentType="application/vnd.openxmlformats-officedocument.drawingml.chart+xml"/>
  <Override PartName="/ppt/charts/style155.xml" ContentType="application/vnd.ms-office.chartstyle+xml"/>
  <Override PartName="/ppt/charts/colors155.xml" ContentType="application/vnd.ms-office.chartcolorstyle+xml"/>
  <Override PartName="/ppt/tags/tag535.xml" ContentType="application/vnd.openxmlformats-officedocument.presentationml.tags+xml"/>
  <Override PartName="/ppt/charts/chart344.xml" ContentType="application/vnd.openxmlformats-officedocument.drawingml.chart+xml"/>
  <Override PartName="/ppt/charts/style156.xml" ContentType="application/vnd.ms-office.chartstyle+xml"/>
  <Override PartName="/ppt/charts/colors156.xml" ContentType="application/vnd.ms-office.chartcolorstyle+xml"/>
  <Override PartName="/ppt/tags/tag536.xml" ContentType="application/vnd.openxmlformats-officedocument.presentationml.tags+xml"/>
  <Override PartName="/ppt/charts/chart345.xml" ContentType="application/vnd.openxmlformats-officedocument.drawingml.chart+xml"/>
  <Override PartName="/ppt/charts/style157.xml" ContentType="application/vnd.ms-office.chartstyle+xml"/>
  <Override PartName="/ppt/charts/colors157.xml" ContentType="application/vnd.ms-office.chartcolorstyle+xml"/>
  <Override PartName="/ppt/tags/tag537.xml" ContentType="application/vnd.openxmlformats-officedocument.presentationml.tags+xml"/>
  <Override PartName="/ppt/charts/chart346.xml" ContentType="application/vnd.openxmlformats-officedocument.drawingml.chart+xml"/>
  <Override PartName="/ppt/charts/style158.xml" ContentType="application/vnd.ms-office.chartstyle+xml"/>
  <Override PartName="/ppt/charts/colors158.xml" ContentType="application/vnd.ms-office.chartcolorstyle+xml"/>
  <Override PartName="/ppt/tags/tag538.xml" ContentType="application/vnd.openxmlformats-officedocument.presentationml.tags+xml"/>
  <Override PartName="/ppt/charts/chart347.xml" ContentType="application/vnd.openxmlformats-officedocument.drawingml.chart+xml"/>
  <Override PartName="/ppt/charts/style159.xml" ContentType="application/vnd.ms-office.chartstyle+xml"/>
  <Override PartName="/ppt/charts/colors159.xml" ContentType="application/vnd.ms-office.chartcolorstyle+xml"/>
  <Override PartName="/ppt/tags/tag539.xml" ContentType="application/vnd.openxmlformats-officedocument.presentationml.tags+xml"/>
  <Override PartName="/ppt/charts/chart348.xml" ContentType="application/vnd.openxmlformats-officedocument.drawingml.chart+xml"/>
  <Override PartName="/ppt/charts/style160.xml" ContentType="application/vnd.ms-office.chartstyle+xml"/>
  <Override PartName="/ppt/charts/colors160.xml" ContentType="application/vnd.ms-office.chartcolorstyle+xml"/>
  <Override PartName="/ppt/tags/tag540.xml" ContentType="application/vnd.openxmlformats-officedocument.presentationml.tags+xml"/>
  <Override PartName="/ppt/charts/chart349.xml" ContentType="application/vnd.openxmlformats-officedocument.drawingml.chart+xml"/>
  <Override PartName="/ppt/charts/style161.xml" ContentType="application/vnd.ms-office.chartstyle+xml"/>
  <Override PartName="/ppt/charts/colors161.xml" ContentType="application/vnd.ms-office.chartcolorstyle+xml"/>
  <Override PartName="/ppt/tags/tag541.xml" ContentType="application/vnd.openxmlformats-officedocument.presentationml.tags+xml"/>
  <Override PartName="/ppt/charts/chart350.xml" ContentType="application/vnd.openxmlformats-officedocument.drawingml.chart+xml"/>
  <Override PartName="/ppt/charts/style162.xml" ContentType="application/vnd.ms-office.chartstyle+xml"/>
  <Override PartName="/ppt/charts/colors162.xml" ContentType="application/vnd.ms-office.chartcolorstyle+xml"/>
  <Override PartName="/ppt/tags/tag542.xml" ContentType="application/vnd.openxmlformats-officedocument.presentationml.tags+xml"/>
  <Override PartName="/ppt/charts/chart351.xml" ContentType="application/vnd.openxmlformats-officedocument.drawingml.chart+xml"/>
  <Override PartName="/ppt/charts/style163.xml" ContentType="application/vnd.ms-office.chartstyle+xml"/>
  <Override PartName="/ppt/charts/colors163.xml" ContentType="application/vnd.ms-office.chartcolorstyle+xml"/>
  <Override PartName="/ppt/tags/tag543.xml" ContentType="application/vnd.openxmlformats-officedocument.presentationml.tags+xml"/>
  <Override PartName="/ppt/charts/chart352.xml" ContentType="application/vnd.openxmlformats-officedocument.drawingml.chart+xml"/>
  <Override PartName="/ppt/charts/style164.xml" ContentType="application/vnd.ms-office.chartstyle+xml"/>
  <Override PartName="/ppt/charts/colors164.xml" ContentType="application/vnd.ms-office.chartcolorstyle+xml"/>
  <Override PartName="/ppt/tags/tag544.xml" ContentType="application/vnd.openxmlformats-officedocument.presentationml.tags+xml"/>
  <Override PartName="/ppt/charts/chart353.xml" ContentType="application/vnd.openxmlformats-officedocument.drawingml.chart+xml"/>
  <Override PartName="/ppt/charts/style165.xml" ContentType="application/vnd.ms-office.chartstyle+xml"/>
  <Override PartName="/ppt/charts/colors165.xml" ContentType="application/vnd.ms-office.chartcolorstyle+xml"/>
  <Override PartName="/ppt/tags/tag545.xml" ContentType="application/vnd.openxmlformats-officedocument.presentationml.tags+xml"/>
  <Override PartName="/ppt/charts/chart354.xml" ContentType="application/vnd.openxmlformats-officedocument.drawingml.chart+xml"/>
  <Override PartName="/ppt/charts/style166.xml" ContentType="application/vnd.ms-office.chartstyle+xml"/>
  <Override PartName="/ppt/charts/colors166.xml" ContentType="application/vnd.ms-office.chartcolorstyle+xml"/>
  <Override PartName="/ppt/tags/tag546.xml" ContentType="application/vnd.openxmlformats-officedocument.presentationml.tags+xml"/>
  <Override PartName="/ppt/charts/chart355.xml" ContentType="application/vnd.openxmlformats-officedocument.drawingml.chart+xml"/>
  <Override PartName="/ppt/charts/style167.xml" ContentType="application/vnd.ms-office.chartstyle+xml"/>
  <Override PartName="/ppt/charts/colors167.xml" ContentType="application/vnd.ms-office.chartcolorstyle+xml"/>
  <Override PartName="/ppt/tags/tag547.xml" ContentType="application/vnd.openxmlformats-officedocument.presentationml.tags+xml"/>
  <Override PartName="/ppt/charts/chart356.xml" ContentType="application/vnd.openxmlformats-officedocument.drawingml.chart+xml"/>
  <Override PartName="/ppt/charts/style168.xml" ContentType="application/vnd.ms-office.chartstyle+xml"/>
  <Override PartName="/ppt/charts/colors168.xml" ContentType="application/vnd.ms-office.chartcolorstyle+xml"/>
  <Override PartName="/ppt/tags/tag548.xml" ContentType="application/vnd.openxmlformats-officedocument.presentationml.tags+xml"/>
  <Override PartName="/ppt/charts/chart357.xml" ContentType="application/vnd.openxmlformats-officedocument.drawingml.chart+xml"/>
  <Override PartName="/ppt/charts/style169.xml" ContentType="application/vnd.ms-office.chartstyle+xml"/>
  <Override PartName="/ppt/charts/colors169.xml" ContentType="application/vnd.ms-office.chartcolorstyle+xml"/>
  <Override PartName="/ppt/tags/tag549.xml" ContentType="application/vnd.openxmlformats-officedocument.presentationml.tags+xml"/>
  <Override PartName="/ppt/charts/chart358.xml" ContentType="application/vnd.openxmlformats-officedocument.drawingml.chart+xml"/>
  <Override PartName="/ppt/charts/style170.xml" ContentType="application/vnd.ms-office.chartstyle+xml"/>
  <Override PartName="/ppt/charts/colors170.xml" ContentType="application/vnd.ms-office.chartcolorstyle+xml"/>
  <Override PartName="/ppt/tags/tag550.xml" ContentType="application/vnd.openxmlformats-officedocument.presentationml.tags+xml"/>
  <Override PartName="/ppt/charts/chart359.xml" ContentType="application/vnd.openxmlformats-officedocument.drawingml.chart+xml"/>
  <Override PartName="/ppt/charts/style171.xml" ContentType="application/vnd.ms-office.chartstyle+xml"/>
  <Override PartName="/ppt/charts/colors171.xml" ContentType="application/vnd.ms-office.chartcolorstyle+xml"/>
  <Override PartName="/ppt/tags/tag551.xml" ContentType="application/vnd.openxmlformats-officedocument.presentationml.tags+xml"/>
  <Override PartName="/ppt/charts/chart360.xml" ContentType="application/vnd.openxmlformats-officedocument.drawingml.chart+xml"/>
  <Override PartName="/ppt/charts/style172.xml" ContentType="application/vnd.ms-office.chartstyle+xml"/>
  <Override PartName="/ppt/charts/colors172.xml" ContentType="application/vnd.ms-office.chartcolorstyle+xml"/>
  <Override PartName="/ppt/tags/tag552.xml" ContentType="application/vnd.openxmlformats-officedocument.presentationml.tags+xml"/>
  <Override PartName="/ppt/charts/chart361.xml" ContentType="application/vnd.openxmlformats-officedocument.drawingml.chart+xml"/>
  <Override PartName="/ppt/charts/style173.xml" ContentType="application/vnd.ms-office.chartstyle+xml"/>
  <Override PartName="/ppt/charts/colors173.xml" ContentType="application/vnd.ms-office.chartcolorstyle+xml"/>
  <Override PartName="/ppt/tags/tag553.xml" ContentType="application/vnd.openxmlformats-officedocument.presentationml.tags+xml"/>
  <Override PartName="/ppt/charts/chart362.xml" ContentType="application/vnd.openxmlformats-officedocument.drawingml.chart+xml"/>
  <Override PartName="/ppt/charts/style174.xml" ContentType="application/vnd.ms-office.chartstyle+xml"/>
  <Override PartName="/ppt/charts/colors174.xml" ContentType="application/vnd.ms-office.chartcolorstyle+xml"/>
  <Override PartName="/ppt/tags/tag554.xml" ContentType="application/vnd.openxmlformats-officedocument.presentationml.tags+xml"/>
  <Override PartName="/ppt/charts/chart363.xml" ContentType="application/vnd.openxmlformats-officedocument.drawingml.chart+xml"/>
  <Override PartName="/ppt/charts/style175.xml" ContentType="application/vnd.ms-office.chartstyle+xml"/>
  <Override PartName="/ppt/charts/colors175.xml" ContentType="application/vnd.ms-office.chartcolorstyle+xml"/>
  <Override PartName="/ppt/tags/tag555.xml" ContentType="application/vnd.openxmlformats-officedocument.presentationml.tags+xml"/>
  <Override PartName="/ppt/charts/chart364.xml" ContentType="application/vnd.openxmlformats-officedocument.drawingml.chart+xml"/>
  <Override PartName="/ppt/charts/style176.xml" ContentType="application/vnd.ms-office.chartstyle+xml"/>
  <Override PartName="/ppt/charts/colors176.xml" ContentType="application/vnd.ms-office.chartcolorstyle+xml"/>
  <Override PartName="/ppt/tags/tag556.xml" ContentType="application/vnd.openxmlformats-officedocument.presentationml.tags+xml"/>
  <Override PartName="/ppt/charts/chart365.xml" ContentType="application/vnd.openxmlformats-officedocument.drawingml.chart+xml"/>
  <Override PartName="/ppt/charts/style177.xml" ContentType="application/vnd.ms-office.chartstyle+xml"/>
  <Override PartName="/ppt/charts/colors177.xml" ContentType="application/vnd.ms-office.chartcolorstyle+xml"/>
  <Override PartName="/ppt/tags/tag557.xml" ContentType="application/vnd.openxmlformats-officedocument.presentationml.tags+xml"/>
  <Override PartName="/ppt/charts/chart366.xml" ContentType="application/vnd.openxmlformats-officedocument.drawingml.chart+xml"/>
  <Override PartName="/ppt/charts/style178.xml" ContentType="application/vnd.ms-office.chartstyle+xml"/>
  <Override PartName="/ppt/charts/colors178.xml" ContentType="application/vnd.ms-office.chartcolorstyle+xml"/>
  <Override PartName="/ppt/tags/tag558.xml" ContentType="application/vnd.openxmlformats-officedocument.presentationml.tags+xml"/>
  <Override PartName="/ppt/charts/chart367.xml" ContentType="application/vnd.openxmlformats-officedocument.drawingml.chart+xml"/>
  <Override PartName="/ppt/charts/style179.xml" ContentType="application/vnd.ms-office.chartstyle+xml"/>
  <Override PartName="/ppt/charts/colors179.xml" ContentType="application/vnd.ms-office.chartcolorstyle+xml"/>
  <Override PartName="/ppt/tags/tag559.xml" ContentType="application/vnd.openxmlformats-officedocument.presentationml.tags+xml"/>
  <Override PartName="/ppt/charts/chart368.xml" ContentType="application/vnd.openxmlformats-officedocument.drawingml.chart+xml"/>
  <Override PartName="/ppt/charts/style180.xml" ContentType="application/vnd.ms-office.chartstyle+xml"/>
  <Override PartName="/ppt/charts/colors180.xml" ContentType="application/vnd.ms-office.chartcolorstyle+xml"/>
  <Override PartName="/ppt/tags/tag560.xml" ContentType="application/vnd.openxmlformats-officedocument.presentationml.tags+xml"/>
  <Override PartName="/ppt/charts/chart369.xml" ContentType="application/vnd.openxmlformats-officedocument.drawingml.chart+xml"/>
  <Override PartName="/ppt/charts/style181.xml" ContentType="application/vnd.ms-office.chartstyle+xml"/>
  <Override PartName="/ppt/charts/colors181.xml" ContentType="application/vnd.ms-office.chartcolorstyle+xml"/>
  <Override PartName="/ppt/tags/tag561.xml" ContentType="application/vnd.openxmlformats-officedocument.presentationml.tags+xml"/>
  <Override PartName="/ppt/charts/chart370.xml" ContentType="application/vnd.openxmlformats-officedocument.drawingml.chart+xml"/>
  <Override PartName="/ppt/charts/style182.xml" ContentType="application/vnd.ms-office.chartstyle+xml"/>
  <Override PartName="/ppt/charts/colors182.xml" ContentType="application/vnd.ms-office.chartcolorstyle+xml"/>
  <Override PartName="/ppt/tags/tag562.xml" ContentType="application/vnd.openxmlformats-officedocument.presentationml.tags+xml"/>
  <Override PartName="/ppt/charts/chart371.xml" ContentType="application/vnd.openxmlformats-officedocument.drawingml.chart+xml"/>
  <Override PartName="/ppt/charts/style183.xml" ContentType="application/vnd.ms-office.chartstyle+xml"/>
  <Override PartName="/ppt/charts/colors183.xml" ContentType="application/vnd.ms-office.chartcolorstyle+xml"/>
  <Override PartName="/ppt/tags/tag563.xml" ContentType="application/vnd.openxmlformats-officedocument.presentationml.tags+xml"/>
  <Override PartName="/ppt/charts/chart372.xml" ContentType="application/vnd.openxmlformats-officedocument.drawingml.chart+xml"/>
  <Override PartName="/ppt/charts/style184.xml" ContentType="application/vnd.ms-office.chartstyle+xml"/>
  <Override PartName="/ppt/charts/colors184.xml" ContentType="application/vnd.ms-office.chartcolorstyle+xml"/>
  <Override PartName="/ppt/tags/tag564.xml" ContentType="application/vnd.openxmlformats-officedocument.presentationml.tags+xml"/>
  <Override PartName="/ppt/charts/chart373.xml" ContentType="application/vnd.openxmlformats-officedocument.drawingml.chart+xml"/>
  <Override PartName="/ppt/charts/style185.xml" ContentType="application/vnd.ms-office.chartstyle+xml"/>
  <Override PartName="/ppt/charts/colors185.xml" ContentType="application/vnd.ms-office.chartcolorstyle+xml"/>
  <Override PartName="/ppt/tags/tag565.xml" ContentType="application/vnd.openxmlformats-officedocument.presentationml.tags+xml"/>
  <Override PartName="/ppt/charts/chart374.xml" ContentType="application/vnd.openxmlformats-officedocument.drawingml.chart+xml"/>
  <Override PartName="/ppt/charts/style186.xml" ContentType="application/vnd.ms-office.chartstyle+xml"/>
  <Override PartName="/ppt/charts/colors186.xml" ContentType="application/vnd.ms-office.chartcolorstyle+xml"/>
  <Override PartName="/ppt/tags/tag566.xml" ContentType="application/vnd.openxmlformats-officedocument.presentationml.tags+xml"/>
  <Override PartName="/ppt/charts/chart375.xml" ContentType="application/vnd.openxmlformats-officedocument.drawingml.chart+xml"/>
  <Override PartName="/ppt/charts/style187.xml" ContentType="application/vnd.ms-office.chartstyle+xml"/>
  <Override PartName="/ppt/charts/colors187.xml" ContentType="application/vnd.ms-office.chartcolorstyle+xml"/>
  <Override PartName="/ppt/tags/tag567.xml" ContentType="application/vnd.openxmlformats-officedocument.presentationml.tags+xml"/>
  <Override PartName="/ppt/charts/chart376.xml" ContentType="application/vnd.openxmlformats-officedocument.drawingml.chart+xml"/>
  <Override PartName="/ppt/charts/style188.xml" ContentType="application/vnd.ms-office.chartstyle+xml"/>
  <Override PartName="/ppt/charts/colors188.xml" ContentType="application/vnd.ms-office.chartcolorstyle+xml"/>
  <Override PartName="/ppt/tags/tag568.xml" ContentType="application/vnd.openxmlformats-officedocument.presentationml.tags+xml"/>
  <Override PartName="/ppt/charts/chart377.xml" ContentType="application/vnd.openxmlformats-officedocument.drawingml.chart+xml"/>
  <Override PartName="/ppt/charts/style189.xml" ContentType="application/vnd.ms-office.chartstyle+xml"/>
  <Override PartName="/ppt/charts/colors189.xml" ContentType="application/vnd.ms-office.chartcolorstyle+xml"/>
  <Override PartName="/ppt/tags/tag569.xml" ContentType="application/vnd.openxmlformats-officedocument.presentationml.tags+xml"/>
  <Override PartName="/ppt/charts/chart378.xml" ContentType="application/vnd.openxmlformats-officedocument.drawingml.chart+xml"/>
  <Override PartName="/ppt/charts/style190.xml" ContentType="application/vnd.ms-office.chartstyle+xml"/>
  <Override PartName="/ppt/charts/colors190.xml" ContentType="application/vnd.ms-office.chartcolorstyle+xml"/>
  <Override PartName="/ppt/tags/tag570.xml" ContentType="application/vnd.openxmlformats-officedocument.presentationml.tags+xml"/>
  <Override PartName="/ppt/charts/chart379.xml" ContentType="application/vnd.openxmlformats-officedocument.drawingml.chart+xml"/>
  <Override PartName="/ppt/charts/style191.xml" ContentType="application/vnd.ms-office.chartstyle+xml"/>
  <Override PartName="/ppt/charts/colors191.xml" ContentType="application/vnd.ms-office.chartcolorstyle+xml"/>
  <Override PartName="/ppt/tags/tag571.xml" ContentType="application/vnd.openxmlformats-officedocument.presentationml.tags+xml"/>
  <Override PartName="/ppt/charts/chart380.xml" ContentType="application/vnd.openxmlformats-officedocument.drawingml.chart+xml"/>
  <Override PartName="/ppt/charts/style192.xml" ContentType="application/vnd.ms-office.chartstyle+xml"/>
  <Override PartName="/ppt/charts/colors192.xml" ContentType="application/vnd.ms-office.chartcolorstyle+xml"/>
  <Override PartName="/ppt/tags/tag572.xml" ContentType="application/vnd.openxmlformats-officedocument.presentationml.tags+xml"/>
  <Override PartName="/ppt/charts/chart381.xml" ContentType="application/vnd.openxmlformats-officedocument.drawingml.chart+xml"/>
  <Override PartName="/ppt/charts/style193.xml" ContentType="application/vnd.ms-office.chartstyle+xml"/>
  <Override PartName="/ppt/charts/colors193.xml" ContentType="application/vnd.ms-office.chartcolorstyle+xml"/>
  <Override PartName="/ppt/tags/tag573.xml" ContentType="application/vnd.openxmlformats-officedocument.presentationml.tags+xml"/>
  <Override PartName="/ppt/charts/chart382.xml" ContentType="application/vnd.openxmlformats-officedocument.drawingml.chart+xml"/>
  <Override PartName="/ppt/charts/style194.xml" ContentType="application/vnd.ms-office.chartstyle+xml"/>
  <Override PartName="/ppt/charts/colors194.xml" ContentType="application/vnd.ms-office.chartcolorstyle+xml"/>
  <Override PartName="/ppt/tags/tag574.xml" ContentType="application/vnd.openxmlformats-officedocument.presentationml.tags+xml"/>
  <Override PartName="/ppt/charts/chart383.xml" ContentType="application/vnd.openxmlformats-officedocument.drawingml.chart+xml"/>
  <Override PartName="/ppt/charts/style195.xml" ContentType="application/vnd.ms-office.chartstyle+xml"/>
  <Override PartName="/ppt/charts/colors195.xml" ContentType="application/vnd.ms-office.chartcolorstyle+xml"/>
  <Override PartName="/ppt/tags/tag575.xml" ContentType="application/vnd.openxmlformats-officedocument.presentationml.tags+xml"/>
  <Override PartName="/ppt/charts/chart384.xml" ContentType="application/vnd.openxmlformats-officedocument.drawingml.chart+xml"/>
  <Override PartName="/ppt/charts/style196.xml" ContentType="application/vnd.ms-office.chartstyle+xml"/>
  <Override PartName="/ppt/charts/colors196.xml" ContentType="application/vnd.ms-office.chartcolorstyle+xml"/>
  <Override PartName="/ppt/tags/tag576.xml" ContentType="application/vnd.openxmlformats-officedocument.presentationml.tags+xml"/>
  <Override PartName="/ppt/charts/chart385.xml" ContentType="application/vnd.openxmlformats-officedocument.drawingml.chart+xml"/>
  <Override PartName="/ppt/charts/style197.xml" ContentType="application/vnd.ms-office.chartstyle+xml"/>
  <Override PartName="/ppt/charts/colors197.xml" ContentType="application/vnd.ms-office.chartcolorstyle+xml"/>
  <Override PartName="/ppt/tags/tag577.xml" ContentType="application/vnd.openxmlformats-officedocument.presentationml.tags+xml"/>
  <Override PartName="/ppt/charts/chart386.xml" ContentType="application/vnd.openxmlformats-officedocument.drawingml.chart+xml"/>
  <Override PartName="/ppt/charts/style198.xml" ContentType="application/vnd.ms-office.chartstyle+xml"/>
  <Override PartName="/ppt/charts/colors198.xml" ContentType="application/vnd.ms-office.chartcolorstyle+xml"/>
  <Override PartName="/ppt/tags/tag578.xml" ContentType="application/vnd.openxmlformats-officedocument.presentationml.tags+xml"/>
  <Override PartName="/ppt/charts/chart387.xml" ContentType="application/vnd.openxmlformats-officedocument.drawingml.chart+xml"/>
  <Override PartName="/ppt/charts/style199.xml" ContentType="application/vnd.ms-office.chartstyle+xml"/>
  <Override PartName="/ppt/charts/colors199.xml" ContentType="application/vnd.ms-office.chartcolorstyle+xml"/>
  <Override PartName="/ppt/tags/tag579.xml" ContentType="application/vnd.openxmlformats-officedocument.presentationml.tags+xml"/>
  <Override PartName="/ppt/charts/chart388.xml" ContentType="application/vnd.openxmlformats-officedocument.drawingml.chart+xml"/>
  <Override PartName="/ppt/charts/style200.xml" ContentType="application/vnd.ms-office.chartstyle+xml"/>
  <Override PartName="/ppt/charts/colors200.xml" ContentType="application/vnd.ms-office.chartcolorstyle+xml"/>
  <Override PartName="/ppt/tags/tag580.xml" ContentType="application/vnd.openxmlformats-officedocument.presentationml.tags+xml"/>
  <Override PartName="/ppt/charts/chart389.xml" ContentType="application/vnd.openxmlformats-officedocument.drawingml.chart+xml"/>
  <Override PartName="/ppt/charts/style201.xml" ContentType="application/vnd.ms-office.chartstyle+xml"/>
  <Override PartName="/ppt/charts/colors201.xml" ContentType="application/vnd.ms-office.chartcolorstyle+xml"/>
  <Override PartName="/ppt/tags/tag581.xml" ContentType="application/vnd.openxmlformats-officedocument.presentationml.tags+xml"/>
  <Override PartName="/ppt/charts/chart390.xml" ContentType="application/vnd.openxmlformats-officedocument.drawingml.chart+xml"/>
  <Override PartName="/ppt/charts/style202.xml" ContentType="application/vnd.ms-office.chartstyle+xml"/>
  <Override PartName="/ppt/charts/colors202.xml" ContentType="application/vnd.ms-office.chartcolorstyle+xml"/>
  <Override PartName="/ppt/tags/tag582.xml" ContentType="application/vnd.openxmlformats-officedocument.presentationml.tags+xml"/>
  <Override PartName="/ppt/charts/chart391.xml" ContentType="application/vnd.openxmlformats-officedocument.drawingml.chart+xml"/>
  <Override PartName="/ppt/charts/style203.xml" ContentType="application/vnd.ms-office.chartstyle+xml"/>
  <Override PartName="/ppt/charts/colors203.xml" ContentType="application/vnd.ms-office.chartcolorstyle+xml"/>
  <Override PartName="/ppt/tags/tag583.xml" ContentType="application/vnd.openxmlformats-officedocument.presentationml.tags+xml"/>
  <Override PartName="/ppt/charts/chart392.xml" ContentType="application/vnd.openxmlformats-officedocument.drawingml.chart+xml"/>
  <Override PartName="/ppt/charts/style204.xml" ContentType="application/vnd.ms-office.chartstyle+xml"/>
  <Override PartName="/ppt/charts/colors204.xml" ContentType="application/vnd.ms-office.chartcolorstyle+xml"/>
  <Override PartName="/ppt/tags/tag584.xml" ContentType="application/vnd.openxmlformats-officedocument.presentationml.tags+xml"/>
  <Override PartName="/ppt/charts/chart393.xml" ContentType="application/vnd.openxmlformats-officedocument.drawingml.chart+xml"/>
  <Override PartName="/ppt/charts/style205.xml" ContentType="application/vnd.ms-office.chartstyle+xml"/>
  <Override PartName="/ppt/charts/colors205.xml" ContentType="application/vnd.ms-office.chartcolorstyle+xml"/>
  <Override PartName="/ppt/tags/tag585.xml" ContentType="application/vnd.openxmlformats-officedocument.presentationml.tags+xml"/>
  <Override PartName="/ppt/charts/chart394.xml" ContentType="application/vnd.openxmlformats-officedocument.drawingml.chart+xml"/>
  <Override PartName="/ppt/charts/style206.xml" ContentType="application/vnd.ms-office.chartstyle+xml"/>
  <Override PartName="/ppt/charts/colors206.xml" ContentType="application/vnd.ms-office.chartcolorstyle+xml"/>
  <Override PartName="/ppt/tags/tag586.xml" ContentType="application/vnd.openxmlformats-officedocument.presentationml.tags+xml"/>
  <Override PartName="/ppt/charts/chart395.xml" ContentType="application/vnd.openxmlformats-officedocument.drawingml.chart+xml"/>
  <Override PartName="/ppt/charts/style207.xml" ContentType="application/vnd.ms-office.chartstyle+xml"/>
  <Override PartName="/ppt/charts/colors207.xml" ContentType="application/vnd.ms-office.chartcolorstyle+xml"/>
  <Override PartName="/ppt/tags/tag587.xml" ContentType="application/vnd.openxmlformats-officedocument.presentationml.tags+xml"/>
  <Override PartName="/ppt/charts/chart396.xml" ContentType="application/vnd.openxmlformats-officedocument.drawingml.chart+xml"/>
  <Override PartName="/ppt/charts/style208.xml" ContentType="application/vnd.ms-office.chartstyle+xml"/>
  <Override PartName="/ppt/charts/colors208.xml" ContentType="application/vnd.ms-office.chartcolorstyle+xml"/>
  <Override PartName="/ppt/tags/tag588.xml" ContentType="application/vnd.openxmlformats-officedocument.presentationml.tags+xml"/>
  <Override PartName="/ppt/charts/chart397.xml" ContentType="application/vnd.openxmlformats-officedocument.drawingml.chart+xml"/>
  <Override PartName="/ppt/charts/style209.xml" ContentType="application/vnd.ms-office.chartstyle+xml"/>
  <Override PartName="/ppt/charts/colors209.xml" ContentType="application/vnd.ms-office.chartcolorstyle+xml"/>
  <Override PartName="/ppt/tags/tag589.xml" ContentType="application/vnd.openxmlformats-officedocument.presentationml.tags+xml"/>
  <Override PartName="/ppt/charts/chart398.xml" ContentType="application/vnd.openxmlformats-officedocument.drawingml.chart+xml"/>
  <Override PartName="/ppt/charts/style210.xml" ContentType="application/vnd.ms-office.chartstyle+xml"/>
  <Override PartName="/ppt/charts/colors210.xml" ContentType="application/vnd.ms-office.chartcolorstyle+xml"/>
  <Override PartName="/ppt/tags/tag590.xml" ContentType="application/vnd.openxmlformats-officedocument.presentationml.tags+xml"/>
  <Override PartName="/ppt/charts/chart399.xml" ContentType="application/vnd.openxmlformats-officedocument.drawingml.chart+xml"/>
  <Override PartName="/ppt/charts/style211.xml" ContentType="application/vnd.ms-office.chartstyle+xml"/>
  <Override PartName="/ppt/charts/colors211.xml" ContentType="application/vnd.ms-office.chartcolorstyle+xml"/>
  <Override PartName="/ppt/tags/tag591.xml" ContentType="application/vnd.openxmlformats-officedocument.presentationml.tags+xml"/>
  <Override PartName="/ppt/charts/chart400.xml" ContentType="application/vnd.openxmlformats-officedocument.drawingml.chart+xml"/>
  <Override PartName="/ppt/charts/style212.xml" ContentType="application/vnd.ms-office.chartstyle+xml"/>
  <Override PartName="/ppt/charts/colors212.xml" ContentType="application/vnd.ms-office.chartcolorstyle+xml"/>
  <Override PartName="/ppt/tags/tag592.xml" ContentType="application/vnd.openxmlformats-officedocument.presentationml.tags+xml"/>
  <Override PartName="/ppt/charts/chart401.xml" ContentType="application/vnd.openxmlformats-officedocument.drawingml.chart+xml"/>
  <Override PartName="/ppt/charts/style213.xml" ContentType="application/vnd.ms-office.chartstyle+xml"/>
  <Override PartName="/ppt/charts/colors213.xml" ContentType="application/vnd.ms-office.chartcolorstyle+xml"/>
  <Override PartName="/ppt/tags/tag593.xml" ContentType="application/vnd.openxmlformats-officedocument.presentationml.tags+xml"/>
  <Override PartName="/ppt/charts/chart402.xml" ContentType="application/vnd.openxmlformats-officedocument.drawingml.chart+xml"/>
  <Override PartName="/ppt/charts/style214.xml" ContentType="application/vnd.ms-office.chartstyle+xml"/>
  <Override PartName="/ppt/charts/colors214.xml" ContentType="application/vnd.ms-office.chartcolorstyle+xml"/>
  <Override PartName="/ppt/tags/tag594.xml" ContentType="application/vnd.openxmlformats-officedocument.presentationml.tags+xml"/>
  <Override PartName="/ppt/charts/chart403.xml" ContentType="application/vnd.openxmlformats-officedocument.drawingml.chart+xml"/>
  <Override PartName="/ppt/charts/style215.xml" ContentType="application/vnd.ms-office.chartstyle+xml"/>
  <Override PartName="/ppt/charts/colors215.xml" ContentType="application/vnd.ms-office.chartcolorstyle+xml"/>
  <Override PartName="/ppt/tags/tag595.xml" ContentType="application/vnd.openxmlformats-officedocument.presentationml.tags+xml"/>
  <Override PartName="/ppt/charts/chart404.xml" ContentType="application/vnd.openxmlformats-officedocument.drawingml.chart+xml"/>
  <Override PartName="/ppt/charts/style216.xml" ContentType="application/vnd.ms-office.chartstyle+xml"/>
  <Override PartName="/ppt/charts/colors216.xml" ContentType="application/vnd.ms-office.chartcolorstyle+xml"/>
  <Override PartName="/ppt/tags/tag596.xml" ContentType="application/vnd.openxmlformats-officedocument.presentationml.tags+xml"/>
  <Override PartName="/ppt/charts/chart405.xml" ContentType="application/vnd.openxmlformats-officedocument.drawingml.chart+xml"/>
  <Override PartName="/ppt/charts/style217.xml" ContentType="application/vnd.ms-office.chartstyle+xml"/>
  <Override PartName="/ppt/charts/colors217.xml" ContentType="application/vnd.ms-office.chartcolorstyle+xml"/>
  <Override PartName="/ppt/tags/tag597.xml" ContentType="application/vnd.openxmlformats-officedocument.presentationml.tags+xml"/>
  <Override PartName="/ppt/charts/chart406.xml" ContentType="application/vnd.openxmlformats-officedocument.drawingml.chart+xml"/>
  <Override PartName="/ppt/charts/style218.xml" ContentType="application/vnd.ms-office.chartstyle+xml"/>
  <Override PartName="/ppt/charts/colors218.xml" ContentType="application/vnd.ms-office.chartcolorstyle+xml"/>
  <Override PartName="/ppt/tags/tag598.xml" ContentType="application/vnd.openxmlformats-officedocument.presentationml.tags+xml"/>
  <Override PartName="/ppt/charts/chart407.xml" ContentType="application/vnd.openxmlformats-officedocument.drawingml.chart+xml"/>
  <Override PartName="/ppt/charts/style219.xml" ContentType="application/vnd.ms-office.chartstyle+xml"/>
  <Override PartName="/ppt/charts/colors219.xml" ContentType="application/vnd.ms-office.chartcolorstyle+xml"/>
  <Override PartName="/ppt/tags/tag599.xml" ContentType="application/vnd.openxmlformats-officedocument.presentationml.tags+xml"/>
  <Override PartName="/ppt/charts/chart408.xml" ContentType="application/vnd.openxmlformats-officedocument.drawingml.chart+xml"/>
  <Override PartName="/ppt/charts/style220.xml" ContentType="application/vnd.ms-office.chartstyle+xml"/>
  <Override PartName="/ppt/charts/colors220.xml" ContentType="application/vnd.ms-office.chartcolorstyle+xml"/>
  <Override PartName="/ppt/tags/tag600.xml" ContentType="application/vnd.openxmlformats-officedocument.presentationml.tags+xml"/>
  <Override PartName="/ppt/charts/chart409.xml" ContentType="application/vnd.openxmlformats-officedocument.drawingml.chart+xml"/>
  <Override PartName="/ppt/charts/style221.xml" ContentType="application/vnd.ms-office.chartstyle+xml"/>
  <Override PartName="/ppt/charts/colors221.xml" ContentType="application/vnd.ms-office.chartcolorstyle+xml"/>
  <Override PartName="/ppt/tags/tag601.xml" ContentType="application/vnd.openxmlformats-officedocument.presentationml.tags+xml"/>
  <Override PartName="/ppt/charts/chart410.xml" ContentType="application/vnd.openxmlformats-officedocument.drawingml.chart+xml"/>
  <Override PartName="/ppt/charts/style222.xml" ContentType="application/vnd.ms-office.chartstyle+xml"/>
  <Override PartName="/ppt/charts/colors222.xml" ContentType="application/vnd.ms-office.chartcolorstyle+xml"/>
  <Override PartName="/ppt/tags/tag602.xml" ContentType="application/vnd.openxmlformats-officedocument.presentationml.tags+xml"/>
  <Override PartName="/ppt/charts/chart411.xml" ContentType="application/vnd.openxmlformats-officedocument.drawingml.chart+xml"/>
  <Override PartName="/ppt/charts/style223.xml" ContentType="application/vnd.ms-office.chartstyle+xml"/>
  <Override PartName="/ppt/charts/colors223.xml" ContentType="application/vnd.ms-office.chartcolorstyle+xml"/>
  <Override PartName="/ppt/tags/tag603.xml" ContentType="application/vnd.openxmlformats-officedocument.presentationml.tags+xml"/>
  <Override PartName="/ppt/charts/chart412.xml" ContentType="application/vnd.openxmlformats-officedocument.drawingml.chart+xml"/>
  <Override PartName="/ppt/charts/style224.xml" ContentType="application/vnd.ms-office.chartstyle+xml"/>
  <Override PartName="/ppt/charts/colors224.xml" ContentType="application/vnd.ms-office.chartcolorstyle+xml"/>
  <Override PartName="/ppt/tags/tag604.xml" ContentType="application/vnd.openxmlformats-officedocument.presentationml.tags+xml"/>
  <Override PartName="/ppt/charts/chart413.xml" ContentType="application/vnd.openxmlformats-officedocument.drawingml.chart+xml"/>
  <Override PartName="/ppt/charts/style225.xml" ContentType="application/vnd.ms-office.chartstyle+xml"/>
  <Override PartName="/ppt/charts/colors225.xml" ContentType="application/vnd.ms-office.chartcolorstyle+xml"/>
  <Override PartName="/ppt/tags/tag605.xml" ContentType="application/vnd.openxmlformats-officedocument.presentationml.tags+xml"/>
  <Override PartName="/ppt/charts/chart414.xml" ContentType="application/vnd.openxmlformats-officedocument.drawingml.chart+xml"/>
  <Override PartName="/ppt/charts/style226.xml" ContentType="application/vnd.ms-office.chartstyle+xml"/>
  <Override PartName="/ppt/charts/colors226.xml" ContentType="application/vnd.ms-office.chartcolorstyle+xml"/>
  <Override PartName="/ppt/tags/tag606.xml" ContentType="application/vnd.openxmlformats-officedocument.presentationml.tags+xml"/>
  <Override PartName="/ppt/charts/chart415.xml" ContentType="application/vnd.openxmlformats-officedocument.drawingml.chart+xml"/>
  <Override PartName="/ppt/charts/style227.xml" ContentType="application/vnd.ms-office.chartstyle+xml"/>
  <Override PartName="/ppt/charts/colors227.xml" ContentType="application/vnd.ms-office.chartcolorstyle+xml"/>
  <Override PartName="/ppt/tags/tag607.xml" ContentType="application/vnd.openxmlformats-officedocument.presentationml.tags+xml"/>
  <Override PartName="/ppt/charts/chart416.xml" ContentType="application/vnd.openxmlformats-officedocument.drawingml.chart+xml"/>
  <Override PartName="/ppt/charts/style228.xml" ContentType="application/vnd.ms-office.chartstyle+xml"/>
  <Override PartName="/ppt/charts/colors228.xml" ContentType="application/vnd.ms-office.chartcolorstyle+xml"/>
  <Override PartName="/ppt/tags/tag608.xml" ContentType="application/vnd.openxmlformats-officedocument.presentationml.tags+xml"/>
  <Override PartName="/ppt/charts/chart417.xml" ContentType="application/vnd.openxmlformats-officedocument.drawingml.chart+xml"/>
  <Override PartName="/ppt/charts/style229.xml" ContentType="application/vnd.ms-office.chartstyle+xml"/>
  <Override PartName="/ppt/charts/colors229.xml" ContentType="application/vnd.ms-office.chartcolorstyle+xml"/>
  <Override PartName="/ppt/tags/tag609.xml" ContentType="application/vnd.openxmlformats-officedocument.presentationml.tags+xml"/>
  <Override PartName="/ppt/charts/chart418.xml" ContentType="application/vnd.openxmlformats-officedocument.drawingml.chart+xml"/>
  <Override PartName="/ppt/charts/style230.xml" ContentType="application/vnd.ms-office.chartstyle+xml"/>
  <Override PartName="/ppt/charts/colors230.xml" ContentType="application/vnd.ms-office.chartcolorstyle+xml"/>
  <Override PartName="/ppt/tags/tag610.xml" ContentType="application/vnd.openxmlformats-officedocument.presentationml.tags+xml"/>
  <Override PartName="/ppt/charts/chart419.xml" ContentType="application/vnd.openxmlformats-officedocument.drawingml.chart+xml"/>
  <Override PartName="/ppt/charts/style231.xml" ContentType="application/vnd.ms-office.chartstyle+xml"/>
  <Override PartName="/ppt/charts/colors231.xml" ContentType="application/vnd.ms-office.chartcolorstyle+xml"/>
  <Override PartName="/ppt/tags/tag611.xml" ContentType="application/vnd.openxmlformats-officedocument.presentationml.tags+xml"/>
  <Override PartName="/ppt/charts/chart420.xml" ContentType="application/vnd.openxmlformats-officedocument.drawingml.chart+xml"/>
  <Override PartName="/ppt/charts/style232.xml" ContentType="application/vnd.ms-office.chartstyle+xml"/>
  <Override PartName="/ppt/charts/colors232.xml" ContentType="application/vnd.ms-office.chartcolorstyle+xml"/>
  <Override PartName="/ppt/tags/tag612.xml" ContentType="application/vnd.openxmlformats-officedocument.presentationml.tags+xml"/>
  <Override PartName="/ppt/charts/chart421.xml" ContentType="application/vnd.openxmlformats-officedocument.drawingml.chart+xml"/>
  <Override PartName="/ppt/charts/style233.xml" ContentType="application/vnd.ms-office.chartstyle+xml"/>
  <Override PartName="/ppt/charts/colors233.xml" ContentType="application/vnd.ms-office.chartcolorstyle+xml"/>
  <Override PartName="/ppt/tags/tag613.xml" ContentType="application/vnd.openxmlformats-officedocument.presentationml.tags+xml"/>
  <Override PartName="/ppt/charts/chart422.xml" ContentType="application/vnd.openxmlformats-officedocument.drawingml.chart+xml"/>
  <Override PartName="/ppt/charts/style234.xml" ContentType="application/vnd.ms-office.chartstyle+xml"/>
  <Override PartName="/ppt/charts/colors234.xml" ContentType="application/vnd.ms-office.chartcolorstyle+xml"/>
  <Override PartName="/ppt/tags/tag614.xml" ContentType="application/vnd.openxmlformats-officedocument.presentationml.tags+xml"/>
  <Override PartName="/ppt/charts/chart423.xml" ContentType="application/vnd.openxmlformats-officedocument.drawingml.chart+xml"/>
  <Override PartName="/ppt/charts/style235.xml" ContentType="application/vnd.ms-office.chartstyle+xml"/>
  <Override PartName="/ppt/charts/colors235.xml" ContentType="application/vnd.ms-office.chartcolorstyle+xml"/>
  <Override PartName="/ppt/tags/tag615.xml" ContentType="application/vnd.openxmlformats-officedocument.presentationml.tags+xml"/>
  <Override PartName="/ppt/charts/chart424.xml" ContentType="application/vnd.openxmlformats-officedocument.drawingml.chart+xml"/>
  <Override PartName="/ppt/charts/style236.xml" ContentType="application/vnd.ms-office.chartstyle+xml"/>
  <Override PartName="/ppt/charts/colors236.xml" ContentType="application/vnd.ms-office.chartcolorstyle+xml"/>
  <Override PartName="/ppt/tags/tag616.xml" ContentType="application/vnd.openxmlformats-officedocument.presentationml.tags+xml"/>
  <Override PartName="/ppt/charts/chart425.xml" ContentType="application/vnd.openxmlformats-officedocument.drawingml.chart+xml"/>
  <Override PartName="/ppt/charts/style237.xml" ContentType="application/vnd.ms-office.chartstyle+xml"/>
  <Override PartName="/ppt/charts/colors237.xml" ContentType="application/vnd.ms-office.chartcolorstyle+xml"/>
  <Override PartName="/ppt/tags/tag617.xml" ContentType="application/vnd.openxmlformats-officedocument.presentationml.tags+xml"/>
  <Override PartName="/ppt/charts/chart426.xml" ContentType="application/vnd.openxmlformats-officedocument.drawingml.chart+xml"/>
  <Override PartName="/ppt/charts/style238.xml" ContentType="application/vnd.ms-office.chartstyle+xml"/>
  <Override PartName="/ppt/charts/colors238.xml" ContentType="application/vnd.ms-office.chartcolorstyle+xml"/>
  <Override PartName="/ppt/tags/tag618.xml" ContentType="application/vnd.openxmlformats-officedocument.presentationml.tags+xml"/>
  <Override PartName="/ppt/charts/chart427.xml" ContentType="application/vnd.openxmlformats-officedocument.drawingml.chart+xml"/>
  <Override PartName="/ppt/charts/style239.xml" ContentType="application/vnd.ms-office.chartstyle+xml"/>
  <Override PartName="/ppt/charts/colors239.xml" ContentType="application/vnd.ms-office.chartcolorstyle+xml"/>
  <Override PartName="/ppt/tags/tag619.xml" ContentType="application/vnd.openxmlformats-officedocument.presentationml.tags+xml"/>
  <Override PartName="/ppt/charts/chart428.xml" ContentType="application/vnd.openxmlformats-officedocument.drawingml.chart+xml"/>
  <Override PartName="/ppt/charts/style240.xml" ContentType="application/vnd.ms-office.chartstyle+xml"/>
  <Override PartName="/ppt/charts/colors240.xml" ContentType="application/vnd.ms-office.chartcolorstyle+xml"/>
  <Override PartName="/ppt/tags/tag620.xml" ContentType="application/vnd.openxmlformats-officedocument.presentationml.tags+xml"/>
  <Override PartName="/ppt/charts/chart429.xml" ContentType="application/vnd.openxmlformats-officedocument.drawingml.chart+xml"/>
  <Override PartName="/ppt/charts/style241.xml" ContentType="application/vnd.ms-office.chartstyle+xml"/>
  <Override PartName="/ppt/charts/colors241.xml" ContentType="application/vnd.ms-office.chartcolorstyle+xml"/>
  <Override PartName="/ppt/tags/tag621.xml" ContentType="application/vnd.openxmlformats-officedocument.presentationml.tags+xml"/>
  <Override PartName="/ppt/charts/chart430.xml" ContentType="application/vnd.openxmlformats-officedocument.drawingml.chart+xml"/>
  <Override PartName="/ppt/charts/style242.xml" ContentType="application/vnd.ms-office.chartstyle+xml"/>
  <Override PartName="/ppt/charts/colors242.xml" ContentType="application/vnd.ms-office.chartcolorstyle+xml"/>
  <Override PartName="/ppt/tags/tag622.xml" ContentType="application/vnd.openxmlformats-officedocument.presentationml.tags+xml"/>
  <Override PartName="/ppt/charts/chart431.xml" ContentType="application/vnd.openxmlformats-officedocument.drawingml.chart+xml"/>
  <Override PartName="/ppt/charts/style243.xml" ContentType="application/vnd.ms-office.chartstyle+xml"/>
  <Override PartName="/ppt/charts/colors243.xml" ContentType="application/vnd.ms-office.chartcolorstyle+xml"/>
  <Override PartName="/ppt/tags/tag623.xml" ContentType="application/vnd.openxmlformats-officedocument.presentationml.tags+xml"/>
  <Override PartName="/ppt/charts/chart432.xml" ContentType="application/vnd.openxmlformats-officedocument.drawingml.chart+xml"/>
  <Override PartName="/ppt/charts/style244.xml" ContentType="application/vnd.ms-office.chartstyle+xml"/>
  <Override PartName="/ppt/charts/colors244.xml" ContentType="application/vnd.ms-office.chartcolorstyle+xml"/>
  <Override PartName="/ppt/tags/tag624.xml" ContentType="application/vnd.openxmlformats-officedocument.presentationml.tags+xml"/>
  <Override PartName="/ppt/charts/chart433.xml" ContentType="application/vnd.openxmlformats-officedocument.drawingml.chart+xml"/>
  <Override PartName="/ppt/charts/style245.xml" ContentType="application/vnd.ms-office.chartstyle+xml"/>
  <Override PartName="/ppt/charts/colors245.xml" ContentType="application/vnd.ms-office.chartcolorstyle+xml"/>
  <Override PartName="/ppt/tags/tag625.xml" ContentType="application/vnd.openxmlformats-officedocument.presentationml.tags+xml"/>
  <Override PartName="/ppt/charts/chart434.xml" ContentType="application/vnd.openxmlformats-officedocument.drawingml.chart+xml"/>
  <Override PartName="/ppt/charts/style246.xml" ContentType="application/vnd.ms-office.chartstyle+xml"/>
  <Override PartName="/ppt/charts/colors246.xml" ContentType="application/vnd.ms-office.chartcolorstyle+xml"/>
  <Override PartName="/ppt/tags/tag626.xml" ContentType="application/vnd.openxmlformats-officedocument.presentationml.tags+xml"/>
  <Override PartName="/ppt/charts/chart435.xml" ContentType="application/vnd.openxmlformats-officedocument.drawingml.chart+xml"/>
  <Override PartName="/ppt/charts/style247.xml" ContentType="application/vnd.ms-office.chartstyle+xml"/>
  <Override PartName="/ppt/charts/colors247.xml" ContentType="application/vnd.ms-office.chartcolorstyle+xml"/>
  <Override PartName="/ppt/tags/tag627.xml" ContentType="application/vnd.openxmlformats-officedocument.presentationml.tags+xml"/>
  <Override PartName="/ppt/charts/chart436.xml" ContentType="application/vnd.openxmlformats-officedocument.drawingml.chart+xml"/>
  <Override PartName="/ppt/charts/style248.xml" ContentType="application/vnd.ms-office.chartstyle+xml"/>
  <Override PartName="/ppt/charts/colors248.xml" ContentType="application/vnd.ms-office.chartcolorstyle+xml"/>
  <Override PartName="/ppt/tags/tag628.xml" ContentType="application/vnd.openxmlformats-officedocument.presentationml.tags+xml"/>
  <Override PartName="/ppt/charts/chart437.xml" ContentType="application/vnd.openxmlformats-officedocument.drawingml.chart+xml"/>
  <Override PartName="/ppt/charts/style249.xml" ContentType="application/vnd.ms-office.chartstyle+xml"/>
  <Override PartName="/ppt/charts/colors249.xml" ContentType="application/vnd.ms-office.chartcolorstyle+xml"/>
  <Override PartName="/ppt/tags/tag629.xml" ContentType="application/vnd.openxmlformats-officedocument.presentationml.tags+xml"/>
  <Override PartName="/ppt/charts/chart438.xml" ContentType="application/vnd.openxmlformats-officedocument.drawingml.chart+xml"/>
  <Override PartName="/ppt/charts/style250.xml" ContentType="application/vnd.ms-office.chartstyle+xml"/>
  <Override PartName="/ppt/charts/colors250.xml" ContentType="application/vnd.ms-office.chartcolorstyle+xml"/>
  <Override PartName="/ppt/tags/tag630.xml" ContentType="application/vnd.openxmlformats-officedocument.presentationml.tags+xml"/>
  <Override PartName="/ppt/charts/chart439.xml" ContentType="application/vnd.openxmlformats-officedocument.drawingml.chart+xml"/>
  <Override PartName="/ppt/charts/style251.xml" ContentType="application/vnd.ms-office.chartstyle+xml"/>
  <Override PartName="/ppt/charts/colors251.xml" ContentType="application/vnd.ms-office.chartcolorstyle+xml"/>
  <Override PartName="/ppt/tags/tag631.xml" ContentType="application/vnd.openxmlformats-officedocument.presentationml.tags+xml"/>
  <Override PartName="/ppt/charts/chart440.xml" ContentType="application/vnd.openxmlformats-officedocument.drawingml.chart+xml"/>
  <Override PartName="/ppt/charts/style252.xml" ContentType="application/vnd.ms-office.chartstyle+xml"/>
  <Override PartName="/ppt/charts/colors252.xml" ContentType="application/vnd.ms-office.chartcolorstyle+xml"/>
  <Override PartName="/ppt/tags/tag632.xml" ContentType="application/vnd.openxmlformats-officedocument.presentationml.tags+xml"/>
  <Override PartName="/ppt/charts/chart441.xml" ContentType="application/vnd.openxmlformats-officedocument.drawingml.chart+xml"/>
  <Override PartName="/ppt/charts/style253.xml" ContentType="application/vnd.ms-office.chartstyle+xml"/>
  <Override PartName="/ppt/charts/colors253.xml" ContentType="application/vnd.ms-office.chartcolorstyle+xml"/>
  <Override PartName="/ppt/tags/tag633.xml" ContentType="application/vnd.openxmlformats-officedocument.presentationml.tags+xml"/>
  <Override PartName="/ppt/charts/chart442.xml" ContentType="application/vnd.openxmlformats-officedocument.drawingml.chart+xml"/>
  <Override PartName="/ppt/charts/style254.xml" ContentType="application/vnd.ms-office.chartstyle+xml"/>
  <Override PartName="/ppt/charts/colors254.xml" ContentType="application/vnd.ms-office.chartcolorstyle+xml"/>
  <Override PartName="/ppt/tags/tag634.xml" ContentType="application/vnd.openxmlformats-officedocument.presentationml.tags+xml"/>
  <Override PartName="/ppt/charts/chart443.xml" ContentType="application/vnd.openxmlformats-officedocument.drawingml.chart+xml"/>
  <Override PartName="/ppt/charts/style255.xml" ContentType="application/vnd.ms-office.chartstyle+xml"/>
  <Override PartName="/ppt/charts/colors255.xml" ContentType="application/vnd.ms-office.chartcolorstyle+xml"/>
  <Override PartName="/ppt/tags/tag635.xml" ContentType="application/vnd.openxmlformats-officedocument.presentationml.tags+xml"/>
  <Override PartName="/ppt/charts/chart444.xml" ContentType="application/vnd.openxmlformats-officedocument.drawingml.chart+xml"/>
  <Override PartName="/ppt/charts/style256.xml" ContentType="application/vnd.ms-office.chartstyle+xml"/>
  <Override PartName="/ppt/charts/colors256.xml" ContentType="application/vnd.ms-office.chartcolorstyle+xml"/>
  <Override PartName="/ppt/tags/tag636.xml" ContentType="application/vnd.openxmlformats-officedocument.presentationml.tags+xml"/>
  <Override PartName="/ppt/charts/chart445.xml" ContentType="application/vnd.openxmlformats-officedocument.drawingml.chart+xml"/>
  <Override PartName="/ppt/charts/style257.xml" ContentType="application/vnd.ms-office.chartstyle+xml"/>
  <Override PartName="/ppt/charts/colors257.xml" ContentType="application/vnd.ms-office.chartcolorstyle+xml"/>
  <Override PartName="/ppt/tags/tag637.xml" ContentType="application/vnd.openxmlformats-officedocument.presentationml.tags+xml"/>
  <Override PartName="/ppt/charts/chart446.xml" ContentType="application/vnd.openxmlformats-officedocument.drawingml.chart+xml"/>
  <Override PartName="/ppt/charts/style258.xml" ContentType="application/vnd.ms-office.chartstyle+xml"/>
  <Override PartName="/ppt/charts/colors258.xml" ContentType="application/vnd.ms-office.chartcolorstyle+xml"/>
  <Override PartName="/ppt/tags/tag638.xml" ContentType="application/vnd.openxmlformats-officedocument.presentationml.tags+xml"/>
  <Override PartName="/ppt/charts/chart447.xml" ContentType="application/vnd.openxmlformats-officedocument.drawingml.chart+xml"/>
  <Override PartName="/ppt/charts/style259.xml" ContentType="application/vnd.ms-office.chartstyle+xml"/>
  <Override PartName="/ppt/charts/colors259.xml" ContentType="application/vnd.ms-office.chartcolorstyle+xml"/>
  <Override PartName="/ppt/tags/tag639.xml" ContentType="application/vnd.openxmlformats-officedocument.presentationml.tags+xml"/>
  <Override PartName="/ppt/charts/chart448.xml" ContentType="application/vnd.openxmlformats-officedocument.drawingml.chart+xml"/>
  <Override PartName="/ppt/charts/style260.xml" ContentType="application/vnd.ms-office.chartstyle+xml"/>
  <Override PartName="/ppt/charts/colors260.xml" ContentType="application/vnd.ms-office.chartcolorstyle+xml"/>
  <Override PartName="/ppt/tags/tag640.xml" ContentType="application/vnd.openxmlformats-officedocument.presentationml.tags+xml"/>
  <Override PartName="/ppt/charts/chart449.xml" ContentType="application/vnd.openxmlformats-officedocument.drawingml.chart+xml"/>
  <Override PartName="/ppt/charts/style261.xml" ContentType="application/vnd.ms-office.chartstyle+xml"/>
  <Override PartName="/ppt/charts/colors261.xml" ContentType="application/vnd.ms-office.chartcolorstyle+xml"/>
  <Override PartName="/ppt/tags/tag641.xml" ContentType="application/vnd.openxmlformats-officedocument.presentationml.tags+xml"/>
  <Override PartName="/ppt/charts/chart450.xml" ContentType="application/vnd.openxmlformats-officedocument.drawingml.chart+xml"/>
  <Override PartName="/ppt/charts/style262.xml" ContentType="application/vnd.ms-office.chartstyle+xml"/>
  <Override PartName="/ppt/charts/colors262.xml" ContentType="application/vnd.ms-office.chartcolorstyle+xml"/>
  <Override PartName="/ppt/tags/tag642.xml" ContentType="application/vnd.openxmlformats-officedocument.presentationml.tags+xml"/>
  <Override PartName="/ppt/charts/chart451.xml" ContentType="application/vnd.openxmlformats-officedocument.drawingml.chart+xml"/>
  <Override PartName="/ppt/charts/style263.xml" ContentType="application/vnd.ms-office.chartstyle+xml"/>
  <Override PartName="/ppt/charts/colors263.xml" ContentType="application/vnd.ms-office.chartcolorstyle+xml"/>
  <Override PartName="/ppt/tags/tag643.xml" ContentType="application/vnd.openxmlformats-officedocument.presentationml.tags+xml"/>
  <Override PartName="/ppt/charts/chart452.xml" ContentType="application/vnd.openxmlformats-officedocument.drawingml.chart+xml"/>
  <Override PartName="/ppt/charts/style264.xml" ContentType="application/vnd.ms-office.chartstyle+xml"/>
  <Override PartName="/ppt/charts/colors264.xml" ContentType="application/vnd.ms-office.chartcolorstyle+xml"/>
  <Override PartName="/ppt/tags/tag644.xml" ContentType="application/vnd.openxmlformats-officedocument.presentationml.tags+xml"/>
  <Override PartName="/ppt/charts/chart453.xml" ContentType="application/vnd.openxmlformats-officedocument.drawingml.chart+xml"/>
  <Override PartName="/ppt/charts/style265.xml" ContentType="application/vnd.ms-office.chartstyle+xml"/>
  <Override PartName="/ppt/charts/colors265.xml" ContentType="application/vnd.ms-office.chartcolorstyle+xml"/>
  <Override PartName="/ppt/tags/tag645.xml" ContentType="application/vnd.openxmlformats-officedocument.presentationml.tags+xml"/>
  <Override PartName="/ppt/charts/chart454.xml" ContentType="application/vnd.openxmlformats-officedocument.drawingml.chart+xml"/>
  <Override PartName="/ppt/charts/style266.xml" ContentType="application/vnd.ms-office.chartstyle+xml"/>
  <Override PartName="/ppt/charts/colors266.xml" ContentType="application/vnd.ms-office.chartcolorstyle+xml"/>
  <Override PartName="/ppt/tags/tag646.xml" ContentType="application/vnd.openxmlformats-officedocument.presentationml.tags+xml"/>
  <Override PartName="/ppt/charts/chart455.xml" ContentType="application/vnd.openxmlformats-officedocument.drawingml.chart+xml"/>
  <Override PartName="/ppt/charts/style267.xml" ContentType="application/vnd.ms-office.chartstyle+xml"/>
  <Override PartName="/ppt/charts/colors267.xml" ContentType="application/vnd.ms-office.chartcolorstyle+xml"/>
  <Override PartName="/ppt/tags/tag647.xml" ContentType="application/vnd.openxmlformats-officedocument.presentationml.tags+xml"/>
  <Override PartName="/ppt/charts/chart456.xml" ContentType="application/vnd.openxmlformats-officedocument.drawingml.chart+xml"/>
  <Override PartName="/ppt/charts/style268.xml" ContentType="application/vnd.ms-office.chartstyle+xml"/>
  <Override PartName="/ppt/charts/colors268.xml" ContentType="application/vnd.ms-office.chartcolorstyle+xml"/>
  <Override PartName="/ppt/tags/tag648.xml" ContentType="application/vnd.openxmlformats-officedocument.presentationml.tags+xml"/>
  <Override PartName="/ppt/charts/chart457.xml" ContentType="application/vnd.openxmlformats-officedocument.drawingml.chart+xml"/>
  <Override PartName="/ppt/charts/style269.xml" ContentType="application/vnd.ms-office.chartstyle+xml"/>
  <Override PartName="/ppt/charts/colors269.xml" ContentType="application/vnd.ms-office.chartcolorstyle+xml"/>
  <Override PartName="/ppt/tags/tag649.xml" ContentType="application/vnd.openxmlformats-officedocument.presentationml.tags+xml"/>
  <Override PartName="/ppt/charts/chart458.xml" ContentType="application/vnd.openxmlformats-officedocument.drawingml.chart+xml"/>
  <Override PartName="/ppt/charts/style270.xml" ContentType="application/vnd.ms-office.chartstyle+xml"/>
  <Override PartName="/ppt/charts/colors270.xml" ContentType="application/vnd.ms-office.chartcolorstyle+xml"/>
  <Override PartName="/ppt/tags/tag650.xml" ContentType="application/vnd.openxmlformats-officedocument.presentationml.tags+xml"/>
  <Override PartName="/ppt/charts/chart459.xml" ContentType="application/vnd.openxmlformats-officedocument.drawingml.chart+xml"/>
  <Override PartName="/ppt/charts/style271.xml" ContentType="application/vnd.ms-office.chartstyle+xml"/>
  <Override PartName="/ppt/charts/colors271.xml" ContentType="application/vnd.ms-office.chartcolorstyle+xml"/>
  <Override PartName="/ppt/tags/tag651.xml" ContentType="application/vnd.openxmlformats-officedocument.presentationml.tags+xml"/>
  <Override PartName="/ppt/charts/chart460.xml" ContentType="application/vnd.openxmlformats-officedocument.drawingml.chart+xml"/>
  <Override PartName="/ppt/charts/style272.xml" ContentType="application/vnd.ms-office.chartstyle+xml"/>
  <Override PartName="/ppt/charts/colors272.xml" ContentType="application/vnd.ms-office.chartcolorstyle+xml"/>
  <Override PartName="/ppt/tags/tag652.xml" ContentType="application/vnd.openxmlformats-officedocument.presentationml.tags+xml"/>
  <Override PartName="/ppt/charts/chart461.xml" ContentType="application/vnd.openxmlformats-officedocument.drawingml.chart+xml"/>
  <Override PartName="/ppt/charts/style273.xml" ContentType="application/vnd.ms-office.chartstyle+xml"/>
  <Override PartName="/ppt/charts/colors273.xml" ContentType="application/vnd.ms-office.chartcolorstyle+xml"/>
  <Override PartName="/ppt/tags/tag653.xml" ContentType="application/vnd.openxmlformats-officedocument.presentationml.tags+xml"/>
  <Override PartName="/ppt/charts/chart462.xml" ContentType="application/vnd.openxmlformats-officedocument.drawingml.chart+xml"/>
  <Override PartName="/ppt/charts/style274.xml" ContentType="application/vnd.ms-office.chartstyle+xml"/>
  <Override PartName="/ppt/charts/colors274.xml" ContentType="application/vnd.ms-office.chartcolorstyle+xml"/>
  <Override PartName="/ppt/tags/tag654.xml" ContentType="application/vnd.openxmlformats-officedocument.presentationml.tags+xml"/>
  <Override PartName="/ppt/charts/chart463.xml" ContentType="application/vnd.openxmlformats-officedocument.drawingml.chart+xml"/>
  <Override PartName="/ppt/charts/style275.xml" ContentType="application/vnd.ms-office.chartstyle+xml"/>
  <Override PartName="/ppt/charts/colors275.xml" ContentType="application/vnd.ms-office.chartcolorstyle+xml"/>
  <Override PartName="/ppt/tags/tag655.xml" ContentType="application/vnd.openxmlformats-officedocument.presentationml.tags+xml"/>
  <Override PartName="/ppt/charts/chart464.xml" ContentType="application/vnd.openxmlformats-officedocument.drawingml.chart+xml"/>
  <Override PartName="/ppt/charts/style276.xml" ContentType="application/vnd.ms-office.chartstyle+xml"/>
  <Override PartName="/ppt/charts/colors276.xml" ContentType="application/vnd.ms-office.chartcolorstyle+xml"/>
  <Override PartName="/ppt/tags/tag656.xml" ContentType="application/vnd.openxmlformats-officedocument.presentationml.tags+xml"/>
  <Override PartName="/ppt/charts/chart465.xml" ContentType="application/vnd.openxmlformats-officedocument.drawingml.chart+xml"/>
  <Override PartName="/ppt/charts/style277.xml" ContentType="application/vnd.ms-office.chartstyle+xml"/>
  <Override PartName="/ppt/charts/colors277.xml" ContentType="application/vnd.ms-office.chartcolorstyle+xml"/>
  <Override PartName="/ppt/tags/tag657.xml" ContentType="application/vnd.openxmlformats-officedocument.presentationml.tags+xml"/>
  <Override PartName="/ppt/charts/chart466.xml" ContentType="application/vnd.openxmlformats-officedocument.drawingml.chart+xml"/>
  <Override PartName="/ppt/charts/style278.xml" ContentType="application/vnd.ms-office.chartstyle+xml"/>
  <Override PartName="/ppt/charts/colors278.xml" ContentType="application/vnd.ms-office.chartcolorstyle+xml"/>
  <Override PartName="/ppt/tags/tag658.xml" ContentType="application/vnd.openxmlformats-officedocument.presentationml.tags+xml"/>
  <Override PartName="/ppt/charts/chart467.xml" ContentType="application/vnd.openxmlformats-officedocument.drawingml.chart+xml"/>
  <Override PartName="/ppt/charts/style279.xml" ContentType="application/vnd.ms-office.chartstyle+xml"/>
  <Override PartName="/ppt/charts/colors279.xml" ContentType="application/vnd.ms-office.chartcolorstyle+xml"/>
  <Override PartName="/ppt/tags/tag659.xml" ContentType="application/vnd.openxmlformats-officedocument.presentationml.tags+xml"/>
  <Override PartName="/ppt/charts/chart468.xml" ContentType="application/vnd.openxmlformats-officedocument.drawingml.chart+xml"/>
  <Override PartName="/ppt/charts/style280.xml" ContentType="application/vnd.ms-office.chartstyle+xml"/>
  <Override PartName="/ppt/charts/colors280.xml" ContentType="application/vnd.ms-office.chartcolorstyle+xml"/>
  <Override PartName="/ppt/tags/tag660.xml" ContentType="application/vnd.openxmlformats-officedocument.presentationml.tags+xml"/>
  <Override PartName="/ppt/charts/chart469.xml" ContentType="application/vnd.openxmlformats-officedocument.drawingml.chart+xml"/>
  <Override PartName="/ppt/charts/style281.xml" ContentType="application/vnd.ms-office.chartstyle+xml"/>
  <Override PartName="/ppt/charts/colors281.xml" ContentType="application/vnd.ms-office.chartcolorstyle+xml"/>
  <Override PartName="/ppt/tags/tag661.xml" ContentType="application/vnd.openxmlformats-officedocument.presentationml.tags+xml"/>
  <Override PartName="/ppt/charts/chart470.xml" ContentType="application/vnd.openxmlformats-officedocument.drawingml.chart+xml"/>
  <Override PartName="/ppt/charts/style282.xml" ContentType="application/vnd.ms-office.chartstyle+xml"/>
  <Override PartName="/ppt/charts/colors282.xml" ContentType="application/vnd.ms-office.chartcolorstyle+xml"/>
  <Override PartName="/ppt/tags/tag662.xml" ContentType="application/vnd.openxmlformats-officedocument.presentationml.tags+xml"/>
  <Override PartName="/ppt/charts/chart471.xml" ContentType="application/vnd.openxmlformats-officedocument.drawingml.chart+xml"/>
  <Override PartName="/ppt/charts/style283.xml" ContentType="application/vnd.ms-office.chartstyle+xml"/>
  <Override PartName="/ppt/charts/colors283.xml" ContentType="application/vnd.ms-office.chartcolorstyle+xml"/>
  <Override PartName="/ppt/tags/tag663.xml" ContentType="application/vnd.openxmlformats-officedocument.presentationml.tags+xml"/>
  <Override PartName="/ppt/charts/chart472.xml" ContentType="application/vnd.openxmlformats-officedocument.drawingml.chart+xml"/>
  <Override PartName="/ppt/charts/style284.xml" ContentType="application/vnd.ms-office.chartstyle+xml"/>
  <Override PartName="/ppt/charts/colors284.xml" ContentType="application/vnd.ms-office.chartcolorstyle+xml"/>
  <Override PartName="/ppt/tags/tag664.xml" ContentType="application/vnd.openxmlformats-officedocument.presentationml.tags+xml"/>
  <Override PartName="/ppt/charts/chart473.xml" ContentType="application/vnd.openxmlformats-officedocument.drawingml.chart+xml"/>
  <Override PartName="/ppt/charts/style285.xml" ContentType="application/vnd.ms-office.chartstyle+xml"/>
  <Override PartName="/ppt/charts/colors285.xml" ContentType="application/vnd.ms-office.chartcolorstyle+xml"/>
  <Override PartName="/ppt/tags/tag665.xml" ContentType="application/vnd.openxmlformats-officedocument.presentationml.tags+xml"/>
  <Override PartName="/ppt/charts/chart474.xml" ContentType="application/vnd.openxmlformats-officedocument.drawingml.chart+xml"/>
  <Override PartName="/ppt/charts/style286.xml" ContentType="application/vnd.ms-office.chartstyle+xml"/>
  <Override PartName="/ppt/charts/colors286.xml" ContentType="application/vnd.ms-office.chartcolorstyle+xml"/>
  <Override PartName="/ppt/tags/tag666.xml" ContentType="application/vnd.openxmlformats-officedocument.presentationml.tags+xml"/>
  <Override PartName="/ppt/charts/chart475.xml" ContentType="application/vnd.openxmlformats-officedocument.drawingml.chart+xml"/>
  <Override PartName="/ppt/charts/style287.xml" ContentType="application/vnd.ms-office.chartstyle+xml"/>
  <Override PartName="/ppt/charts/colors287.xml" ContentType="application/vnd.ms-office.chartcolorstyle+xml"/>
  <Override PartName="/ppt/tags/tag667.xml" ContentType="application/vnd.openxmlformats-officedocument.presentationml.tags+xml"/>
  <Override PartName="/ppt/charts/chart476.xml" ContentType="application/vnd.openxmlformats-officedocument.drawingml.chart+xml"/>
  <Override PartName="/ppt/charts/style288.xml" ContentType="application/vnd.ms-office.chartstyle+xml"/>
  <Override PartName="/ppt/charts/colors288.xml" ContentType="application/vnd.ms-office.chartcolorstyle+xml"/>
  <Override PartName="/ppt/tags/tag668.xml" ContentType="application/vnd.openxmlformats-officedocument.presentationml.tags+xml"/>
  <Override PartName="/ppt/charts/chart477.xml" ContentType="application/vnd.openxmlformats-officedocument.drawingml.chart+xml"/>
  <Override PartName="/ppt/charts/style289.xml" ContentType="application/vnd.ms-office.chartstyle+xml"/>
  <Override PartName="/ppt/charts/colors289.xml" ContentType="application/vnd.ms-office.chartcolorstyle+xml"/>
  <Override PartName="/ppt/tags/tag669.xml" ContentType="application/vnd.openxmlformats-officedocument.presentationml.tags+xml"/>
  <Override PartName="/ppt/charts/chart478.xml" ContentType="application/vnd.openxmlformats-officedocument.drawingml.chart+xml"/>
  <Override PartName="/ppt/charts/style290.xml" ContentType="application/vnd.ms-office.chartstyle+xml"/>
  <Override PartName="/ppt/charts/colors290.xml" ContentType="application/vnd.ms-office.chartcolorstyle+xml"/>
  <Override PartName="/ppt/tags/tag670.xml" ContentType="application/vnd.openxmlformats-officedocument.presentationml.tags+xml"/>
  <Override PartName="/ppt/charts/chart479.xml" ContentType="application/vnd.openxmlformats-officedocument.drawingml.chart+xml"/>
  <Override PartName="/ppt/charts/style291.xml" ContentType="application/vnd.ms-office.chartstyle+xml"/>
  <Override PartName="/ppt/charts/colors291.xml" ContentType="application/vnd.ms-office.chartcolorstyle+xml"/>
  <Override PartName="/ppt/tags/tag671.xml" ContentType="application/vnd.openxmlformats-officedocument.presentationml.tags+xml"/>
  <Override PartName="/ppt/charts/chart480.xml" ContentType="application/vnd.openxmlformats-officedocument.drawingml.chart+xml"/>
  <Override PartName="/ppt/charts/style292.xml" ContentType="application/vnd.ms-office.chartstyle+xml"/>
  <Override PartName="/ppt/charts/colors292.xml" ContentType="application/vnd.ms-office.chartcolorstyle+xml"/>
  <Override PartName="/ppt/tags/tag672.xml" ContentType="application/vnd.openxmlformats-officedocument.presentationml.tags+xml"/>
  <Override PartName="/ppt/charts/chart481.xml" ContentType="application/vnd.openxmlformats-officedocument.drawingml.chart+xml"/>
  <Override PartName="/ppt/charts/style293.xml" ContentType="application/vnd.ms-office.chartstyle+xml"/>
  <Override PartName="/ppt/charts/colors293.xml" ContentType="application/vnd.ms-office.chartcolorstyle+xml"/>
  <Override PartName="/ppt/tags/tag673.xml" ContentType="application/vnd.openxmlformats-officedocument.presentationml.tags+xml"/>
  <Override PartName="/ppt/charts/chart482.xml" ContentType="application/vnd.openxmlformats-officedocument.drawingml.chart+xml"/>
  <Override PartName="/ppt/charts/style294.xml" ContentType="application/vnd.ms-office.chartstyle+xml"/>
  <Override PartName="/ppt/charts/colors294.xml" ContentType="application/vnd.ms-office.chartcolorstyle+xml"/>
  <Override PartName="/ppt/tags/tag674.xml" ContentType="application/vnd.openxmlformats-officedocument.presentationml.tags+xml"/>
  <Override PartName="/ppt/charts/chart483.xml" ContentType="application/vnd.openxmlformats-officedocument.drawingml.chart+xml"/>
  <Override PartName="/ppt/charts/style295.xml" ContentType="application/vnd.ms-office.chartstyle+xml"/>
  <Override PartName="/ppt/charts/colors295.xml" ContentType="application/vnd.ms-office.chartcolorstyle+xml"/>
  <Override PartName="/ppt/tags/tag675.xml" ContentType="application/vnd.openxmlformats-officedocument.presentationml.tags+xml"/>
  <Override PartName="/ppt/charts/chart484.xml" ContentType="application/vnd.openxmlformats-officedocument.drawingml.chart+xml"/>
  <Override PartName="/ppt/charts/style296.xml" ContentType="application/vnd.ms-office.chartstyle+xml"/>
  <Override PartName="/ppt/charts/colors296.xml" ContentType="application/vnd.ms-office.chartcolorstyle+xml"/>
  <Override PartName="/ppt/tags/tag676.xml" ContentType="application/vnd.openxmlformats-officedocument.presentationml.tags+xml"/>
  <Override PartName="/ppt/charts/chart485.xml" ContentType="application/vnd.openxmlformats-officedocument.drawingml.chart+xml"/>
  <Override PartName="/ppt/charts/style297.xml" ContentType="application/vnd.ms-office.chartstyle+xml"/>
  <Override PartName="/ppt/charts/colors297.xml" ContentType="application/vnd.ms-office.chartcolorstyle+xml"/>
  <Override PartName="/ppt/tags/tag677.xml" ContentType="application/vnd.openxmlformats-officedocument.presentationml.tags+xml"/>
  <Override PartName="/ppt/charts/chart486.xml" ContentType="application/vnd.openxmlformats-officedocument.drawingml.chart+xml"/>
  <Override PartName="/ppt/charts/style298.xml" ContentType="application/vnd.ms-office.chartstyle+xml"/>
  <Override PartName="/ppt/charts/colors298.xml" ContentType="application/vnd.ms-office.chartcolorstyle+xml"/>
  <Override PartName="/ppt/tags/tag678.xml" ContentType="application/vnd.openxmlformats-officedocument.presentationml.tags+xml"/>
  <Override PartName="/ppt/charts/chart487.xml" ContentType="application/vnd.openxmlformats-officedocument.drawingml.chart+xml"/>
  <Override PartName="/ppt/charts/style299.xml" ContentType="application/vnd.ms-office.chartstyle+xml"/>
  <Override PartName="/ppt/charts/colors299.xml" ContentType="application/vnd.ms-office.chartcolorstyle+xml"/>
  <Override PartName="/ppt/tags/tag679.xml" ContentType="application/vnd.openxmlformats-officedocument.presentationml.tags+xml"/>
  <Override PartName="/ppt/charts/chart488.xml" ContentType="application/vnd.openxmlformats-officedocument.drawingml.chart+xml"/>
  <Override PartName="/ppt/charts/style300.xml" ContentType="application/vnd.ms-office.chartstyle+xml"/>
  <Override PartName="/ppt/charts/colors300.xml" ContentType="application/vnd.ms-office.chartcolorstyle+xml"/>
  <Override PartName="/ppt/tags/tag680.xml" ContentType="application/vnd.openxmlformats-officedocument.presentationml.tags+xml"/>
  <Override PartName="/ppt/charts/chart489.xml" ContentType="application/vnd.openxmlformats-officedocument.drawingml.chart+xml"/>
  <Override PartName="/ppt/charts/style301.xml" ContentType="application/vnd.ms-office.chartstyle+xml"/>
  <Override PartName="/ppt/charts/colors301.xml" ContentType="application/vnd.ms-office.chartcolorstyle+xml"/>
  <Override PartName="/ppt/tags/tag681.xml" ContentType="application/vnd.openxmlformats-officedocument.presentationml.tags+xml"/>
  <Override PartName="/ppt/charts/chart490.xml" ContentType="application/vnd.openxmlformats-officedocument.drawingml.chart+xml"/>
  <Override PartName="/ppt/charts/style302.xml" ContentType="application/vnd.ms-office.chartstyle+xml"/>
  <Override PartName="/ppt/charts/colors302.xml" ContentType="application/vnd.ms-office.chartcolorstyle+xml"/>
  <Override PartName="/ppt/tags/tag682.xml" ContentType="application/vnd.openxmlformats-officedocument.presentationml.tags+xml"/>
  <Override PartName="/ppt/charts/chart491.xml" ContentType="application/vnd.openxmlformats-officedocument.drawingml.chart+xml"/>
  <Override PartName="/ppt/charts/style303.xml" ContentType="application/vnd.ms-office.chartstyle+xml"/>
  <Override PartName="/ppt/charts/colors303.xml" ContentType="application/vnd.ms-office.chartcolorstyle+xml"/>
  <Override PartName="/ppt/tags/tag683.xml" ContentType="application/vnd.openxmlformats-officedocument.presentationml.tags+xml"/>
  <Override PartName="/ppt/charts/chart492.xml" ContentType="application/vnd.openxmlformats-officedocument.drawingml.chart+xml"/>
  <Override PartName="/ppt/charts/style304.xml" ContentType="application/vnd.ms-office.chartstyle+xml"/>
  <Override PartName="/ppt/charts/colors304.xml" ContentType="application/vnd.ms-office.chartcolorstyle+xml"/>
  <Override PartName="/ppt/tags/tag684.xml" ContentType="application/vnd.openxmlformats-officedocument.presentationml.tags+xml"/>
  <Override PartName="/ppt/charts/chart493.xml" ContentType="application/vnd.openxmlformats-officedocument.drawingml.chart+xml"/>
  <Override PartName="/ppt/charts/style305.xml" ContentType="application/vnd.ms-office.chartstyle+xml"/>
  <Override PartName="/ppt/charts/colors305.xml" ContentType="application/vnd.ms-office.chartcolorstyle+xml"/>
  <Override PartName="/ppt/tags/tag685.xml" ContentType="application/vnd.openxmlformats-officedocument.presentationml.tags+xml"/>
  <Override PartName="/ppt/charts/chart494.xml" ContentType="application/vnd.openxmlformats-officedocument.drawingml.chart+xml"/>
  <Override PartName="/ppt/charts/style306.xml" ContentType="application/vnd.ms-office.chartstyle+xml"/>
  <Override PartName="/ppt/charts/colors306.xml" ContentType="application/vnd.ms-office.chartcolorstyle+xml"/>
  <Override PartName="/ppt/tags/tag686.xml" ContentType="application/vnd.openxmlformats-officedocument.presentationml.tags+xml"/>
  <Override PartName="/ppt/charts/chart495.xml" ContentType="application/vnd.openxmlformats-officedocument.drawingml.chart+xml"/>
  <Override PartName="/ppt/charts/style307.xml" ContentType="application/vnd.ms-office.chartstyle+xml"/>
  <Override PartName="/ppt/charts/colors307.xml" ContentType="application/vnd.ms-office.chartcolorstyle+xml"/>
  <Override PartName="/ppt/tags/tag687.xml" ContentType="application/vnd.openxmlformats-officedocument.presentationml.tags+xml"/>
  <Override PartName="/ppt/charts/chart496.xml" ContentType="application/vnd.openxmlformats-officedocument.drawingml.chart+xml"/>
  <Override PartName="/ppt/charts/style308.xml" ContentType="application/vnd.ms-office.chartstyle+xml"/>
  <Override PartName="/ppt/charts/colors308.xml" ContentType="application/vnd.ms-office.chartcolorstyle+xml"/>
  <Override PartName="/ppt/tags/tag688.xml" ContentType="application/vnd.openxmlformats-officedocument.presentationml.tags+xml"/>
  <Override PartName="/ppt/charts/chart497.xml" ContentType="application/vnd.openxmlformats-officedocument.drawingml.chart+xml"/>
  <Override PartName="/ppt/charts/style309.xml" ContentType="application/vnd.ms-office.chartstyle+xml"/>
  <Override PartName="/ppt/charts/colors309.xml" ContentType="application/vnd.ms-office.chartcolorstyle+xml"/>
  <Override PartName="/ppt/tags/tag689.xml" ContentType="application/vnd.openxmlformats-officedocument.presentationml.tags+xml"/>
  <Override PartName="/ppt/charts/chart498.xml" ContentType="application/vnd.openxmlformats-officedocument.drawingml.chart+xml"/>
  <Override PartName="/ppt/charts/style310.xml" ContentType="application/vnd.ms-office.chartstyle+xml"/>
  <Override PartName="/ppt/charts/colors310.xml" ContentType="application/vnd.ms-office.chartcolorstyle+xml"/>
  <Override PartName="/ppt/tags/tag690.xml" ContentType="application/vnd.openxmlformats-officedocument.presentationml.tags+xml"/>
  <Override PartName="/ppt/charts/chart499.xml" ContentType="application/vnd.openxmlformats-officedocument.drawingml.chart+xml"/>
  <Override PartName="/ppt/charts/style311.xml" ContentType="application/vnd.ms-office.chartstyle+xml"/>
  <Override PartName="/ppt/charts/colors311.xml" ContentType="application/vnd.ms-office.chartcolorstyle+xml"/>
  <Override PartName="/ppt/tags/tag691.xml" ContentType="application/vnd.openxmlformats-officedocument.presentationml.tags+xml"/>
  <Override PartName="/ppt/charts/chart500.xml" ContentType="application/vnd.openxmlformats-officedocument.drawingml.chart+xml"/>
  <Override PartName="/ppt/charts/style312.xml" ContentType="application/vnd.ms-office.chartstyle+xml"/>
  <Override PartName="/ppt/charts/colors312.xml" ContentType="application/vnd.ms-office.chartcolorstyle+xml"/>
  <Override PartName="/ppt/tags/tag692.xml" ContentType="application/vnd.openxmlformats-officedocument.presentationml.tags+xml"/>
  <Override PartName="/ppt/charts/chart501.xml" ContentType="application/vnd.openxmlformats-officedocument.drawingml.chart+xml"/>
  <Override PartName="/ppt/charts/style313.xml" ContentType="application/vnd.ms-office.chartstyle+xml"/>
  <Override PartName="/ppt/charts/colors313.xml" ContentType="application/vnd.ms-office.chartcolorstyle+xml"/>
  <Override PartName="/ppt/tags/tag693.xml" ContentType="application/vnd.openxmlformats-officedocument.presentationml.tags+xml"/>
  <Override PartName="/ppt/charts/chart502.xml" ContentType="application/vnd.openxmlformats-officedocument.drawingml.chart+xml"/>
  <Override PartName="/ppt/charts/style314.xml" ContentType="application/vnd.ms-office.chartstyle+xml"/>
  <Override PartName="/ppt/charts/colors314.xml" ContentType="application/vnd.ms-office.chartcolorstyle+xml"/>
  <Override PartName="/ppt/tags/tag694.xml" ContentType="application/vnd.openxmlformats-officedocument.presentationml.tags+xml"/>
  <Override PartName="/ppt/charts/chart503.xml" ContentType="application/vnd.openxmlformats-officedocument.drawingml.chart+xml"/>
  <Override PartName="/ppt/charts/style315.xml" ContentType="application/vnd.ms-office.chartstyle+xml"/>
  <Override PartName="/ppt/charts/colors315.xml" ContentType="application/vnd.ms-office.chartcolorstyle+xml"/>
  <Override PartName="/ppt/tags/tag695.xml" ContentType="application/vnd.openxmlformats-officedocument.presentationml.tags+xml"/>
  <Override PartName="/ppt/charts/chart504.xml" ContentType="application/vnd.openxmlformats-officedocument.drawingml.chart+xml"/>
  <Override PartName="/ppt/charts/style316.xml" ContentType="application/vnd.ms-office.chartstyle+xml"/>
  <Override PartName="/ppt/charts/colors316.xml" ContentType="application/vnd.ms-office.chartcolorstyle+xml"/>
  <Override PartName="/ppt/tags/tag696.xml" ContentType="application/vnd.openxmlformats-officedocument.presentationml.tags+xml"/>
  <Override PartName="/ppt/charts/chart505.xml" ContentType="application/vnd.openxmlformats-officedocument.drawingml.chart+xml"/>
  <Override PartName="/ppt/charts/style317.xml" ContentType="application/vnd.ms-office.chartstyle+xml"/>
  <Override PartName="/ppt/charts/colors317.xml" ContentType="application/vnd.ms-office.chartcolorstyle+xml"/>
  <Override PartName="/ppt/tags/tag697.xml" ContentType="application/vnd.openxmlformats-officedocument.presentationml.tags+xml"/>
  <Override PartName="/ppt/charts/chart506.xml" ContentType="application/vnd.openxmlformats-officedocument.drawingml.chart+xml"/>
  <Override PartName="/ppt/charts/style318.xml" ContentType="application/vnd.ms-office.chartstyle+xml"/>
  <Override PartName="/ppt/charts/colors318.xml" ContentType="application/vnd.ms-office.chartcolorstyle+xml"/>
  <Override PartName="/ppt/tags/tag698.xml" ContentType="application/vnd.openxmlformats-officedocument.presentationml.tags+xml"/>
  <Override PartName="/ppt/charts/chart507.xml" ContentType="application/vnd.openxmlformats-officedocument.drawingml.chart+xml"/>
  <Override PartName="/ppt/charts/style319.xml" ContentType="application/vnd.ms-office.chartstyle+xml"/>
  <Override PartName="/ppt/charts/colors319.xml" ContentType="application/vnd.ms-office.chartcolorstyle+xml"/>
  <Override PartName="/ppt/tags/tag699.xml" ContentType="application/vnd.openxmlformats-officedocument.presentationml.tags+xml"/>
  <Override PartName="/ppt/charts/chart508.xml" ContentType="application/vnd.openxmlformats-officedocument.drawingml.chart+xml"/>
  <Override PartName="/ppt/charts/style320.xml" ContentType="application/vnd.ms-office.chartstyle+xml"/>
  <Override PartName="/ppt/charts/colors320.xml" ContentType="application/vnd.ms-office.chartcolorstyle+xml"/>
  <Override PartName="/ppt/tags/tag700.xml" ContentType="application/vnd.openxmlformats-officedocument.presentationml.tags+xml"/>
  <Override PartName="/ppt/charts/chart509.xml" ContentType="application/vnd.openxmlformats-officedocument.drawingml.chart+xml"/>
  <Override PartName="/ppt/charts/style321.xml" ContentType="application/vnd.ms-office.chartstyle+xml"/>
  <Override PartName="/ppt/charts/colors321.xml" ContentType="application/vnd.ms-office.chartcolorstyle+xml"/>
  <Override PartName="/ppt/tags/tag701.xml" ContentType="application/vnd.openxmlformats-officedocument.presentationml.tags+xml"/>
  <Override PartName="/ppt/charts/chart510.xml" ContentType="application/vnd.openxmlformats-officedocument.drawingml.chart+xml"/>
  <Override PartName="/ppt/charts/style322.xml" ContentType="application/vnd.ms-office.chartstyle+xml"/>
  <Override PartName="/ppt/charts/colors322.xml" ContentType="application/vnd.ms-office.chartcolorstyle+xml"/>
  <Override PartName="/ppt/tags/tag702.xml" ContentType="application/vnd.openxmlformats-officedocument.presentationml.tags+xml"/>
  <Override PartName="/ppt/charts/chart511.xml" ContentType="application/vnd.openxmlformats-officedocument.drawingml.chart+xml"/>
  <Override PartName="/ppt/charts/style323.xml" ContentType="application/vnd.ms-office.chartstyle+xml"/>
  <Override PartName="/ppt/charts/colors323.xml" ContentType="application/vnd.ms-office.chartcolorstyle+xml"/>
  <Override PartName="/ppt/tags/tag703.xml" ContentType="application/vnd.openxmlformats-officedocument.presentationml.tags+xml"/>
  <Override PartName="/ppt/charts/chart512.xml" ContentType="application/vnd.openxmlformats-officedocument.drawingml.chart+xml"/>
  <Override PartName="/ppt/charts/style324.xml" ContentType="application/vnd.ms-office.chartstyle+xml"/>
  <Override PartName="/ppt/charts/colors324.xml" ContentType="application/vnd.ms-office.chartcolorstyle+xml"/>
  <Override PartName="/ppt/tags/tag704.xml" ContentType="application/vnd.openxmlformats-officedocument.presentationml.tags+xml"/>
  <Override PartName="/ppt/charts/chart513.xml" ContentType="application/vnd.openxmlformats-officedocument.drawingml.chart+xml"/>
  <Override PartName="/ppt/charts/style325.xml" ContentType="application/vnd.ms-office.chartstyle+xml"/>
  <Override PartName="/ppt/charts/colors325.xml" ContentType="application/vnd.ms-office.chartcolorstyle+xml"/>
  <Override PartName="/ppt/tags/tag705.xml" ContentType="application/vnd.openxmlformats-officedocument.presentationml.tags+xml"/>
  <Override PartName="/ppt/charts/chart514.xml" ContentType="application/vnd.openxmlformats-officedocument.drawingml.chart+xml"/>
  <Override PartName="/ppt/charts/style326.xml" ContentType="application/vnd.ms-office.chartstyle+xml"/>
  <Override PartName="/ppt/charts/colors326.xml" ContentType="application/vnd.ms-office.chartcolorstyle+xml"/>
  <Override PartName="/ppt/tags/tag706.xml" ContentType="application/vnd.openxmlformats-officedocument.presentationml.tags+xml"/>
  <Override PartName="/ppt/charts/chart515.xml" ContentType="application/vnd.openxmlformats-officedocument.drawingml.chart+xml"/>
  <Override PartName="/ppt/charts/style327.xml" ContentType="application/vnd.ms-office.chartstyle+xml"/>
  <Override PartName="/ppt/charts/colors327.xml" ContentType="application/vnd.ms-office.chartcolorstyle+xml"/>
  <Override PartName="/ppt/tags/tag707.xml" ContentType="application/vnd.openxmlformats-officedocument.presentationml.tags+xml"/>
  <Override PartName="/ppt/charts/chart516.xml" ContentType="application/vnd.openxmlformats-officedocument.drawingml.chart+xml"/>
  <Override PartName="/ppt/charts/style328.xml" ContentType="application/vnd.ms-office.chartstyle+xml"/>
  <Override PartName="/ppt/charts/colors328.xml" ContentType="application/vnd.ms-office.chartcolorstyle+xml"/>
  <Override PartName="/ppt/tags/tag708.xml" ContentType="application/vnd.openxmlformats-officedocument.presentationml.tags+xml"/>
  <Override PartName="/ppt/charts/chart517.xml" ContentType="application/vnd.openxmlformats-officedocument.drawingml.chart+xml"/>
  <Override PartName="/ppt/charts/style329.xml" ContentType="application/vnd.ms-office.chartstyle+xml"/>
  <Override PartName="/ppt/charts/colors329.xml" ContentType="application/vnd.ms-office.chartcolorstyle+xml"/>
  <Override PartName="/ppt/tags/tag709.xml" ContentType="application/vnd.openxmlformats-officedocument.presentationml.tags+xml"/>
  <Override PartName="/ppt/charts/chart518.xml" ContentType="application/vnd.openxmlformats-officedocument.drawingml.chart+xml"/>
  <Override PartName="/ppt/charts/style330.xml" ContentType="application/vnd.ms-office.chartstyle+xml"/>
  <Override PartName="/ppt/charts/colors330.xml" ContentType="application/vnd.ms-office.chartcolorstyle+xml"/>
  <Override PartName="/ppt/tags/tag710.xml" ContentType="application/vnd.openxmlformats-officedocument.presentationml.tags+xml"/>
  <Override PartName="/ppt/charts/chart519.xml" ContentType="application/vnd.openxmlformats-officedocument.drawingml.chart+xml"/>
  <Override PartName="/ppt/charts/style331.xml" ContentType="application/vnd.ms-office.chartstyle+xml"/>
  <Override PartName="/ppt/charts/colors331.xml" ContentType="application/vnd.ms-office.chartcolorstyle+xml"/>
  <Override PartName="/ppt/tags/tag711.xml" ContentType="application/vnd.openxmlformats-officedocument.presentationml.tags+xml"/>
  <Override PartName="/ppt/charts/chart520.xml" ContentType="application/vnd.openxmlformats-officedocument.drawingml.chart+xml"/>
  <Override PartName="/ppt/charts/style332.xml" ContentType="application/vnd.ms-office.chartstyle+xml"/>
  <Override PartName="/ppt/charts/colors332.xml" ContentType="application/vnd.ms-office.chartcolorstyle+xml"/>
  <Override PartName="/ppt/tags/tag712.xml" ContentType="application/vnd.openxmlformats-officedocument.presentationml.tags+xml"/>
  <Override PartName="/ppt/charts/chart521.xml" ContentType="application/vnd.openxmlformats-officedocument.drawingml.chart+xml"/>
  <Override PartName="/ppt/charts/style333.xml" ContentType="application/vnd.ms-office.chartstyle+xml"/>
  <Override PartName="/ppt/charts/colors333.xml" ContentType="application/vnd.ms-office.chartcolorstyle+xml"/>
  <Override PartName="/ppt/tags/tag713.xml" ContentType="application/vnd.openxmlformats-officedocument.presentationml.tags+xml"/>
  <Override PartName="/ppt/charts/chart522.xml" ContentType="application/vnd.openxmlformats-officedocument.drawingml.chart+xml"/>
  <Override PartName="/ppt/charts/style334.xml" ContentType="application/vnd.ms-office.chartstyle+xml"/>
  <Override PartName="/ppt/charts/colors334.xml" ContentType="application/vnd.ms-office.chartcolorstyle+xml"/>
  <Override PartName="/ppt/tags/tag714.xml" ContentType="application/vnd.openxmlformats-officedocument.presentationml.tags+xml"/>
  <Override PartName="/ppt/charts/chart523.xml" ContentType="application/vnd.openxmlformats-officedocument.drawingml.chart+xml"/>
  <Override PartName="/ppt/charts/style335.xml" ContentType="application/vnd.ms-office.chartstyle+xml"/>
  <Override PartName="/ppt/charts/colors335.xml" ContentType="application/vnd.ms-office.chartcolorstyle+xml"/>
  <Override PartName="/ppt/tags/tag715.xml" ContentType="application/vnd.openxmlformats-officedocument.presentationml.tags+xml"/>
  <Override PartName="/ppt/charts/chart524.xml" ContentType="application/vnd.openxmlformats-officedocument.drawingml.chart+xml"/>
  <Override PartName="/ppt/charts/style336.xml" ContentType="application/vnd.ms-office.chartstyle+xml"/>
  <Override PartName="/ppt/charts/colors336.xml" ContentType="application/vnd.ms-office.chartcolorstyle+xml"/>
  <Override PartName="/ppt/tags/tag716.xml" ContentType="application/vnd.openxmlformats-officedocument.presentationml.tags+xml"/>
  <Override PartName="/ppt/charts/chart525.xml" ContentType="application/vnd.openxmlformats-officedocument.drawingml.chart+xml"/>
  <Override PartName="/ppt/charts/style337.xml" ContentType="application/vnd.ms-office.chartstyle+xml"/>
  <Override PartName="/ppt/charts/colors337.xml" ContentType="application/vnd.ms-office.chartcolorstyle+xml"/>
  <Override PartName="/ppt/tags/tag717.xml" ContentType="application/vnd.openxmlformats-officedocument.presentationml.tags+xml"/>
  <Override PartName="/ppt/charts/chart526.xml" ContentType="application/vnd.openxmlformats-officedocument.drawingml.chart+xml"/>
  <Override PartName="/ppt/charts/style338.xml" ContentType="application/vnd.ms-office.chartstyle+xml"/>
  <Override PartName="/ppt/charts/colors338.xml" ContentType="application/vnd.ms-office.chartcolorstyle+xml"/>
  <Override PartName="/ppt/tags/tag718.xml" ContentType="application/vnd.openxmlformats-officedocument.presentationml.tags+xml"/>
  <Override PartName="/ppt/charts/chart527.xml" ContentType="application/vnd.openxmlformats-officedocument.drawingml.chart+xml"/>
  <Override PartName="/ppt/charts/style339.xml" ContentType="application/vnd.ms-office.chartstyle+xml"/>
  <Override PartName="/ppt/charts/colors339.xml" ContentType="application/vnd.ms-office.chartcolorstyle+xml"/>
  <Override PartName="/ppt/tags/tag719.xml" ContentType="application/vnd.openxmlformats-officedocument.presentationml.tags+xml"/>
  <Override PartName="/ppt/charts/chart528.xml" ContentType="application/vnd.openxmlformats-officedocument.drawingml.chart+xml"/>
  <Override PartName="/ppt/charts/style340.xml" ContentType="application/vnd.ms-office.chartstyle+xml"/>
  <Override PartName="/ppt/charts/colors340.xml" ContentType="application/vnd.ms-office.chartcolorstyle+xml"/>
  <Override PartName="/ppt/tags/tag720.xml" ContentType="application/vnd.openxmlformats-officedocument.presentationml.tags+xml"/>
  <Override PartName="/ppt/charts/chart529.xml" ContentType="application/vnd.openxmlformats-officedocument.drawingml.chart+xml"/>
  <Override PartName="/ppt/charts/style341.xml" ContentType="application/vnd.ms-office.chartstyle+xml"/>
  <Override PartName="/ppt/charts/colors341.xml" ContentType="application/vnd.ms-office.chartcolorstyle+xml"/>
  <Override PartName="/ppt/tags/tag721.xml" ContentType="application/vnd.openxmlformats-officedocument.presentationml.tags+xml"/>
  <Override PartName="/ppt/charts/chart530.xml" ContentType="application/vnd.openxmlformats-officedocument.drawingml.chart+xml"/>
  <Override PartName="/ppt/charts/style342.xml" ContentType="application/vnd.ms-office.chartstyle+xml"/>
  <Override PartName="/ppt/charts/colors342.xml" ContentType="application/vnd.ms-office.chartcolorstyle+xml"/>
  <Override PartName="/ppt/tags/tag722.xml" ContentType="application/vnd.openxmlformats-officedocument.presentationml.tags+xml"/>
  <Override PartName="/ppt/charts/chart531.xml" ContentType="application/vnd.openxmlformats-officedocument.drawingml.chart+xml"/>
  <Override PartName="/ppt/charts/style343.xml" ContentType="application/vnd.ms-office.chartstyle+xml"/>
  <Override PartName="/ppt/charts/colors343.xml" ContentType="application/vnd.ms-office.chartcolorstyle+xml"/>
  <Override PartName="/ppt/tags/tag723.xml" ContentType="application/vnd.openxmlformats-officedocument.presentationml.tags+xml"/>
  <Override PartName="/ppt/charts/chart532.xml" ContentType="application/vnd.openxmlformats-officedocument.drawingml.chart+xml"/>
  <Override PartName="/ppt/charts/style344.xml" ContentType="application/vnd.ms-office.chartstyle+xml"/>
  <Override PartName="/ppt/charts/colors344.xml" ContentType="application/vnd.ms-office.chartcolorstyle+xml"/>
  <Override PartName="/ppt/tags/tag724.xml" ContentType="application/vnd.openxmlformats-officedocument.presentationml.tags+xml"/>
  <Override PartName="/ppt/charts/chart533.xml" ContentType="application/vnd.openxmlformats-officedocument.drawingml.chart+xml"/>
  <Override PartName="/ppt/charts/style345.xml" ContentType="application/vnd.ms-office.chartstyle+xml"/>
  <Override PartName="/ppt/charts/colors345.xml" ContentType="application/vnd.ms-office.chartcolorstyle+xml"/>
  <Override PartName="/ppt/tags/tag725.xml" ContentType="application/vnd.openxmlformats-officedocument.presentationml.tags+xml"/>
  <Override PartName="/ppt/charts/chart534.xml" ContentType="application/vnd.openxmlformats-officedocument.drawingml.chart+xml"/>
  <Override PartName="/ppt/charts/style346.xml" ContentType="application/vnd.ms-office.chartstyle+xml"/>
  <Override PartName="/ppt/charts/colors346.xml" ContentType="application/vnd.ms-office.chartcolorstyle+xml"/>
  <Override PartName="/ppt/tags/tag726.xml" ContentType="application/vnd.openxmlformats-officedocument.presentationml.tags+xml"/>
  <Override PartName="/ppt/charts/chart535.xml" ContentType="application/vnd.openxmlformats-officedocument.drawingml.chart+xml"/>
  <Override PartName="/ppt/charts/style347.xml" ContentType="application/vnd.ms-office.chartstyle+xml"/>
  <Override PartName="/ppt/charts/colors347.xml" ContentType="application/vnd.ms-office.chartcolorstyle+xml"/>
  <Override PartName="/ppt/tags/tag727.xml" ContentType="application/vnd.openxmlformats-officedocument.presentationml.tags+xml"/>
  <Override PartName="/ppt/charts/chart536.xml" ContentType="application/vnd.openxmlformats-officedocument.drawingml.chart+xml"/>
  <Override PartName="/ppt/charts/style348.xml" ContentType="application/vnd.ms-office.chartstyle+xml"/>
  <Override PartName="/ppt/charts/colors348.xml" ContentType="application/vnd.ms-office.chartcolorstyle+xml"/>
  <Override PartName="/ppt/tags/tag728.xml" ContentType="application/vnd.openxmlformats-officedocument.presentationml.tags+xml"/>
  <Override PartName="/ppt/charts/chart537.xml" ContentType="application/vnd.openxmlformats-officedocument.drawingml.chart+xml"/>
  <Override PartName="/ppt/charts/style349.xml" ContentType="application/vnd.ms-office.chartstyle+xml"/>
  <Override PartName="/ppt/charts/colors349.xml" ContentType="application/vnd.ms-office.chartcolorstyle+xml"/>
  <Override PartName="/ppt/tags/tag729.xml" ContentType="application/vnd.openxmlformats-officedocument.presentationml.tags+xml"/>
  <Override PartName="/ppt/charts/chart538.xml" ContentType="application/vnd.openxmlformats-officedocument.drawingml.chart+xml"/>
  <Override PartName="/ppt/charts/style350.xml" ContentType="application/vnd.ms-office.chartstyle+xml"/>
  <Override PartName="/ppt/charts/colors350.xml" ContentType="application/vnd.ms-office.chartcolorstyle+xml"/>
  <Override PartName="/ppt/tags/tag730.xml" ContentType="application/vnd.openxmlformats-officedocument.presentationml.tags+xml"/>
  <Override PartName="/ppt/charts/chart539.xml" ContentType="application/vnd.openxmlformats-officedocument.drawingml.chart+xml"/>
  <Override PartName="/ppt/charts/style351.xml" ContentType="application/vnd.ms-office.chartstyle+xml"/>
  <Override PartName="/ppt/charts/colors351.xml" ContentType="application/vnd.ms-office.chartcolorstyle+xml"/>
  <Override PartName="/ppt/tags/tag731.xml" ContentType="application/vnd.openxmlformats-officedocument.presentationml.tags+xml"/>
  <Override PartName="/ppt/charts/chart540.xml" ContentType="application/vnd.openxmlformats-officedocument.drawingml.chart+xml"/>
  <Override PartName="/ppt/charts/style352.xml" ContentType="application/vnd.ms-office.chartstyle+xml"/>
  <Override PartName="/ppt/charts/colors352.xml" ContentType="application/vnd.ms-office.chartcolorstyle+xml"/>
  <Override PartName="/ppt/tags/tag732.xml" ContentType="application/vnd.openxmlformats-officedocument.presentationml.tags+xml"/>
  <Override PartName="/ppt/charts/chart541.xml" ContentType="application/vnd.openxmlformats-officedocument.drawingml.chart+xml"/>
  <Override PartName="/ppt/charts/style353.xml" ContentType="application/vnd.ms-office.chartstyle+xml"/>
  <Override PartName="/ppt/charts/colors353.xml" ContentType="application/vnd.ms-office.chartcolorstyle+xml"/>
  <Override PartName="/ppt/tags/tag733.xml" ContentType="application/vnd.openxmlformats-officedocument.presentationml.tags+xml"/>
  <Override PartName="/ppt/charts/chart542.xml" ContentType="application/vnd.openxmlformats-officedocument.drawingml.chart+xml"/>
  <Override PartName="/ppt/charts/style354.xml" ContentType="application/vnd.ms-office.chartstyle+xml"/>
  <Override PartName="/ppt/charts/colors354.xml" ContentType="application/vnd.ms-office.chartcolorstyle+xml"/>
  <Override PartName="/ppt/tags/tag734.xml" ContentType="application/vnd.openxmlformats-officedocument.presentationml.tags+xml"/>
  <Override PartName="/ppt/charts/chart543.xml" ContentType="application/vnd.openxmlformats-officedocument.drawingml.chart+xml"/>
  <Override PartName="/ppt/charts/style355.xml" ContentType="application/vnd.ms-office.chartstyle+xml"/>
  <Override PartName="/ppt/charts/colors355.xml" ContentType="application/vnd.ms-office.chartcolorstyle+xml"/>
  <Override PartName="/ppt/tags/tag735.xml" ContentType="application/vnd.openxmlformats-officedocument.presentationml.tags+xml"/>
  <Override PartName="/ppt/charts/chart544.xml" ContentType="application/vnd.openxmlformats-officedocument.drawingml.chart+xml"/>
  <Override PartName="/ppt/charts/style356.xml" ContentType="application/vnd.ms-office.chartstyle+xml"/>
  <Override PartName="/ppt/charts/colors356.xml" ContentType="application/vnd.ms-office.chartcolorstyle+xml"/>
  <Override PartName="/ppt/tags/tag736.xml" ContentType="application/vnd.openxmlformats-officedocument.presentationml.tags+xml"/>
  <Override PartName="/ppt/charts/chart545.xml" ContentType="application/vnd.openxmlformats-officedocument.drawingml.chart+xml"/>
  <Override PartName="/ppt/charts/style357.xml" ContentType="application/vnd.ms-office.chartstyle+xml"/>
  <Override PartName="/ppt/charts/colors357.xml" ContentType="application/vnd.ms-office.chartcolorstyle+xml"/>
  <Override PartName="/ppt/tags/tag737.xml" ContentType="application/vnd.openxmlformats-officedocument.presentationml.tags+xml"/>
  <Override PartName="/ppt/charts/chart546.xml" ContentType="application/vnd.openxmlformats-officedocument.drawingml.chart+xml"/>
  <Override PartName="/ppt/charts/style358.xml" ContentType="application/vnd.ms-office.chartstyle+xml"/>
  <Override PartName="/ppt/charts/colors358.xml" ContentType="application/vnd.ms-office.chartcolorstyle+xml"/>
  <Override PartName="/ppt/tags/tag738.xml" ContentType="application/vnd.openxmlformats-officedocument.presentationml.tags+xml"/>
  <Override PartName="/ppt/charts/chart547.xml" ContentType="application/vnd.openxmlformats-officedocument.drawingml.chart+xml"/>
  <Override PartName="/ppt/charts/style359.xml" ContentType="application/vnd.ms-office.chartstyle+xml"/>
  <Override PartName="/ppt/charts/colors359.xml" ContentType="application/vnd.ms-office.chartcolorstyle+xml"/>
  <Override PartName="/ppt/tags/tag739.xml" ContentType="application/vnd.openxmlformats-officedocument.presentationml.tags+xml"/>
  <Override PartName="/ppt/charts/chart548.xml" ContentType="application/vnd.openxmlformats-officedocument.drawingml.chart+xml"/>
  <Override PartName="/ppt/charts/style360.xml" ContentType="application/vnd.ms-office.chartstyle+xml"/>
  <Override PartName="/ppt/charts/colors360.xml" ContentType="application/vnd.ms-office.chartcolorstyle+xml"/>
  <Override PartName="/ppt/tags/tag740.xml" ContentType="application/vnd.openxmlformats-officedocument.presentationml.tags+xml"/>
  <Override PartName="/ppt/charts/chart549.xml" ContentType="application/vnd.openxmlformats-officedocument.drawingml.chart+xml"/>
  <Override PartName="/ppt/charts/style361.xml" ContentType="application/vnd.ms-office.chartstyle+xml"/>
  <Override PartName="/ppt/charts/colors361.xml" ContentType="application/vnd.ms-office.chartcolorstyle+xml"/>
  <Override PartName="/ppt/tags/tag741.xml" ContentType="application/vnd.openxmlformats-officedocument.presentationml.tags+xml"/>
  <Override PartName="/ppt/charts/chart550.xml" ContentType="application/vnd.openxmlformats-officedocument.drawingml.chart+xml"/>
  <Override PartName="/ppt/charts/style362.xml" ContentType="application/vnd.ms-office.chartstyle+xml"/>
  <Override PartName="/ppt/charts/colors362.xml" ContentType="application/vnd.ms-office.chartcolorstyle+xml"/>
  <Override PartName="/ppt/tags/tag742.xml" ContentType="application/vnd.openxmlformats-officedocument.presentationml.tags+xml"/>
  <Override PartName="/ppt/charts/chart551.xml" ContentType="application/vnd.openxmlformats-officedocument.drawingml.chart+xml"/>
  <Override PartName="/ppt/charts/style363.xml" ContentType="application/vnd.ms-office.chartstyle+xml"/>
  <Override PartName="/ppt/charts/colors363.xml" ContentType="application/vnd.ms-office.chartcolorstyle+xml"/>
  <Override PartName="/ppt/tags/tag743.xml" ContentType="application/vnd.openxmlformats-officedocument.presentationml.tags+xml"/>
  <Override PartName="/ppt/charts/chart552.xml" ContentType="application/vnd.openxmlformats-officedocument.drawingml.chart+xml"/>
  <Override PartName="/ppt/charts/style364.xml" ContentType="application/vnd.ms-office.chartstyle+xml"/>
  <Override PartName="/ppt/charts/colors364.xml" ContentType="application/vnd.ms-office.chartcolorstyle+xml"/>
  <Override PartName="/ppt/tags/tag744.xml" ContentType="application/vnd.openxmlformats-officedocument.presentationml.tags+xml"/>
  <Override PartName="/ppt/charts/chart553.xml" ContentType="application/vnd.openxmlformats-officedocument.drawingml.chart+xml"/>
  <Override PartName="/ppt/charts/style365.xml" ContentType="application/vnd.ms-office.chartstyle+xml"/>
  <Override PartName="/ppt/charts/colors365.xml" ContentType="application/vnd.ms-office.chartcolorstyle+xml"/>
  <Override PartName="/ppt/tags/tag745.xml" ContentType="application/vnd.openxmlformats-officedocument.presentationml.tags+xml"/>
  <Override PartName="/ppt/notesSlides/notesSlide313.xml" ContentType="application/vnd.openxmlformats-officedocument.presentationml.notesSlide+xml"/>
  <Override PartName="/ppt/charts/chart554.xml" ContentType="application/vnd.openxmlformats-officedocument.drawingml.chart+xml"/>
  <Override PartName="/ppt/tags/tag746.xml" ContentType="application/vnd.openxmlformats-officedocument.presentationml.tags+xml"/>
  <Override PartName="/ppt/notesSlides/notesSlide314.xml" ContentType="application/vnd.openxmlformats-officedocument.presentationml.notesSlide+xml"/>
  <Override PartName="/ppt/charts/chart555.xml" ContentType="application/vnd.openxmlformats-officedocument.drawingml.chart+xml"/>
  <Override PartName="/ppt/tags/tag747.xml" ContentType="application/vnd.openxmlformats-officedocument.presentationml.tags+xml"/>
  <Override PartName="/ppt/notesSlides/notesSlide315.xml" ContentType="application/vnd.openxmlformats-officedocument.presentationml.notesSlide+xml"/>
  <Override PartName="/ppt/charts/chart556.xml" ContentType="application/vnd.openxmlformats-officedocument.drawingml.chart+xml"/>
  <Override PartName="/ppt/tags/tag748.xml" ContentType="application/vnd.openxmlformats-officedocument.presentationml.tags+xml"/>
  <Override PartName="/ppt/notesSlides/notesSlide316.xml" ContentType="application/vnd.openxmlformats-officedocument.presentationml.notesSlide+xml"/>
  <Override PartName="/ppt/charts/chart557.xml" ContentType="application/vnd.openxmlformats-officedocument.drawingml.chart+xml"/>
  <Override PartName="/ppt/tags/tag749.xml" ContentType="application/vnd.openxmlformats-officedocument.presentationml.tags+xml"/>
  <Override PartName="/ppt/notesSlides/notesSlide317.xml" ContentType="application/vnd.openxmlformats-officedocument.presentationml.notesSlide+xml"/>
  <Override PartName="/ppt/charts/chart558.xml" ContentType="application/vnd.openxmlformats-officedocument.drawingml.chart+xml"/>
  <Override PartName="/ppt/tags/tag750.xml" ContentType="application/vnd.openxmlformats-officedocument.presentationml.tags+xml"/>
  <Override PartName="/ppt/notesSlides/notesSlide318.xml" ContentType="application/vnd.openxmlformats-officedocument.presentationml.notesSlide+xml"/>
  <Override PartName="/ppt/charts/chart559.xml" ContentType="application/vnd.openxmlformats-officedocument.drawingml.chart+xml"/>
  <Override PartName="/ppt/tags/tag751.xml" ContentType="application/vnd.openxmlformats-officedocument.presentationml.tags+xml"/>
  <Override PartName="/ppt/notesSlides/notesSlide319.xml" ContentType="application/vnd.openxmlformats-officedocument.presentationml.notesSlide+xml"/>
  <Override PartName="/ppt/charts/chart560.xml" ContentType="application/vnd.openxmlformats-officedocument.drawingml.chart+xml"/>
  <Override PartName="/ppt/tags/tag752.xml" ContentType="application/vnd.openxmlformats-officedocument.presentationml.tags+xml"/>
  <Override PartName="/ppt/notesSlides/notesSlide320.xml" ContentType="application/vnd.openxmlformats-officedocument.presentationml.notesSlide+xml"/>
  <Override PartName="/ppt/charts/chart561.xml" ContentType="application/vnd.openxmlformats-officedocument.drawingml.chart+xml"/>
  <Override PartName="/ppt/tags/tag753.xml" ContentType="application/vnd.openxmlformats-officedocument.presentationml.tags+xml"/>
  <Override PartName="/ppt/notesSlides/notesSlide321.xml" ContentType="application/vnd.openxmlformats-officedocument.presentationml.notesSlide+xml"/>
  <Override PartName="/ppt/charts/chart562.xml" ContentType="application/vnd.openxmlformats-officedocument.drawingml.chart+xml"/>
  <Override PartName="/ppt/tags/tag754.xml" ContentType="application/vnd.openxmlformats-officedocument.presentationml.tags+xml"/>
  <Override PartName="/ppt/notesSlides/notesSlide322.xml" ContentType="application/vnd.openxmlformats-officedocument.presentationml.notesSlide+xml"/>
  <Override PartName="/ppt/charts/chart563.xml" ContentType="application/vnd.openxmlformats-officedocument.drawingml.chart+xml"/>
  <Override PartName="/ppt/tags/tag755.xml" ContentType="application/vnd.openxmlformats-officedocument.presentationml.tags+xml"/>
  <Override PartName="/ppt/notesSlides/notesSlide323.xml" ContentType="application/vnd.openxmlformats-officedocument.presentationml.notesSlide+xml"/>
  <Override PartName="/ppt/charts/chart564.xml" ContentType="application/vnd.openxmlformats-officedocument.drawingml.chart+xml"/>
  <Override PartName="/ppt/tags/tag756.xml" ContentType="application/vnd.openxmlformats-officedocument.presentationml.tags+xml"/>
  <Override PartName="/ppt/notesSlides/notesSlide324.xml" ContentType="application/vnd.openxmlformats-officedocument.presentationml.notesSlide+xml"/>
  <Override PartName="/ppt/charts/chart565.xml" ContentType="application/vnd.openxmlformats-officedocument.drawingml.chart+xml"/>
  <Override PartName="/ppt/tags/tag757.xml" ContentType="application/vnd.openxmlformats-officedocument.presentationml.tags+xml"/>
  <Override PartName="/ppt/notesSlides/notesSlide325.xml" ContentType="application/vnd.openxmlformats-officedocument.presentationml.notesSlide+xml"/>
  <Override PartName="/ppt/charts/chart566.xml" ContentType="application/vnd.openxmlformats-officedocument.drawingml.chart+xml"/>
  <Override PartName="/ppt/tags/tag758.xml" ContentType="application/vnd.openxmlformats-officedocument.presentationml.tags+xml"/>
  <Override PartName="/ppt/notesSlides/notesSlide326.xml" ContentType="application/vnd.openxmlformats-officedocument.presentationml.notesSlide+xml"/>
  <Override PartName="/ppt/charts/chart567.xml" ContentType="application/vnd.openxmlformats-officedocument.drawingml.chart+xml"/>
  <Override PartName="/ppt/tags/tag759.xml" ContentType="application/vnd.openxmlformats-officedocument.presentationml.tags+xml"/>
  <Override PartName="/ppt/notesSlides/notesSlide327.xml" ContentType="application/vnd.openxmlformats-officedocument.presentationml.notesSlide+xml"/>
  <Override PartName="/ppt/charts/chart568.xml" ContentType="application/vnd.openxmlformats-officedocument.drawingml.chart+xml"/>
  <Override PartName="/ppt/tags/tag760.xml" ContentType="application/vnd.openxmlformats-officedocument.presentationml.tags+xml"/>
  <Override PartName="/ppt/notesSlides/notesSlide328.xml" ContentType="application/vnd.openxmlformats-officedocument.presentationml.notesSlide+xml"/>
  <Override PartName="/ppt/charts/chart569.xml" ContentType="application/vnd.openxmlformats-officedocument.drawingml.chart+xml"/>
  <Override PartName="/ppt/tags/tag761.xml" ContentType="application/vnd.openxmlformats-officedocument.presentationml.tags+xml"/>
  <Override PartName="/ppt/notesSlides/notesSlide329.xml" ContentType="application/vnd.openxmlformats-officedocument.presentationml.notesSlide+xml"/>
  <Override PartName="/ppt/charts/chart570.xml" ContentType="application/vnd.openxmlformats-officedocument.drawingml.chart+xml"/>
  <Override PartName="/ppt/tags/tag762.xml" ContentType="application/vnd.openxmlformats-officedocument.presentationml.tags+xml"/>
  <Override PartName="/ppt/notesSlides/notesSlide330.xml" ContentType="application/vnd.openxmlformats-officedocument.presentationml.notesSlide+xml"/>
  <Override PartName="/ppt/charts/chart571.xml" ContentType="application/vnd.openxmlformats-officedocument.drawingml.chart+xml"/>
  <Override PartName="/ppt/tags/tag763.xml" ContentType="application/vnd.openxmlformats-officedocument.presentationml.tags+xml"/>
  <Override PartName="/ppt/notesSlides/notesSlide331.xml" ContentType="application/vnd.openxmlformats-officedocument.presentationml.notesSlide+xml"/>
  <Override PartName="/ppt/charts/chart572.xml" ContentType="application/vnd.openxmlformats-officedocument.drawingml.chart+xml"/>
  <Override PartName="/ppt/tags/tag764.xml" ContentType="application/vnd.openxmlformats-officedocument.presentationml.tags+xml"/>
  <Override PartName="/ppt/notesSlides/notesSlide332.xml" ContentType="application/vnd.openxmlformats-officedocument.presentationml.notesSlide+xml"/>
  <Override PartName="/ppt/charts/chart573.xml" ContentType="application/vnd.openxmlformats-officedocument.drawingml.chart+xml"/>
  <Override PartName="/ppt/tags/tag765.xml" ContentType="application/vnd.openxmlformats-officedocument.presentationml.tags+xml"/>
  <Override PartName="/ppt/notesSlides/notesSlide333.xml" ContentType="application/vnd.openxmlformats-officedocument.presentationml.notesSlide+xml"/>
  <Override PartName="/ppt/charts/chart574.xml" ContentType="application/vnd.openxmlformats-officedocument.drawingml.chart+xml"/>
  <Override PartName="/ppt/tags/tag766.xml" ContentType="application/vnd.openxmlformats-officedocument.presentationml.tags+xml"/>
  <Override PartName="/ppt/notesSlides/notesSlide334.xml" ContentType="application/vnd.openxmlformats-officedocument.presentationml.notesSlide+xml"/>
  <Override PartName="/ppt/charts/chart575.xml" ContentType="application/vnd.openxmlformats-officedocument.drawingml.chart+xml"/>
  <Override PartName="/ppt/tags/tag767.xml" ContentType="application/vnd.openxmlformats-officedocument.presentationml.tags+xml"/>
  <Override PartName="/ppt/notesSlides/notesSlide335.xml" ContentType="application/vnd.openxmlformats-officedocument.presentationml.notesSlide+xml"/>
  <Override PartName="/ppt/charts/chart576.xml" ContentType="application/vnd.openxmlformats-officedocument.drawingml.chart+xml"/>
  <Override PartName="/ppt/tags/tag768.xml" ContentType="application/vnd.openxmlformats-officedocument.presentationml.tags+xml"/>
  <Override PartName="/ppt/notesSlides/notesSlide336.xml" ContentType="application/vnd.openxmlformats-officedocument.presentationml.notesSlide+xml"/>
  <Override PartName="/ppt/charts/chart577.xml" ContentType="application/vnd.openxmlformats-officedocument.drawingml.chart+xml"/>
  <Override PartName="/ppt/tags/tag769.xml" ContentType="application/vnd.openxmlformats-officedocument.presentationml.tags+xml"/>
  <Override PartName="/ppt/notesSlides/notesSlide337.xml" ContentType="application/vnd.openxmlformats-officedocument.presentationml.notesSlide+xml"/>
  <Override PartName="/ppt/charts/chart578.xml" ContentType="application/vnd.openxmlformats-officedocument.drawingml.chart+xml"/>
  <Override PartName="/ppt/tags/tag770.xml" ContentType="application/vnd.openxmlformats-officedocument.presentationml.tags+xml"/>
  <Override PartName="/ppt/notesSlides/notesSlide338.xml" ContentType="application/vnd.openxmlformats-officedocument.presentationml.notesSlide+xml"/>
  <Override PartName="/ppt/charts/chart579.xml" ContentType="application/vnd.openxmlformats-officedocument.drawingml.chart+xml"/>
  <Override PartName="/ppt/tags/tag771.xml" ContentType="application/vnd.openxmlformats-officedocument.presentationml.tags+xml"/>
  <Override PartName="/ppt/notesSlides/notesSlide339.xml" ContentType="application/vnd.openxmlformats-officedocument.presentationml.notesSlide+xml"/>
  <Override PartName="/ppt/charts/chart580.xml" ContentType="application/vnd.openxmlformats-officedocument.drawingml.chart+xml"/>
  <Override PartName="/ppt/tags/tag772.xml" ContentType="application/vnd.openxmlformats-officedocument.presentationml.tags+xml"/>
  <Override PartName="/ppt/notesSlides/notesSlide340.xml" ContentType="application/vnd.openxmlformats-officedocument.presentationml.notesSlide+xml"/>
  <Override PartName="/ppt/charts/chart581.xml" ContentType="application/vnd.openxmlformats-officedocument.drawingml.chart+xml"/>
  <Override PartName="/ppt/tags/tag773.xml" ContentType="application/vnd.openxmlformats-officedocument.presentationml.tags+xml"/>
  <Override PartName="/ppt/notesSlides/notesSlide341.xml" ContentType="application/vnd.openxmlformats-officedocument.presentationml.notesSlide+xml"/>
  <Override PartName="/ppt/charts/chart582.xml" ContentType="application/vnd.openxmlformats-officedocument.drawingml.chart+xml"/>
  <Override PartName="/ppt/tags/tag774.xml" ContentType="application/vnd.openxmlformats-officedocument.presentationml.tags+xml"/>
  <Override PartName="/ppt/notesSlides/notesSlide342.xml" ContentType="application/vnd.openxmlformats-officedocument.presentationml.notesSlide+xml"/>
  <Override PartName="/ppt/charts/chart583.xml" ContentType="application/vnd.openxmlformats-officedocument.drawingml.chart+xml"/>
  <Override PartName="/ppt/tags/tag775.xml" ContentType="application/vnd.openxmlformats-officedocument.presentationml.tags+xml"/>
  <Override PartName="/ppt/notesSlides/notesSlide343.xml" ContentType="application/vnd.openxmlformats-officedocument.presentationml.notesSlide+xml"/>
  <Override PartName="/ppt/charts/chart584.xml" ContentType="application/vnd.openxmlformats-officedocument.drawingml.chart+xml"/>
  <Override PartName="/ppt/tags/tag776.xml" ContentType="application/vnd.openxmlformats-officedocument.presentationml.tags+xml"/>
  <Override PartName="/ppt/notesSlides/notesSlide344.xml" ContentType="application/vnd.openxmlformats-officedocument.presentationml.notesSlide+xml"/>
  <Override PartName="/ppt/charts/chart585.xml" ContentType="application/vnd.openxmlformats-officedocument.drawingml.chart+xml"/>
  <Override PartName="/ppt/tags/tag777.xml" ContentType="application/vnd.openxmlformats-officedocument.presentationml.tags+xml"/>
  <Override PartName="/ppt/notesSlides/notesSlide345.xml" ContentType="application/vnd.openxmlformats-officedocument.presentationml.notesSlide+xml"/>
  <Override PartName="/ppt/charts/chart586.xml" ContentType="application/vnd.openxmlformats-officedocument.drawingml.chart+xml"/>
  <Override PartName="/ppt/tags/tag778.xml" ContentType="application/vnd.openxmlformats-officedocument.presentationml.tags+xml"/>
  <Override PartName="/ppt/notesSlides/notesSlide346.xml" ContentType="application/vnd.openxmlformats-officedocument.presentationml.notesSlide+xml"/>
  <Override PartName="/ppt/charts/chart587.xml" ContentType="application/vnd.openxmlformats-officedocument.drawingml.chart+xml"/>
  <Override PartName="/ppt/tags/tag779.xml" ContentType="application/vnd.openxmlformats-officedocument.presentationml.tags+xml"/>
  <Override PartName="/ppt/notesSlides/notesSlide347.xml" ContentType="application/vnd.openxmlformats-officedocument.presentationml.notesSlide+xml"/>
  <Override PartName="/ppt/charts/chart588.xml" ContentType="application/vnd.openxmlformats-officedocument.drawingml.chart+xml"/>
  <Override PartName="/ppt/tags/tag780.xml" ContentType="application/vnd.openxmlformats-officedocument.presentationml.tags+xml"/>
  <Override PartName="/ppt/notesSlides/notesSlide348.xml" ContentType="application/vnd.openxmlformats-officedocument.presentationml.notesSlide+xml"/>
  <Override PartName="/ppt/charts/chart589.xml" ContentType="application/vnd.openxmlformats-officedocument.drawingml.chart+xml"/>
  <Override PartName="/ppt/tags/tag781.xml" ContentType="application/vnd.openxmlformats-officedocument.presentationml.tags+xml"/>
  <Override PartName="/ppt/notesSlides/notesSlide349.xml" ContentType="application/vnd.openxmlformats-officedocument.presentationml.notesSlide+xml"/>
  <Override PartName="/ppt/charts/chart590.xml" ContentType="application/vnd.openxmlformats-officedocument.drawingml.chart+xml"/>
  <Override PartName="/ppt/tags/tag782.xml" ContentType="application/vnd.openxmlformats-officedocument.presentationml.tags+xml"/>
  <Override PartName="/ppt/notesSlides/notesSlide350.xml" ContentType="application/vnd.openxmlformats-officedocument.presentationml.notesSlide+xml"/>
  <Override PartName="/ppt/charts/chart591.xml" ContentType="application/vnd.openxmlformats-officedocument.drawingml.chart+xml"/>
  <Override PartName="/ppt/tags/tag783.xml" ContentType="application/vnd.openxmlformats-officedocument.presentationml.tags+xml"/>
  <Override PartName="/ppt/notesSlides/notesSlide351.xml" ContentType="application/vnd.openxmlformats-officedocument.presentationml.notesSlide+xml"/>
  <Override PartName="/ppt/charts/chart592.xml" ContentType="application/vnd.openxmlformats-officedocument.drawingml.chart+xml"/>
  <Override PartName="/ppt/tags/tag784.xml" ContentType="application/vnd.openxmlformats-officedocument.presentationml.tags+xml"/>
  <Override PartName="/ppt/notesSlides/notesSlide352.xml" ContentType="application/vnd.openxmlformats-officedocument.presentationml.notesSlide+xml"/>
  <Override PartName="/ppt/charts/chart593.xml" ContentType="application/vnd.openxmlformats-officedocument.drawingml.chart+xml"/>
  <Override PartName="/ppt/tags/tag785.xml" ContentType="application/vnd.openxmlformats-officedocument.presentationml.tags+xml"/>
  <Override PartName="/ppt/notesSlides/notesSlide353.xml" ContentType="application/vnd.openxmlformats-officedocument.presentationml.notesSlide+xml"/>
  <Override PartName="/ppt/charts/chart594.xml" ContentType="application/vnd.openxmlformats-officedocument.drawingml.chart+xml"/>
  <Override PartName="/ppt/tags/tag786.xml" ContentType="application/vnd.openxmlformats-officedocument.presentationml.tags+xml"/>
  <Override PartName="/ppt/notesSlides/notesSlide354.xml" ContentType="application/vnd.openxmlformats-officedocument.presentationml.notesSlide+xml"/>
  <Override PartName="/ppt/charts/chart595.xml" ContentType="application/vnd.openxmlformats-officedocument.drawingml.chart+xml"/>
  <Override PartName="/ppt/tags/tag787.xml" ContentType="application/vnd.openxmlformats-officedocument.presentationml.tags+xml"/>
  <Override PartName="/ppt/notesSlides/notesSlide355.xml" ContentType="application/vnd.openxmlformats-officedocument.presentationml.notesSlide+xml"/>
  <Override PartName="/ppt/charts/chart596.xml" ContentType="application/vnd.openxmlformats-officedocument.drawingml.chart+xml"/>
  <Override PartName="/ppt/tags/tag788.xml" ContentType="application/vnd.openxmlformats-officedocument.presentationml.tags+xml"/>
  <Override PartName="/ppt/notesSlides/notesSlide356.xml" ContentType="application/vnd.openxmlformats-officedocument.presentationml.notesSlide+xml"/>
  <Override PartName="/ppt/charts/chart597.xml" ContentType="application/vnd.openxmlformats-officedocument.drawingml.chart+xml"/>
  <Override PartName="/ppt/tags/tag789.xml" ContentType="application/vnd.openxmlformats-officedocument.presentationml.tags+xml"/>
  <Override PartName="/ppt/notesSlides/notesSlide357.xml" ContentType="application/vnd.openxmlformats-officedocument.presentationml.notesSlide+xml"/>
  <Override PartName="/ppt/charts/chart598.xml" ContentType="application/vnd.openxmlformats-officedocument.drawingml.chart+xml"/>
  <Override PartName="/ppt/tags/tag790.xml" ContentType="application/vnd.openxmlformats-officedocument.presentationml.tags+xml"/>
  <Override PartName="/ppt/notesSlides/notesSlide358.xml" ContentType="application/vnd.openxmlformats-officedocument.presentationml.notesSlide+xml"/>
  <Override PartName="/ppt/charts/chart599.xml" ContentType="application/vnd.openxmlformats-officedocument.drawingml.chart+xml"/>
  <Override PartName="/ppt/tags/tag791.xml" ContentType="application/vnd.openxmlformats-officedocument.presentationml.tags+xml"/>
  <Override PartName="/ppt/notesSlides/notesSlide359.xml" ContentType="application/vnd.openxmlformats-officedocument.presentationml.notesSlide+xml"/>
  <Override PartName="/ppt/charts/chart600.xml" ContentType="application/vnd.openxmlformats-officedocument.drawingml.chart+xml"/>
  <Override PartName="/ppt/tags/tag792.xml" ContentType="application/vnd.openxmlformats-officedocument.presentationml.tags+xml"/>
  <Override PartName="/ppt/notesSlides/notesSlide360.xml" ContentType="application/vnd.openxmlformats-officedocument.presentationml.notesSlide+xml"/>
  <Override PartName="/ppt/charts/chart601.xml" ContentType="application/vnd.openxmlformats-officedocument.drawingml.chart+xml"/>
  <Override PartName="/ppt/tags/tag793.xml" ContentType="application/vnd.openxmlformats-officedocument.presentationml.tags+xml"/>
  <Override PartName="/ppt/notesSlides/notesSlide361.xml" ContentType="application/vnd.openxmlformats-officedocument.presentationml.notesSlide+xml"/>
  <Override PartName="/ppt/charts/chart602.xml" ContentType="application/vnd.openxmlformats-officedocument.drawingml.chart+xml"/>
  <Override PartName="/ppt/tags/tag794.xml" ContentType="application/vnd.openxmlformats-officedocument.presentationml.tags+xml"/>
  <Override PartName="/ppt/notesSlides/notesSlide362.xml" ContentType="application/vnd.openxmlformats-officedocument.presentationml.notesSlide+xml"/>
  <Override PartName="/ppt/charts/chart603.xml" ContentType="application/vnd.openxmlformats-officedocument.drawingml.chart+xml"/>
  <Override PartName="/ppt/tags/tag795.xml" ContentType="application/vnd.openxmlformats-officedocument.presentationml.tags+xml"/>
  <Override PartName="/ppt/notesSlides/notesSlide363.xml" ContentType="application/vnd.openxmlformats-officedocument.presentationml.notesSlide+xml"/>
  <Override PartName="/ppt/charts/chart604.xml" ContentType="application/vnd.openxmlformats-officedocument.drawingml.chart+xml"/>
  <Override PartName="/ppt/tags/tag796.xml" ContentType="application/vnd.openxmlformats-officedocument.presentationml.tags+xml"/>
  <Override PartName="/ppt/notesSlides/notesSlide364.xml" ContentType="application/vnd.openxmlformats-officedocument.presentationml.notesSlide+xml"/>
  <Override PartName="/ppt/charts/chart605.xml" ContentType="application/vnd.openxmlformats-officedocument.drawingml.chart+xml"/>
  <Override PartName="/ppt/tags/tag797.xml" ContentType="application/vnd.openxmlformats-officedocument.presentationml.tags+xml"/>
  <Override PartName="/ppt/notesSlides/notesSlide365.xml" ContentType="application/vnd.openxmlformats-officedocument.presentationml.notesSlide+xml"/>
  <Override PartName="/ppt/charts/chart606.xml" ContentType="application/vnd.openxmlformats-officedocument.drawingml.chart+xml"/>
  <Override PartName="/ppt/tags/tag798.xml" ContentType="application/vnd.openxmlformats-officedocument.presentationml.tags+xml"/>
  <Override PartName="/ppt/notesSlides/notesSlide366.xml" ContentType="application/vnd.openxmlformats-officedocument.presentationml.notesSlide+xml"/>
  <Override PartName="/ppt/charts/chart607.xml" ContentType="application/vnd.openxmlformats-officedocument.drawingml.chart+xml"/>
  <Override PartName="/ppt/tags/tag799.xml" ContentType="application/vnd.openxmlformats-officedocument.presentationml.tags+xml"/>
  <Override PartName="/ppt/notesSlides/notesSlide367.xml" ContentType="application/vnd.openxmlformats-officedocument.presentationml.notesSlide+xml"/>
  <Override PartName="/ppt/charts/chart608.xml" ContentType="application/vnd.openxmlformats-officedocument.drawingml.chart+xml"/>
  <Override PartName="/ppt/tags/tag800.xml" ContentType="application/vnd.openxmlformats-officedocument.presentationml.tags+xml"/>
  <Override PartName="/ppt/notesSlides/notesSlide368.xml" ContentType="application/vnd.openxmlformats-officedocument.presentationml.notesSlide+xml"/>
  <Override PartName="/ppt/charts/chart609.xml" ContentType="application/vnd.openxmlformats-officedocument.drawingml.chart+xml"/>
  <Override PartName="/ppt/tags/tag801.xml" ContentType="application/vnd.openxmlformats-officedocument.presentationml.tags+xml"/>
  <Override PartName="/ppt/notesSlides/notesSlide369.xml" ContentType="application/vnd.openxmlformats-officedocument.presentationml.notesSlide+xml"/>
  <Override PartName="/ppt/charts/chart610.xml" ContentType="application/vnd.openxmlformats-officedocument.drawingml.chart+xml"/>
  <Override PartName="/ppt/tags/tag802.xml" ContentType="application/vnd.openxmlformats-officedocument.presentationml.tags+xml"/>
  <Override PartName="/ppt/notesSlides/notesSlide370.xml" ContentType="application/vnd.openxmlformats-officedocument.presentationml.notesSlide+xml"/>
  <Override PartName="/ppt/charts/chart611.xml" ContentType="application/vnd.openxmlformats-officedocument.drawingml.chart+xml"/>
  <Override PartName="/ppt/tags/tag803.xml" ContentType="application/vnd.openxmlformats-officedocument.presentationml.tags+xml"/>
  <Override PartName="/ppt/notesSlides/notesSlide371.xml" ContentType="application/vnd.openxmlformats-officedocument.presentationml.notesSlide+xml"/>
  <Override PartName="/ppt/charts/chart612.xml" ContentType="application/vnd.openxmlformats-officedocument.drawingml.chart+xml"/>
  <Override PartName="/ppt/tags/tag804.xml" ContentType="application/vnd.openxmlformats-officedocument.presentationml.tags+xml"/>
  <Override PartName="/ppt/notesSlides/notesSlide372.xml" ContentType="application/vnd.openxmlformats-officedocument.presentationml.notesSlide+xml"/>
  <Override PartName="/ppt/charts/chart613.xml" ContentType="application/vnd.openxmlformats-officedocument.drawingml.chart+xml"/>
  <Override PartName="/ppt/tags/tag805.xml" ContentType="application/vnd.openxmlformats-officedocument.presentationml.tags+xml"/>
  <Override PartName="/ppt/notesSlides/notesSlide373.xml" ContentType="application/vnd.openxmlformats-officedocument.presentationml.notesSlide+xml"/>
  <Override PartName="/ppt/charts/chart614.xml" ContentType="application/vnd.openxmlformats-officedocument.drawingml.chart+xml"/>
  <Override PartName="/ppt/tags/tag806.xml" ContentType="application/vnd.openxmlformats-officedocument.presentationml.tags+xml"/>
  <Override PartName="/ppt/notesSlides/notesSlide374.xml" ContentType="application/vnd.openxmlformats-officedocument.presentationml.notesSlide+xml"/>
  <Override PartName="/ppt/charts/chart615.xml" ContentType="application/vnd.openxmlformats-officedocument.drawingml.chart+xml"/>
  <Override PartName="/ppt/tags/tag807.xml" ContentType="application/vnd.openxmlformats-officedocument.presentationml.tags+xml"/>
  <Override PartName="/ppt/notesSlides/notesSlide375.xml" ContentType="application/vnd.openxmlformats-officedocument.presentationml.notesSlide+xml"/>
  <Override PartName="/ppt/charts/chart616.xml" ContentType="application/vnd.openxmlformats-officedocument.drawingml.chart+xml"/>
  <Override PartName="/ppt/tags/tag808.xml" ContentType="application/vnd.openxmlformats-officedocument.presentationml.tags+xml"/>
  <Override PartName="/ppt/notesSlides/notesSlide376.xml" ContentType="application/vnd.openxmlformats-officedocument.presentationml.notesSlide+xml"/>
  <Override PartName="/ppt/charts/chart617.xml" ContentType="application/vnd.openxmlformats-officedocument.drawingml.chart+xml"/>
  <Override PartName="/ppt/tags/tag809.xml" ContentType="application/vnd.openxmlformats-officedocument.presentationml.tags+xml"/>
  <Override PartName="/ppt/notesSlides/notesSlide377.xml" ContentType="application/vnd.openxmlformats-officedocument.presentationml.notesSlide+xml"/>
  <Override PartName="/ppt/charts/chart618.xml" ContentType="application/vnd.openxmlformats-officedocument.drawingml.chart+xml"/>
  <Override PartName="/ppt/tags/tag810.xml" ContentType="application/vnd.openxmlformats-officedocument.presentationml.tags+xml"/>
  <Override PartName="/ppt/notesSlides/notesSlide378.xml" ContentType="application/vnd.openxmlformats-officedocument.presentationml.notesSlide+xml"/>
  <Override PartName="/ppt/charts/chart619.xml" ContentType="application/vnd.openxmlformats-officedocument.drawingml.chart+xml"/>
  <Override PartName="/ppt/tags/tag811.xml" ContentType="application/vnd.openxmlformats-officedocument.presentationml.tags+xml"/>
  <Override PartName="/ppt/notesSlides/notesSlide379.xml" ContentType="application/vnd.openxmlformats-officedocument.presentationml.notesSlide+xml"/>
  <Override PartName="/ppt/charts/chart620.xml" ContentType="application/vnd.openxmlformats-officedocument.drawingml.chart+xml"/>
  <Override PartName="/ppt/tags/tag812.xml" ContentType="application/vnd.openxmlformats-officedocument.presentationml.tags+xml"/>
  <Override PartName="/ppt/notesSlides/notesSlide380.xml" ContentType="application/vnd.openxmlformats-officedocument.presentationml.notesSlide+xml"/>
  <Override PartName="/ppt/charts/chart621.xml" ContentType="application/vnd.openxmlformats-officedocument.drawingml.chart+xml"/>
  <Override PartName="/ppt/tags/tag813.xml" ContentType="application/vnd.openxmlformats-officedocument.presentationml.tags+xml"/>
  <Override PartName="/ppt/notesSlides/notesSlide381.xml" ContentType="application/vnd.openxmlformats-officedocument.presentationml.notesSlide+xml"/>
  <Override PartName="/ppt/charts/chart622.xml" ContentType="application/vnd.openxmlformats-officedocument.drawingml.chart+xml"/>
  <Override PartName="/ppt/tags/tag814.xml" ContentType="application/vnd.openxmlformats-officedocument.presentationml.tags+xml"/>
  <Override PartName="/ppt/notesSlides/notesSlide382.xml" ContentType="application/vnd.openxmlformats-officedocument.presentationml.notesSlide+xml"/>
  <Override PartName="/ppt/charts/chart623.xml" ContentType="application/vnd.openxmlformats-officedocument.drawingml.chart+xml"/>
  <Override PartName="/ppt/tags/tag815.xml" ContentType="application/vnd.openxmlformats-officedocument.presentationml.tags+xml"/>
  <Override PartName="/ppt/notesSlides/notesSlide383.xml" ContentType="application/vnd.openxmlformats-officedocument.presentationml.notesSlide+xml"/>
  <Override PartName="/ppt/charts/chart624.xml" ContentType="application/vnd.openxmlformats-officedocument.drawingml.chart+xml"/>
  <Override PartName="/ppt/tags/tag816.xml" ContentType="application/vnd.openxmlformats-officedocument.presentationml.tags+xml"/>
  <Override PartName="/ppt/notesSlides/notesSlide384.xml" ContentType="application/vnd.openxmlformats-officedocument.presentationml.notesSlide+xml"/>
  <Override PartName="/ppt/charts/chart625.xml" ContentType="application/vnd.openxmlformats-officedocument.drawingml.chart+xml"/>
  <Override PartName="/ppt/tags/tag817.xml" ContentType="application/vnd.openxmlformats-officedocument.presentationml.tags+xml"/>
  <Override PartName="/ppt/notesSlides/notesSlide385.xml" ContentType="application/vnd.openxmlformats-officedocument.presentationml.notesSlide+xml"/>
  <Override PartName="/ppt/charts/chart626.xml" ContentType="application/vnd.openxmlformats-officedocument.drawingml.chart+xml"/>
  <Override PartName="/ppt/tags/tag818.xml" ContentType="application/vnd.openxmlformats-officedocument.presentationml.tags+xml"/>
  <Override PartName="/ppt/notesSlides/notesSlide386.xml" ContentType="application/vnd.openxmlformats-officedocument.presentationml.notesSlide+xml"/>
  <Override PartName="/ppt/charts/chart627.xml" ContentType="application/vnd.openxmlformats-officedocument.drawingml.chart+xml"/>
  <Override PartName="/ppt/tags/tag819.xml" ContentType="application/vnd.openxmlformats-officedocument.presentationml.tags+xml"/>
  <Override PartName="/ppt/notesSlides/notesSlide387.xml" ContentType="application/vnd.openxmlformats-officedocument.presentationml.notesSlide+xml"/>
  <Override PartName="/ppt/charts/chart628.xml" ContentType="application/vnd.openxmlformats-officedocument.drawingml.chart+xml"/>
  <Override PartName="/ppt/tags/tag820.xml" ContentType="application/vnd.openxmlformats-officedocument.presentationml.tags+xml"/>
  <Override PartName="/ppt/notesSlides/notesSlide388.xml" ContentType="application/vnd.openxmlformats-officedocument.presentationml.notesSlide+xml"/>
  <Override PartName="/ppt/charts/chart629.xml" ContentType="application/vnd.openxmlformats-officedocument.drawingml.chart+xml"/>
  <Override PartName="/ppt/tags/tag821.xml" ContentType="application/vnd.openxmlformats-officedocument.presentationml.tags+xml"/>
  <Override PartName="/ppt/notesSlides/notesSlide389.xml" ContentType="application/vnd.openxmlformats-officedocument.presentationml.notesSlide+xml"/>
  <Override PartName="/ppt/charts/chart630.xml" ContentType="application/vnd.openxmlformats-officedocument.drawingml.chart+xml"/>
  <Override PartName="/ppt/tags/tag822.xml" ContentType="application/vnd.openxmlformats-officedocument.presentationml.tags+xml"/>
  <Override PartName="/ppt/notesSlides/notesSlide390.xml" ContentType="application/vnd.openxmlformats-officedocument.presentationml.notesSlide+xml"/>
  <Override PartName="/ppt/charts/chart631.xml" ContentType="application/vnd.openxmlformats-officedocument.drawingml.chart+xml"/>
  <Override PartName="/ppt/tags/tag823.xml" ContentType="application/vnd.openxmlformats-officedocument.presentationml.tags+xml"/>
  <Override PartName="/ppt/notesSlides/notesSlide391.xml" ContentType="application/vnd.openxmlformats-officedocument.presentationml.notesSlide+xml"/>
  <Override PartName="/ppt/charts/chart632.xml" ContentType="application/vnd.openxmlformats-officedocument.drawingml.chart+xml"/>
  <Override PartName="/ppt/tags/tag824.xml" ContentType="application/vnd.openxmlformats-officedocument.presentationml.tags+xml"/>
  <Override PartName="/ppt/notesSlides/notesSlide392.xml" ContentType="application/vnd.openxmlformats-officedocument.presentationml.notesSlide+xml"/>
  <Override PartName="/ppt/charts/chart633.xml" ContentType="application/vnd.openxmlformats-officedocument.drawingml.chart+xml"/>
  <Override PartName="/ppt/tags/tag825.xml" ContentType="application/vnd.openxmlformats-officedocument.presentationml.tags+xml"/>
  <Override PartName="/ppt/notesSlides/notesSlide393.xml" ContentType="application/vnd.openxmlformats-officedocument.presentationml.notesSlide+xml"/>
  <Override PartName="/ppt/charts/chart634.xml" ContentType="application/vnd.openxmlformats-officedocument.drawingml.chart+xml"/>
  <Override PartName="/ppt/tags/tag826.xml" ContentType="application/vnd.openxmlformats-officedocument.presentationml.tags+xml"/>
  <Override PartName="/ppt/notesSlides/notesSlide394.xml" ContentType="application/vnd.openxmlformats-officedocument.presentationml.notesSlide+xml"/>
  <Override PartName="/ppt/charts/chart635.xml" ContentType="application/vnd.openxmlformats-officedocument.drawingml.chart+xml"/>
  <Override PartName="/ppt/tags/tag827.xml" ContentType="application/vnd.openxmlformats-officedocument.presentationml.tags+xml"/>
  <Override PartName="/ppt/notesSlides/notesSlide395.xml" ContentType="application/vnd.openxmlformats-officedocument.presentationml.notesSlide+xml"/>
  <Override PartName="/ppt/charts/chart636.xml" ContentType="application/vnd.openxmlformats-officedocument.drawingml.chart+xml"/>
  <Override PartName="/ppt/tags/tag828.xml" ContentType="application/vnd.openxmlformats-officedocument.presentationml.tags+xml"/>
  <Override PartName="/ppt/notesSlides/notesSlide396.xml" ContentType="application/vnd.openxmlformats-officedocument.presentationml.notesSlide+xml"/>
  <Override PartName="/ppt/charts/chart637.xml" ContentType="application/vnd.openxmlformats-officedocument.drawingml.chart+xml"/>
  <Override PartName="/ppt/tags/tag829.xml" ContentType="application/vnd.openxmlformats-officedocument.presentationml.tags+xml"/>
  <Override PartName="/ppt/notesSlides/notesSlide397.xml" ContentType="application/vnd.openxmlformats-officedocument.presentationml.notesSlide+xml"/>
  <Override PartName="/ppt/charts/chart638.xml" ContentType="application/vnd.openxmlformats-officedocument.drawingml.chart+xml"/>
  <Override PartName="/ppt/tags/tag830.xml" ContentType="application/vnd.openxmlformats-officedocument.presentationml.tags+xml"/>
  <Override PartName="/ppt/notesSlides/notesSlide398.xml" ContentType="application/vnd.openxmlformats-officedocument.presentationml.notesSlide+xml"/>
  <Override PartName="/ppt/charts/chart639.xml" ContentType="application/vnd.openxmlformats-officedocument.drawingml.chart+xml"/>
  <Override PartName="/ppt/tags/tag831.xml" ContentType="application/vnd.openxmlformats-officedocument.presentationml.tags+xml"/>
  <Override PartName="/ppt/notesSlides/notesSlide399.xml" ContentType="application/vnd.openxmlformats-officedocument.presentationml.notesSlide+xml"/>
  <Override PartName="/ppt/charts/chart640.xml" ContentType="application/vnd.openxmlformats-officedocument.drawingml.chart+xml"/>
  <Override PartName="/ppt/tags/tag832.xml" ContentType="application/vnd.openxmlformats-officedocument.presentationml.tags+xml"/>
  <Override PartName="/ppt/notesSlides/notesSlide400.xml" ContentType="application/vnd.openxmlformats-officedocument.presentationml.notesSlide+xml"/>
  <Override PartName="/ppt/charts/chart641.xml" ContentType="application/vnd.openxmlformats-officedocument.drawingml.chart+xml"/>
  <Override PartName="/ppt/tags/tag833.xml" ContentType="application/vnd.openxmlformats-officedocument.presentationml.tags+xml"/>
  <Override PartName="/ppt/notesSlides/notesSlide401.xml" ContentType="application/vnd.openxmlformats-officedocument.presentationml.notesSlide+xml"/>
  <Override PartName="/ppt/charts/chart642.xml" ContentType="application/vnd.openxmlformats-officedocument.drawingml.chart+xml"/>
  <Override PartName="/ppt/tags/tag834.xml" ContentType="application/vnd.openxmlformats-officedocument.presentationml.tags+xml"/>
  <Override PartName="/ppt/notesSlides/notesSlide402.xml" ContentType="application/vnd.openxmlformats-officedocument.presentationml.notesSlide+xml"/>
  <Override PartName="/ppt/charts/chart643.xml" ContentType="application/vnd.openxmlformats-officedocument.drawingml.chart+xml"/>
  <Override PartName="/ppt/tags/tag835.xml" ContentType="application/vnd.openxmlformats-officedocument.presentationml.tags+xml"/>
  <Override PartName="/ppt/notesSlides/notesSlide403.xml" ContentType="application/vnd.openxmlformats-officedocument.presentationml.notesSlide+xml"/>
  <Override PartName="/ppt/charts/chart644.xml" ContentType="application/vnd.openxmlformats-officedocument.drawingml.chart+xml"/>
  <Override PartName="/ppt/tags/tag836.xml" ContentType="application/vnd.openxmlformats-officedocument.presentationml.tags+xml"/>
  <Override PartName="/ppt/notesSlides/notesSlide404.xml" ContentType="application/vnd.openxmlformats-officedocument.presentationml.notesSlide+xml"/>
  <Override PartName="/ppt/charts/chart645.xml" ContentType="application/vnd.openxmlformats-officedocument.drawingml.chart+xml"/>
  <Override PartName="/ppt/tags/tag837.xml" ContentType="application/vnd.openxmlformats-officedocument.presentationml.tags+xml"/>
  <Override PartName="/ppt/notesSlides/notesSlide405.xml" ContentType="application/vnd.openxmlformats-officedocument.presentationml.notesSlide+xml"/>
  <Override PartName="/ppt/charts/chart646.xml" ContentType="application/vnd.openxmlformats-officedocument.drawingml.chart+xml"/>
  <Override PartName="/ppt/tags/tag838.xml" ContentType="application/vnd.openxmlformats-officedocument.presentationml.tags+xml"/>
  <Override PartName="/ppt/notesSlides/notesSlide406.xml" ContentType="application/vnd.openxmlformats-officedocument.presentationml.notesSlide+xml"/>
  <Override PartName="/ppt/charts/chart647.xml" ContentType="application/vnd.openxmlformats-officedocument.drawingml.chart+xml"/>
  <Override PartName="/ppt/tags/tag839.xml" ContentType="application/vnd.openxmlformats-officedocument.presentationml.tags+xml"/>
  <Override PartName="/ppt/notesSlides/notesSlide407.xml" ContentType="application/vnd.openxmlformats-officedocument.presentationml.notesSlide+xml"/>
  <Override PartName="/ppt/charts/chart648.xml" ContentType="application/vnd.openxmlformats-officedocument.drawingml.chart+xml"/>
  <Override PartName="/ppt/tags/tag840.xml" ContentType="application/vnd.openxmlformats-officedocument.presentationml.tags+xml"/>
  <Override PartName="/ppt/notesSlides/notesSlide408.xml" ContentType="application/vnd.openxmlformats-officedocument.presentationml.notesSlide+xml"/>
  <Override PartName="/ppt/charts/chart649.xml" ContentType="application/vnd.openxmlformats-officedocument.drawingml.chart+xml"/>
  <Override PartName="/ppt/tags/tag841.xml" ContentType="application/vnd.openxmlformats-officedocument.presentationml.tags+xml"/>
  <Override PartName="/ppt/notesSlides/notesSlide409.xml" ContentType="application/vnd.openxmlformats-officedocument.presentationml.notesSlide+xml"/>
  <Override PartName="/ppt/charts/chart650.xml" ContentType="application/vnd.openxmlformats-officedocument.drawingml.chart+xml"/>
  <Override PartName="/ppt/tags/tag842.xml" ContentType="application/vnd.openxmlformats-officedocument.presentationml.tags+xml"/>
  <Override PartName="/ppt/notesSlides/notesSlide410.xml" ContentType="application/vnd.openxmlformats-officedocument.presentationml.notesSlide+xml"/>
  <Override PartName="/ppt/charts/chart651.xml" ContentType="application/vnd.openxmlformats-officedocument.drawingml.chart+xml"/>
  <Override PartName="/ppt/tags/tag843.xml" ContentType="application/vnd.openxmlformats-officedocument.presentationml.tags+xml"/>
  <Override PartName="/ppt/notesSlides/notesSlide411.xml" ContentType="application/vnd.openxmlformats-officedocument.presentationml.notesSlide+xml"/>
  <Override PartName="/ppt/charts/chart652.xml" ContentType="application/vnd.openxmlformats-officedocument.drawingml.chart+xml"/>
  <Override PartName="/ppt/tags/tag844.xml" ContentType="application/vnd.openxmlformats-officedocument.presentationml.tags+xml"/>
  <Override PartName="/ppt/notesSlides/notesSlide412.xml" ContentType="application/vnd.openxmlformats-officedocument.presentationml.notesSlide+xml"/>
  <Override PartName="/ppt/charts/chart653.xml" ContentType="application/vnd.openxmlformats-officedocument.drawingml.chart+xml"/>
  <Override PartName="/ppt/tags/tag845.xml" ContentType="application/vnd.openxmlformats-officedocument.presentationml.tags+xml"/>
  <Override PartName="/ppt/notesSlides/notesSlide413.xml" ContentType="application/vnd.openxmlformats-officedocument.presentationml.notesSlide+xml"/>
  <Override PartName="/ppt/charts/chart654.xml" ContentType="application/vnd.openxmlformats-officedocument.drawingml.chart+xml"/>
  <Override PartName="/ppt/tags/tag846.xml" ContentType="application/vnd.openxmlformats-officedocument.presentationml.tags+xml"/>
  <Override PartName="/ppt/notesSlides/notesSlide414.xml" ContentType="application/vnd.openxmlformats-officedocument.presentationml.notesSlide+xml"/>
  <Override PartName="/ppt/charts/chart655.xml" ContentType="application/vnd.openxmlformats-officedocument.drawingml.chart+xml"/>
  <Override PartName="/ppt/tags/tag847.xml" ContentType="application/vnd.openxmlformats-officedocument.presentationml.tags+xml"/>
  <Override PartName="/ppt/notesSlides/notesSlide415.xml" ContentType="application/vnd.openxmlformats-officedocument.presentationml.notesSlide+xml"/>
  <Override PartName="/ppt/charts/chart656.xml" ContentType="application/vnd.openxmlformats-officedocument.drawingml.chart+xml"/>
  <Override PartName="/ppt/tags/tag848.xml" ContentType="application/vnd.openxmlformats-officedocument.presentationml.tags+xml"/>
  <Override PartName="/ppt/notesSlides/notesSlide416.xml" ContentType="application/vnd.openxmlformats-officedocument.presentationml.notesSlide+xml"/>
  <Override PartName="/ppt/charts/chart657.xml" ContentType="application/vnd.openxmlformats-officedocument.drawingml.chart+xml"/>
  <Override PartName="/ppt/tags/tag849.xml" ContentType="application/vnd.openxmlformats-officedocument.presentationml.tags+xml"/>
  <Override PartName="/ppt/notesSlides/notesSlide417.xml" ContentType="application/vnd.openxmlformats-officedocument.presentationml.notesSlide+xml"/>
  <Override PartName="/ppt/charts/chart658.xml" ContentType="application/vnd.openxmlformats-officedocument.drawingml.chart+xml"/>
  <Override PartName="/ppt/tags/tag850.xml" ContentType="application/vnd.openxmlformats-officedocument.presentationml.tags+xml"/>
  <Override PartName="/ppt/notesSlides/notesSlide418.xml" ContentType="application/vnd.openxmlformats-officedocument.presentationml.notesSlide+xml"/>
  <Override PartName="/ppt/charts/chart659.xml" ContentType="application/vnd.openxmlformats-officedocument.drawingml.chart+xml"/>
  <Override PartName="/ppt/tags/tag851.xml" ContentType="application/vnd.openxmlformats-officedocument.presentationml.tags+xml"/>
  <Override PartName="/ppt/notesSlides/notesSlide419.xml" ContentType="application/vnd.openxmlformats-officedocument.presentationml.notesSlide+xml"/>
  <Override PartName="/ppt/charts/chart660.xml" ContentType="application/vnd.openxmlformats-officedocument.drawingml.chart+xml"/>
  <Override PartName="/ppt/tags/tag852.xml" ContentType="application/vnd.openxmlformats-officedocument.presentationml.tags+xml"/>
  <Override PartName="/ppt/notesSlides/notesSlide420.xml" ContentType="application/vnd.openxmlformats-officedocument.presentationml.notesSlide+xml"/>
  <Override PartName="/ppt/charts/chart661.xml" ContentType="application/vnd.openxmlformats-officedocument.drawingml.chart+xml"/>
  <Override PartName="/ppt/tags/tag853.xml" ContentType="application/vnd.openxmlformats-officedocument.presentationml.tags+xml"/>
  <Override PartName="/ppt/notesSlides/notesSlide421.xml" ContentType="application/vnd.openxmlformats-officedocument.presentationml.notesSlide+xml"/>
  <Override PartName="/ppt/charts/chart662.xml" ContentType="application/vnd.openxmlformats-officedocument.drawingml.chart+xml"/>
  <Override PartName="/ppt/tags/tag854.xml" ContentType="application/vnd.openxmlformats-officedocument.presentationml.tags+xml"/>
  <Override PartName="/ppt/notesSlides/notesSlide422.xml" ContentType="application/vnd.openxmlformats-officedocument.presentationml.notesSlide+xml"/>
  <Override PartName="/ppt/charts/chart663.xml" ContentType="application/vnd.openxmlformats-officedocument.drawingml.chart+xml"/>
  <Override PartName="/ppt/tags/tag855.xml" ContentType="application/vnd.openxmlformats-officedocument.presentationml.tags+xml"/>
  <Override PartName="/ppt/notesSlides/notesSlide423.xml" ContentType="application/vnd.openxmlformats-officedocument.presentationml.notesSlide+xml"/>
  <Override PartName="/ppt/charts/chart664.xml" ContentType="application/vnd.openxmlformats-officedocument.drawingml.chart+xml"/>
  <Override PartName="/ppt/tags/tag856.xml" ContentType="application/vnd.openxmlformats-officedocument.presentationml.tags+xml"/>
  <Override PartName="/ppt/notesSlides/notesSlide424.xml" ContentType="application/vnd.openxmlformats-officedocument.presentationml.notesSlide+xml"/>
  <Override PartName="/ppt/charts/chart665.xml" ContentType="application/vnd.openxmlformats-officedocument.drawingml.chart+xml"/>
  <Override PartName="/ppt/tags/tag857.xml" ContentType="application/vnd.openxmlformats-officedocument.presentationml.tags+xml"/>
  <Override PartName="/ppt/notesSlides/notesSlide425.xml" ContentType="application/vnd.openxmlformats-officedocument.presentationml.notesSlide+xml"/>
  <Override PartName="/ppt/charts/chart666.xml" ContentType="application/vnd.openxmlformats-officedocument.drawingml.chart+xml"/>
  <Override PartName="/ppt/tags/tag858.xml" ContentType="application/vnd.openxmlformats-officedocument.presentationml.tags+xml"/>
  <Override PartName="/ppt/notesSlides/notesSlide426.xml" ContentType="application/vnd.openxmlformats-officedocument.presentationml.notesSlide+xml"/>
  <Override PartName="/ppt/charts/chart667.xml" ContentType="application/vnd.openxmlformats-officedocument.drawingml.chart+xml"/>
  <Override PartName="/ppt/tags/tag859.xml" ContentType="application/vnd.openxmlformats-officedocument.presentationml.tags+xml"/>
  <Override PartName="/ppt/notesSlides/notesSlide427.xml" ContentType="application/vnd.openxmlformats-officedocument.presentationml.notesSlide+xml"/>
  <Override PartName="/ppt/charts/chart668.xml" ContentType="application/vnd.openxmlformats-officedocument.drawingml.chart+xml"/>
  <Override PartName="/ppt/tags/tag860.xml" ContentType="application/vnd.openxmlformats-officedocument.presentationml.tags+xml"/>
  <Override PartName="/ppt/notesSlides/notesSlide428.xml" ContentType="application/vnd.openxmlformats-officedocument.presentationml.notesSlide+xml"/>
  <Override PartName="/ppt/charts/chart669.xml" ContentType="application/vnd.openxmlformats-officedocument.drawingml.chart+xml"/>
  <Override PartName="/ppt/tags/tag861.xml" ContentType="application/vnd.openxmlformats-officedocument.presentationml.tags+xml"/>
  <Override PartName="/ppt/notesSlides/notesSlide429.xml" ContentType="application/vnd.openxmlformats-officedocument.presentationml.notesSlide+xml"/>
  <Override PartName="/ppt/charts/chart670.xml" ContentType="application/vnd.openxmlformats-officedocument.drawingml.chart+xml"/>
  <Override PartName="/ppt/tags/tag862.xml" ContentType="application/vnd.openxmlformats-officedocument.presentationml.tags+xml"/>
  <Override PartName="/ppt/notesSlides/notesSlide430.xml" ContentType="application/vnd.openxmlformats-officedocument.presentationml.notesSlide+xml"/>
  <Override PartName="/ppt/charts/chart671.xml" ContentType="application/vnd.openxmlformats-officedocument.drawingml.chart+xml"/>
  <Override PartName="/ppt/tags/tag863.xml" ContentType="application/vnd.openxmlformats-officedocument.presentationml.tags+xml"/>
  <Override PartName="/ppt/notesSlides/notesSlide431.xml" ContentType="application/vnd.openxmlformats-officedocument.presentationml.notesSlide+xml"/>
  <Override PartName="/ppt/charts/chart672.xml" ContentType="application/vnd.openxmlformats-officedocument.drawingml.chart+xml"/>
  <Override PartName="/ppt/tags/tag864.xml" ContentType="application/vnd.openxmlformats-officedocument.presentationml.tags+xml"/>
  <Override PartName="/ppt/notesSlides/notesSlide432.xml" ContentType="application/vnd.openxmlformats-officedocument.presentationml.notesSlide+xml"/>
  <Override PartName="/ppt/charts/chart673.xml" ContentType="application/vnd.openxmlformats-officedocument.drawingml.chart+xml"/>
  <Override PartName="/ppt/tags/tag865.xml" ContentType="application/vnd.openxmlformats-officedocument.presentationml.tags+xml"/>
  <Override PartName="/ppt/notesSlides/notesSlide433.xml" ContentType="application/vnd.openxmlformats-officedocument.presentationml.notesSlide+xml"/>
  <Override PartName="/ppt/charts/chart674.xml" ContentType="application/vnd.openxmlformats-officedocument.drawingml.chart+xml"/>
  <Override PartName="/ppt/tags/tag866.xml" ContentType="application/vnd.openxmlformats-officedocument.presentationml.tags+xml"/>
  <Override PartName="/ppt/notesSlides/notesSlide434.xml" ContentType="application/vnd.openxmlformats-officedocument.presentationml.notesSlide+xml"/>
  <Override PartName="/ppt/charts/chart675.xml" ContentType="application/vnd.openxmlformats-officedocument.drawingml.chart+xml"/>
  <Override PartName="/ppt/tags/tag867.xml" ContentType="application/vnd.openxmlformats-officedocument.presentationml.tags+xml"/>
  <Override PartName="/ppt/notesSlides/notesSlide435.xml" ContentType="application/vnd.openxmlformats-officedocument.presentationml.notesSlide+xml"/>
  <Override PartName="/ppt/charts/chart676.xml" ContentType="application/vnd.openxmlformats-officedocument.drawingml.chart+xml"/>
  <Override PartName="/ppt/tags/tag868.xml" ContentType="application/vnd.openxmlformats-officedocument.presentationml.tags+xml"/>
  <Override PartName="/ppt/notesSlides/notesSlide436.xml" ContentType="application/vnd.openxmlformats-officedocument.presentationml.notesSlide+xml"/>
  <Override PartName="/ppt/charts/chart677.xml" ContentType="application/vnd.openxmlformats-officedocument.drawingml.chart+xml"/>
  <Override PartName="/ppt/tags/tag869.xml" ContentType="application/vnd.openxmlformats-officedocument.presentationml.tags+xml"/>
  <Override PartName="/ppt/notesSlides/notesSlide437.xml" ContentType="application/vnd.openxmlformats-officedocument.presentationml.notesSlide+xml"/>
  <Override PartName="/ppt/charts/chart678.xml" ContentType="application/vnd.openxmlformats-officedocument.drawingml.chart+xml"/>
  <Override PartName="/ppt/tags/tag870.xml" ContentType="application/vnd.openxmlformats-officedocument.presentationml.tags+xml"/>
  <Override PartName="/ppt/notesSlides/notesSlide438.xml" ContentType="application/vnd.openxmlformats-officedocument.presentationml.notesSlide+xml"/>
  <Override PartName="/ppt/charts/chart679.xml" ContentType="application/vnd.openxmlformats-officedocument.drawingml.chart+xml"/>
  <Override PartName="/ppt/tags/tag871.xml" ContentType="application/vnd.openxmlformats-officedocument.presentationml.tags+xml"/>
  <Override PartName="/ppt/notesSlides/notesSlide439.xml" ContentType="application/vnd.openxmlformats-officedocument.presentationml.notesSlide+xml"/>
  <Override PartName="/ppt/charts/chart680.xml" ContentType="application/vnd.openxmlformats-officedocument.drawingml.chart+xml"/>
  <Override PartName="/ppt/tags/tag872.xml" ContentType="application/vnd.openxmlformats-officedocument.presentationml.tags+xml"/>
  <Override PartName="/ppt/notesSlides/notesSlide440.xml" ContentType="application/vnd.openxmlformats-officedocument.presentationml.notesSlide+xml"/>
  <Override PartName="/ppt/charts/chart681.xml" ContentType="application/vnd.openxmlformats-officedocument.drawingml.chart+xml"/>
  <Override PartName="/ppt/tags/tag873.xml" ContentType="application/vnd.openxmlformats-officedocument.presentationml.tags+xml"/>
  <Override PartName="/ppt/notesSlides/notesSlide441.xml" ContentType="application/vnd.openxmlformats-officedocument.presentationml.notesSlide+xml"/>
  <Override PartName="/ppt/charts/chart682.xml" ContentType="application/vnd.openxmlformats-officedocument.drawingml.chart+xml"/>
  <Override PartName="/ppt/tags/tag874.xml" ContentType="application/vnd.openxmlformats-officedocument.presentationml.tags+xml"/>
  <Override PartName="/ppt/notesSlides/notesSlide442.xml" ContentType="application/vnd.openxmlformats-officedocument.presentationml.notesSlide+xml"/>
  <Override PartName="/ppt/charts/chart683.xml" ContentType="application/vnd.openxmlformats-officedocument.drawingml.chart+xml"/>
  <Override PartName="/ppt/tags/tag875.xml" ContentType="application/vnd.openxmlformats-officedocument.presentationml.tags+xml"/>
  <Override PartName="/ppt/notesSlides/notesSlide443.xml" ContentType="application/vnd.openxmlformats-officedocument.presentationml.notesSlide+xml"/>
  <Override PartName="/ppt/charts/chart684.xml" ContentType="application/vnd.openxmlformats-officedocument.drawingml.chart+xml"/>
  <Override PartName="/ppt/tags/tag876.xml" ContentType="application/vnd.openxmlformats-officedocument.presentationml.tags+xml"/>
  <Override PartName="/ppt/notesSlides/notesSlide444.xml" ContentType="application/vnd.openxmlformats-officedocument.presentationml.notesSlide+xml"/>
  <Override PartName="/ppt/charts/chart685.xml" ContentType="application/vnd.openxmlformats-officedocument.drawingml.chart+xml"/>
  <Override PartName="/ppt/tags/tag877.xml" ContentType="application/vnd.openxmlformats-officedocument.presentationml.tags+xml"/>
  <Override PartName="/ppt/notesSlides/notesSlide445.xml" ContentType="application/vnd.openxmlformats-officedocument.presentationml.notesSlide+xml"/>
  <Override PartName="/ppt/charts/chart686.xml" ContentType="application/vnd.openxmlformats-officedocument.drawingml.chart+xml"/>
  <Override PartName="/ppt/tags/tag878.xml" ContentType="application/vnd.openxmlformats-officedocument.presentationml.tags+xml"/>
  <Override PartName="/ppt/notesSlides/notesSlide446.xml" ContentType="application/vnd.openxmlformats-officedocument.presentationml.notesSlide+xml"/>
  <Override PartName="/ppt/charts/chart687.xml" ContentType="application/vnd.openxmlformats-officedocument.drawingml.chart+xml"/>
  <Override PartName="/ppt/tags/tag879.xml" ContentType="application/vnd.openxmlformats-officedocument.presentationml.tags+xml"/>
  <Override PartName="/ppt/notesSlides/notesSlide447.xml" ContentType="application/vnd.openxmlformats-officedocument.presentationml.notesSlide+xml"/>
  <Override PartName="/ppt/charts/chart688.xml" ContentType="application/vnd.openxmlformats-officedocument.drawingml.chart+xml"/>
  <Override PartName="/ppt/tags/tag880.xml" ContentType="application/vnd.openxmlformats-officedocument.presentationml.tags+xml"/>
  <Override PartName="/ppt/notesSlides/notesSlide448.xml" ContentType="application/vnd.openxmlformats-officedocument.presentationml.notesSlide+xml"/>
  <Override PartName="/ppt/charts/chart689.xml" ContentType="application/vnd.openxmlformats-officedocument.drawingml.chart+xml"/>
  <Override PartName="/ppt/tags/tag881.xml" ContentType="application/vnd.openxmlformats-officedocument.presentationml.tags+xml"/>
  <Override PartName="/ppt/notesSlides/notesSlide449.xml" ContentType="application/vnd.openxmlformats-officedocument.presentationml.notesSlide+xml"/>
  <Override PartName="/ppt/charts/chart690.xml" ContentType="application/vnd.openxmlformats-officedocument.drawingml.chart+xml"/>
  <Override PartName="/ppt/tags/tag882.xml" ContentType="application/vnd.openxmlformats-officedocument.presentationml.tags+xml"/>
  <Override PartName="/ppt/notesSlides/notesSlide450.xml" ContentType="application/vnd.openxmlformats-officedocument.presentationml.notesSlide+xml"/>
  <Override PartName="/ppt/charts/chart691.xml" ContentType="application/vnd.openxmlformats-officedocument.drawingml.chart+xml"/>
  <Override PartName="/ppt/tags/tag883.xml" ContentType="application/vnd.openxmlformats-officedocument.presentationml.tags+xml"/>
  <Override PartName="/ppt/notesSlides/notesSlide451.xml" ContentType="application/vnd.openxmlformats-officedocument.presentationml.notesSlide+xml"/>
  <Override PartName="/ppt/charts/chart692.xml" ContentType="application/vnd.openxmlformats-officedocument.drawingml.chart+xml"/>
  <Override PartName="/ppt/tags/tag884.xml" ContentType="application/vnd.openxmlformats-officedocument.presentationml.tags+xml"/>
  <Override PartName="/ppt/notesSlides/notesSlide452.xml" ContentType="application/vnd.openxmlformats-officedocument.presentationml.notesSlide+xml"/>
  <Override PartName="/ppt/charts/chart693.xml" ContentType="application/vnd.openxmlformats-officedocument.drawingml.chart+xml"/>
  <Override PartName="/ppt/tags/tag885.xml" ContentType="application/vnd.openxmlformats-officedocument.presentationml.tags+xml"/>
  <Override PartName="/ppt/notesSlides/notesSlide453.xml" ContentType="application/vnd.openxmlformats-officedocument.presentationml.notesSlide+xml"/>
  <Override PartName="/ppt/charts/chart694.xml" ContentType="application/vnd.openxmlformats-officedocument.drawingml.chart+xml"/>
  <Override PartName="/ppt/tags/tag886.xml" ContentType="application/vnd.openxmlformats-officedocument.presentationml.tags+xml"/>
  <Override PartName="/ppt/notesSlides/notesSlide454.xml" ContentType="application/vnd.openxmlformats-officedocument.presentationml.notesSlide+xml"/>
  <Override PartName="/ppt/charts/chart695.xml" ContentType="application/vnd.openxmlformats-officedocument.drawingml.chart+xml"/>
  <Override PartName="/ppt/tags/tag887.xml" ContentType="application/vnd.openxmlformats-officedocument.presentationml.tags+xml"/>
  <Override PartName="/ppt/notesSlides/notesSlide455.xml" ContentType="application/vnd.openxmlformats-officedocument.presentationml.notesSlide+xml"/>
  <Override PartName="/ppt/charts/chart696.xml" ContentType="application/vnd.openxmlformats-officedocument.drawingml.chart+xml"/>
  <Override PartName="/ppt/tags/tag888.xml" ContentType="application/vnd.openxmlformats-officedocument.presentationml.tags+xml"/>
  <Override PartName="/ppt/notesSlides/notesSlide456.xml" ContentType="application/vnd.openxmlformats-officedocument.presentationml.notesSlide+xml"/>
  <Override PartName="/ppt/charts/chart697.xml" ContentType="application/vnd.openxmlformats-officedocument.drawingml.chart+xml"/>
  <Override PartName="/ppt/tags/tag889.xml" ContentType="application/vnd.openxmlformats-officedocument.presentationml.tags+xml"/>
  <Override PartName="/ppt/notesSlides/notesSlide457.xml" ContentType="application/vnd.openxmlformats-officedocument.presentationml.notesSlide+xml"/>
  <Override PartName="/ppt/charts/chart698.xml" ContentType="application/vnd.openxmlformats-officedocument.drawingml.chart+xml"/>
  <Override PartName="/ppt/tags/tag890.xml" ContentType="application/vnd.openxmlformats-officedocument.presentationml.tags+xml"/>
  <Override PartName="/ppt/notesSlides/notesSlide458.xml" ContentType="application/vnd.openxmlformats-officedocument.presentationml.notesSlide+xml"/>
  <Override PartName="/ppt/charts/chart699.xml" ContentType="application/vnd.openxmlformats-officedocument.drawingml.chart+xml"/>
  <Override PartName="/ppt/tags/tag891.xml" ContentType="application/vnd.openxmlformats-officedocument.presentationml.tags+xml"/>
  <Override PartName="/ppt/notesSlides/notesSlide459.xml" ContentType="application/vnd.openxmlformats-officedocument.presentationml.notesSlide+xml"/>
  <Override PartName="/ppt/charts/chart700.xml" ContentType="application/vnd.openxmlformats-officedocument.drawingml.chart+xml"/>
  <Override PartName="/ppt/tags/tag892.xml" ContentType="application/vnd.openxmlformats-officedocument.presentationml.tags+xml"/>
  <Override PartName="/ppt/notesSlides/notesSlide460.xml" ContentType="application/vnd.openxmlformats-officedocument.presentationml.notesSlide+xml"/>
  <Override PartName="/ppt/charts/chart701.xml" ContentType="application/vnd.openxmlformats-officedocument.drawingml.chart+xml"/>
  <Override PartName="/ppt/tags/tag893.xml" ContentType="application/vnd.openxmlformats-officedocument.presentationml.tags+xml"/>
  <Override PartName="/ppt/notesSlides/notesSlide461.xml" ContentType="application/vnd.openxmlformats-officedocument.presentationml.notesSlide+xml"/>
  <Override PartName="/ppt/charts/chart702.xml" ContentType="application/vnd.openxmlformats-officedocument.drawingml.chart+xml"/>
  <Override PartName="/ppt/tags/tag894.xml" ContentType="application/vnd.openxmlformats-officedocument.presentationml.tags+xml"/>
  <Override PartName="/ppt/notesSlides/notesSlide462.xml" ContentType="application/vnd.openxmlformats-officedocument.presentationml.notesSlide+xml"/>
  <Override PartName="/ppt/charts/chart703.xml" ContentType="application/vnd.openxmlformats-officedocument.drawingml.chart+xml"/>
  <Override PartName="/ppt/tags/tag895.xml" ContentType="application/vnd.openxmlformats-officedocument.presentationml.tags+xml"/>
  <Override PartName="/ppt/notesSlides/notesSlide463.xml" ContentType="application/vnd.openxmlformats-officedocument.presentationml.notesSlide+xml"/>
  <Override PartName="/ppt/charts/chart704.xml" ContentType="application/vnd.openxmlformats-officedocument.drawingml.chart+xml"/>
  <Override PartName="/ppt/tags/tag896.xml" ContentType="application/vnd.openxmlformats-officedocument.presentationml.tags+xml"/>
  <Override PartName="/ppt/notesSlides/notesSlide464.xml" ContentType="application/vnd.openxmlformats-officedocument.presentationml.notesSlide+xml"/>
  <Override PartName="/ppt/charts/chart705.xml" ContentType="application/vnd.openxmlformats-officedocument.drawingml.chart+xml"/>
  <Override PartName="/ppt/tags/tag897.xml" ContentType="application/vnd.openxmlformats-officedocument.presentationml.tags+xml"/>
  <Override PartName="/ppt/notesSlides/notesSlide465.xml" ContentType="application/vnd.openxmlformats-officedocument.presentationml.notesSlide+xml"/>
  <Override PartName="/ppt/charts/chart706.xml" ContentType="application/vnd.openxmlformats-officedocument.drawingml.chart+xml"/>
  <Override PartName="/ppt/tags/tag898.xml" ContentType="application/vnd.openxmlformats-officedocument.presentationml.tags+xml"/>
  <Override PartName="/ppt/notesSlides/notesSlide466.xml" ContentType="application/vnd.openxmlformats-officedocument.presentationml.notesSlide+xml"/>
  <Override PartName="/ppt/charts/chart707.xml" ContentType="application/vnd.openxmlformats-officedocument.drawingml.chart+xml"/>
  <Override PartName="/ppt/tags/tag899.xml" ContentType="application/vnd.openxmlformats-officedocument.presentationml.tags+xml"/>
  <Override PartName="/ppt/notesSlides/notesSlide467.xml" ContentType="application/vnd.openxmlformats-officedocument.presentationml.notesSlide+xml"/>
  <Override PartName="/ppt/charts/chart708.xml" ContentType="application/vnd.openxmlformats-officedocument.drawingml.chart+xml"/>
  <Override PartName="/ppt/tags/tag900.xml" ContentType="application/vnd.openxmlformats-officedocument.presentationml.tags+xml"/>
  <Override PartName="/ppt/notesSlides/notesSlide468.xml" ContentType="application/vnd.openxmlformats-officedocument.presentationml.notesSlide+xml"/>
  <Override PartName="/ppt/charts/chart709.xml" ContentType="application/vnd.openxmlformats-officedocument.drawingml.chart+xml"/>
  <Override PartName="/ppt/tags/tag901.xml" ContentType="application/vnd.openxmlformats-officedocument.presentationml.tags+xml"/>
  <Override PartName="/ppt/notesSlides/notesSlide469.xml" ContentType="application/vnd.openxmlformats-officedocument.presentationml.notesSlide+xml"/>
  <Override PartName="/ppt/charts/chart710.xml" ContentType="application/vnd.openxmlformats-officedocument.drawingml.chart+xml"/>
  <Override PartName="/ppt/tags/tag902.xml" ContentType="application/vnd.openxmlformats-officedocument.presentationml.tags+xml"/>
  <Override PartName="/ppt/notesSlides/notesSlide470.xml" ContentType="application/vnd.openxmlformats-officedocument.presentationml.notesSlide+xml"/>
  <Override PartName="/ppt/charts/chart711.xml" ContentType="application/vnd.openxmlformats-officedocument.drawingml.chart+xml"/>
  <Override PartName="/ppt/tags/tag903.xml" ContentType="application/vnd.openxmlformats-officedocument.presentationml.tags+xml"/>
  <Override PartName="/ppt/notesSlides/notesSlide471.xml" ContentType="application/vnd.openxmlformats-officedocument.presentationml.notesSlide+xml"/>
  <Override PartName="/ppt/charts/chart712.xml" ContentType="application/vnd.openxmlformats-officedocument.drawingml.chart+xml"/>
  <Override PartName="/ppt/tags/tag904.xml" ContentType="application/vnd.openxmlformats-officedocument.presentationml.tags+xml"/>
  <Override PartName="/ppt/notesSlides/notesSlide472.xml" ContentType="application/vnd.openxmlformats-officedocument.presentationml.notesSlide+xml"/>
  <Override PartName="/ppt/charts/chart713.xml" ContentType="application/vnd.openxmlformats-officedocument.drawingml.chart+xml"/>
  <Override PartName="/ppt/tags/tag905.xml" ContentType="application/vnd.openxmlformats-officedocument.presentationml.tags+xml"/>
  <Override PartName="/ppt/notesSlides/notesSlide473.xml" ContentType="application/vnd.openxmlformats-officedocument.presentationml.notesSlide+xml"/>
  <Override PartName="/ppt/charts/chart714.xml" ContentType="application/vnd.openxmlformats-officedocument.drawingml.chart+xml"/>
  <Override PartName="/ppt/tags/tag906.xml" ContentType="application/vnd.openxmlformats-officedocument.presentationml.tags+xml"/>
  <Override PartName="/ppt/notesSlides/notesSlide474.xml" ContentType="application/vnd.openxmlformats-officedocument.presentationml.notesSlide+xml"/>
  <Override PartName="/ppt/charts/chart715.xml" ContentType="application/vnd.openxmlformats-officedocument.drawingml.chart+xml"/>
  <Override PartName="/ppt/tags/tag907.xml" ContentType="application/vnd.openxmlformats-officedocument.presentationml.tags+xml"/>
  <Override PartName="/ppt/notesSlides/notesSlide475.xml" ContentType="application/vnd.openxmlformats-officedocument.presentationml.notesSlide+xml"/>
  <Override PartName="/ppt/charts/chart716.xml" ContentType="application/vnd.openxmlformats-officedocument.drawingml.chart+xml"/>
  <Override PartName="/ppt/tags/tag908.xml" ContentType="application/vnd.openxmlformats-officedocument.presentationml.tags+xml"/>
  <Override PartName="/ppt/notesSlides/notesSlide476.xml" ContentType="application/vnd.openxmlformats-officedocument.presentationml.notesSlide+xml"/>
  <Override PartName="/ppt/charts/chart717.xml" ContentType="application/vnd.openxmlformats-officedocument.drawingml.chart+xml"/>
  <Override PartName="/ppt/tags/tag909.xml" ContentType="application/vnd.openxmlformats-officedocument.presentationml.tags+xml"/>
  <Override PartName="/ppt/notesSlides/notesSlide477.xml" ContentType="application/vnd.openxmlformats-officedocument.presentationml.notesSlide+xml"/>
  <Override PartName="/ppt/charts/chart718.xml" ContentType="application/vnd.openxmlformats-officedocument.drawingml.chart+xml"/>
  <Override PartName="/ppt/tags/tag910.xml" ContentType="application/vnd.openxmlformats-officedocument.presentationml.tags+xml"/>
  <Override PartName="/ppt/notesSlides/notesSlide478.xml" ContentType="application/vnd.openxmlformats-officedocument.presentationml.notesSlide+xml"/>
  <Override PartName="/ppt/charts/chart719.xml" ContentType="application/vnd.openxmlformats-officedocument.drawingml.chart+xml"/>
  <Override PartName="/ppt/tags/tag911.xml" ContentType="application/vnd.openxmlformats-officedocument.presentationml.tags+xml"/>
  <Override PartName="/ppt/notesSlides/notesSlide479.xml" ContentType="application/vnd.openxmlformats-officedocument.presentationml.notesSlide+xml"/>
  <Override PartName="/ppt/charts/chart720.xml" ContentType="application/vnd.openxmlformats-officedocument.drawingml.chart+xml"/>
  <Override PartName="/ppt/tags/tag912.xml" ContentType="application/vnd.openxmlformats-officedocument.presentationml.tags+xml"/>
  <Override PartName="/ppt/notesSlides/notesSlide480.xml" ContentType="application/vnd.openxmlformats-officedocument.presentationml.notesSlide+xml"/>
  <Override PartName="/ppt/charts/chart721.xml" ContentType="application/vnd.openxmlformats-officedocument.drawingml.chart+xml"/>
  <Override PartName="/ppt/tags/tag913.xml" ContentType="application/vnd.openxmlformats-officedocument.presentationml.tags+xml"/>
  <Override PartName="/ppt/notesSlides/notesSlide481.xml" ContentType="application/vnd.openxmlformats-officedocument.presentationml.notesSlide+xml"/>
  <Override PartName="/ppt/charts/chart722.xml" ContentType="application/vnd.openxmlformats-officedocument.drawingml.chart+xml"/>
  <Override PartName="/ppt/tags/tag914.xml" ContentType="application/vnd.openxmlformats-officedocument.presentationml.tags+xml"/>
  <Override PartName="/ppt/notesSlides/notesSlide482.xml" ContentType="application/vnd.openxmlformats-officedocument.presentationml.notesSlide+xml"/>
  <Override PartName="/ppt/charts/chart723.xml" ContentType="application/vnd.openxmlformats-officedocument.drawingml.chart+xml"/>
  <Override PartName="/ppt/tags/tag915.xml" ContentType="application/vnd.openxmlformats-officedocument.presentationml.tags+xml"/>
  <Override PartName="/ppt/notesSlides/notesSlide483.xml" ContentType="application/vnd.openxmlformats-officedocument.presentationml.notesSlide+xml"/>
  <Override PartName="/ppt/charts/chart724.xml" ContentType="application/vnd.openxmlformats-officedocument.drawingml.chart+xml"/>
  <Override PartName="/ppt/tags/tag916.xml" ContentType="application/vnd.openxmlformats-officedocument.presentationml.tags+xml"/>
  <Override PartName="/ppt/notesSlides/notesSlide484.xml" ContentType="application/vnd.openxmlformats-officedocument.presentationml.notesSlide+xml"/>
  <Override PartName="/ppt/charts/chart725.xml" ContentType="application/vnd.openxmlformats-officedocument.drawingml.chart+xml"/>
  <Override PartName="/ppt/tags/tag917.xml" ContentType="application/vnd.openxmlformats-officedocument.presentationml.tags+xml"/>
  <Override PartName="/ppt/notesSlides/notesSlide485.xml" ContentType="application/vnd.openxmlformats-officedocument.presentationml.notesSlide+xml"/>
  <Override PartName="/ppt/charts/chart726.xml" ContentType="application/vnd.openxmlformats-officedocument.drawingml.chart+xml"/>
  <Override PartName="/ppt/tags/tag918.xml" ContentType="application/vnd.openxmlformats-officedocument.presentationml.tags+xml"/>
  <Override PartName="/ppt/notesSlides/notesSlide486.xml" ContentType="application/vnd.openxmlformats-officedocument.presentationml.notesSlide+xml"/>
  <Override PartName="/ppt/charts/chart727.xml" ContentType="application/vnd.openxmlformats-officedocument.drawingml.chart+xml"/>
  <Override PartName="/ppt/tags/tag919.xml" ContentType="application/vnd.openxmlformats-officedocument.presentationml.tags+xml"/>
  <Override PartName="/ppt/notesSlides/notesSlide487.xml" ContentType="application/vnd.openxmlformats-officedocument.presentationml.notesSlide+xml"/>
  <Override PartName="/ppt/charts/chart728.xml" ContentType="application/vnd.openxmlformats-officedocument.drawingml.chart+xml"/>
  <Override PartName="/ppt/tags/tag920.xml" ContentType="application/vnd.openxmlformats-officedocument.presentationml.tags+xml"/>
  <Override PartName="/ppt/notesSlides/notesSlide488.xml" ContentType="application/vnd.openxmlformats-officedocument.presentationml.notesSlide+xml"/>
  <Override PartName="/ppt/charts/chart729.xml" ContentType="application/vnd.openxmlformats-officedocument.drawingml.chart+xml"/>
  <Override PartName="/ppt/tags/tag921.xml" ContentType="application/vnd.openxmlformats-officedocument.presentationml.tags+xml"/>
  <Override PartName="/ppt/notesSlides/notesSlide489.xml" ContentType="application/vnd.openxmlformats-officedocument.presentationml.notesSlide+xml"/>
  <Override PartName="/ppt/charts/chart730.xml" ContentType="application/vnd.openxmlformats-officedocument.drawingml.chart+xml"/>
  <Override PartName="/ppt/tags/tag922.xml" ContentType="application/vnd.openxmlformats-officedocument.presentationml.tags+xml"/>
  <Override PartName="/ppt/notesSlides/notesSlide490.xml" ContentType="application/vnd.openxmlformats-officedocument.presentationml.notesSlide+xml"/>
  <Override PartName="/ppt/charts/chart731.xml" ContentType="application/vnd.openxmlformats-officedocument.drawingml.chart+xml"/>
  <Override PartName="/ppt/tags/tag923.xml" ContentType="application/vnd.openxmlformats-officedocument.presentationml.tags+xml"/>
  <Override PartName="/ppt/notesSlides/notesSlide491.xml" ContentType="application/vnd.openxmlformats-officedocument.presentationml.notesSlide+xml"/>
  <Override PartName="/ppt/charts/chart732.xml" ContentType="application/vnd.openxmlformats-officedocument.drawingml.chart+xml"/>
  <Override PartName="/ppt/tags/tag924.xml" ContentType="application/vnd.openxmlformats-officedocument.presentationml.tags+xml"/>
  <Override PartName="/ppt/notesSlides/notesSlide492.xml" ContentType="application/vnd.openxmlformats-officedocument.presentationml.notesSlide+xml"/>
  <Override PartName="/ppt/charts/chart733.xml" ContentType="application/vnd.openxmlformats-officedocument.drawingml.chart+xml"/>
  <Override PartName="/ppt/tags/tag925.xml" ContentType="application/vnd.openxmlformats-officedocument.presentationml.tags+xml"/>
  <Override PartName="/ppt/notesSlides/notesSlide493.xml" ContentType="application/vnd.openxmlformats-officedocument.presentationml.notesSlide+xml"/>
  <Override PartName="/ppt/charts/chart734.xml" ContentType="application/vnd.openxmlformats-officedocument.drawingml.chart+xml"/>
  <Override PartName="/ppt/tags/tag926.xml" ContentType="application/vnd.openxmlformats-officedocument.presentationml.tags+xml"/>
  <Override PartName="/ppt/notesSlides/notesSlide494.xml" ContentType="application/vnd.openxmlformats-officedocument.presentationml.notesSlide+xml"/>
  <Override PartName="/ppt/charts/chart735.xml" ContentType="application/vnd.openxmlformats-officedocument.drawingml.chart+xml"/>
  <Override PartName="/ppt/tags/tag927.xml" ContentType="application/vnd.openxmlformats-officedocument.presentationml.tags+xml"/>
  <Override PartName="/ppt/notesSlides/notesSlide495.xml" ContentType="application/vnd.openxmlformats-officedocument.presentationml.notesSlide+xml"/>
  <Override PartName="/ppt/charts/chart736.xml" ContentType="application/vnd.openxmlformats-officedocument.drawingml.chart+xml"/>
  <Override PartName="/ppt/tags/tag928.xml" ContentType="application/vnd.openxmlformats-officedocument.presentationml.tags+xml"/>
  <Override PartName="/ppt/notesSlides/notesSlide496.xml" ContentType="application/vnd.openxmlformats-officedocument.presentationml.notesSlide+xml"/>
  <Override PartName="/ppt/charts/chart737.xml" ContentType="application/vnd.openxmlformats-officedocument.drawingml.chart+xml"/>
  <Override PartName="/ppt/tags/tag929.xml" ContentType="application/vnd.openxmlformats-officedocument.presentationml.tags+xml"/>
  <Override PartName="/ppt/notesSlides/notesSlide497.xml" ContentType="application/vnd.openxmlformats-officedocument.presentationml.notesSlide+xml"/>
  <Override PartName="/ppt/charts/chart738.xml" ContentType="application/vnd.openxmlformats-officedocument.drawingml.chart+xml"/>
  <Override PartName="/ppt/tags/tag930.xml" ContentType="application/vnd.openxmlformats-officedocument.presentationml.tags+xml"/>
  <Override PartName="/ppt/notesSlides/notesSlide498.xml" ContentType="application/vnd.openxmlformats-officedocument.presentationml.notesSlide+xml"/>
  <Override PartName="/ppt/charts/chart739.xml" ContentType="application/vnd.openxmlformats-officedocument.drawingml.chart+xml"/>
  <Override PartName="/ppt/tags/tag931.xml" ContentType="application/vnd.openxmlformats-officedocument.presentationml.tags+xml"/>
  <Override PartName="/ppt/notesSlides/notesSlide499.xml" ContentType="application/vnd.openxmlformats-officedocument.presentationml.notesSlide+xml"/>
  <Override PartName="/ppt/charts/chart740.xml" ContentType="application/vnd.openxmlformats-officedocument.drawingml.chart+xml"/>
  <Override PartName="/ppt/tags/tag932.xml" ContentType="application/vnd.openxmlformats-officedocument.presentationml.tags+xml"/>
  <Override PartName="/ppt/notesSlides/notesSlide500.xml" ContentType="application/vnd.openxmlformats-officedocument.presentationml.notesSlide+xml"/>
  <Override PartName="/ppt/charts/chart741.xml" ContentType="application/vnd.openxmlformats-officedocument.drawingml.chart+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6" r:id="rId4"/>
  </p:sldMasterIdLst>
  <p:notesMasterIdLst>
    <p:notesMasterId r:id="rId942"/>
  </p:notesMasterIdLst>
  <p:sldIdLst>
    <p:sldId id="2147475169" r:id="rId5"/>
    <p:sldId id="2147475170" r:id="rId6"/>
    <p:sldId id="2147475171" r:id="rId7"/>
    <p:sldId id="2147475172" r:id="rId8"/>
    <p:sldId id="2147475173" r:id="rId9"/>
    <p:sldId id="2147475174" r:id="rId10"/>
    <p:sldId id="2147475175" r:id="rId11"/>
    <p:sldId id="2147475176" r:id="rId12"/>
    <p:sldId id="2147475177" r:id="rId13"/>
    <p:sldId id="2147475178" r:id="rId14"/>
    <p:sldId id="2147475179" r:id="rId15"/>
    <p:sldId id="2147475180" r:id="rId16"/>
    <p:sldId id="2147475181" r:id="rId17"/>
    <p:sldId id="2147475182" r:id="rId18"/>
    <p:sldId id="2147475183" r:id="rId19"/>
    <p:sldId id="2147475184" r:id="rId20"/>
    <p:sldId id="2147475185" r:id="rId21"/>
    <p:sldId id="2147475186" r:id="rId22"/>
    <p:sldId id="2147475187" r:id="rId23"/>
    <p:sldId id="2147475188" r:id="rId24"/>
    <p:sldId id="2147475189" r:id="rId25"/>
    <p:sldId id="2147475190" r:id="rId26"/>
    <p:sldId id="2147475191" r:id="rId27"/>
    <p:sldId id="2147475192" r:id="rId28"/>
    <p:sldId id="2147475193" r:id="rId29"/>
    <p:sldId id="2147475194" r:id="rId30"/>
    <p:sldId id="2147475195" r:id="rId31"/>
    <p:sldId id="2147475196" r:id="rId32"/>
    <p:sldId id="2147475197" r:id="rId33"/>
    <p:sldId id="2147475198" r:id="rId34"/>
    <p:sldId id="2147475199" r:id="rId35"/>
    <p:sldId id="2147475200" r:id="rId36"/>
    <p:sldId id="2147475201" r:id="rId37"/>
    <p:sldId id="2147475202" r:id="rId38"/>
    <p:sldId id="2147475203" r:id="rId39"/>
    <p:sldId id="2147475204" r:id="rId40"/>
    <p:sldId id="2147475205" r:id="rId41"/>
    <p:sldId id="2147475206" r:id="rId42"/>
    <p:sldId id="2147475207" r:id="rId43"/>
    <p:sldId id="2147475208" r:id="rId44"/>
    <p:sldId id="2147475209" r:id="rId45"/>
    <p:sldId id="2147475210" r:id="rId46"/>
    <p:sldId id="2147475211" r:id="rId47"/>
    <p:sldId id="2147475212" r:id="rId48"/>
    <p:sldId id="2147475213" r:id="rId49"/>
    <p:sldId id="2147475214" r:id="rId50"/>
    <p:sldId id="2147475215" r:id="rId51"/>
    <p:sldId id="2147475216" r:id="rId52"/>
    <p:sldId id="2147475217" r:id="rId53"/>
    <p:sldId id="2147475218" r:id="rId54"/>
    <p:sldId id="2147475219" r:id="rId55"/>
    <p:sldId id="2147475220" r:id="rId56"/>
    <p:sldId id="2147475221" r:id="rId57"/>
    <p:sldId id="2147475222" r:id="rId58"/>
    <p:sldId id="2147475223" r:id="rId59"/>
    <p:sldId id="2147475224" r:id="rId60"/>
    <p:sldId id="2147475225" r:id="rId61"/>
    <p:sldId id="2147475226" r:id="rId62"/>
    <p:sldId id="2147475227" r:id="rId63"/>
    <p:sldId id="2147475228" r:id="rId64"/>
    <p:sldId id="2147475229" r:id="rId65"/>
    <p:sldId id="2147475230" r:id="rId66"/>
    <p:sldId id="2147475231" r:id="rId67"/>
    <p:sldId id="2147475232" r:id="rId68"/>
    <p:sldId id="2147475233" r:id="rId69"/>
    <p:sldId id="2147475234" r:id="rId70"/>
    <p:sldId id="2147475235" r:id="rId71"/>
    <p:sldId id="2147475236" r:id="rId72"/>
    <p:sldId id="2147475237" r:id="rId73"/>
    <p:sldId id="2147475238" r:id="rId74"/>
    <p:sldId id="2147475239" r:id="rId75"/>
    <p:sldId id="2147475240" r:id="rId76"/>
    <p:sldId id="2147475241" r:id="rId77"/>
    <p:sldId id="2147475242" r:id="rId78"/>
    <p:sldId id="2147475243" r:id="rId79"/>
    <p:sldId id="2147475244" r:id="rId80"/>
    <p:sldId id="2147475245" r:id="rId81"/>
    <p:sldId id="2147475246" r:id="rId82"/>
    <p:sldId id="2147475247" r:id="rId83"/>
    <p:sldId id="2147475248" r:id="rId84"/>
    <p:sldId id="2147475249" r:id="rId85"/>
    <p:sldId id="2147475250" r:id="rId86"/>
    <p:sldId id="2147475251" r:id="rId87"/>
    <p:sldId id="2147475252" r:id="rId88"/>
    <p:sldId id="2147475253" r:id="rId89"/>
    <p:sldId id="2147475254" r:id="rId90"/>
    <p:sldId id="2147475255" r:id="rId91"/>
    <p:sldId id="2147475256" r:id="rId92"/>
    <p:sldId id="2147475257" r:id="rId93"/>
    <p:sldId id="2147475258" r:id="rId94"/>
    <p:sldId id="2147475259" r:id="rId95"/>
    <p:sldId id="2147475260" r:id="rId96"/>
    <p:sldId id="2147475261" r:id="rId97"/>
    <p:sldId id="2147475262" r:id="rId98"/>
    <p:sldId id="2147475263" r:id="rId99"/>
    <p:sldId id="2147475264" r:id="rId100"/>
    <p:sldId id="2147475265" r:id="rId101"/>
    <p:sldId id="2147475266" r:id="rId102"/>
    <p:sldId id="2147475267" r:id="rId103"/>
    <p:sldId id="2147475268" r:id="rId104"/>
    <p:sldId id="2147475269" r:id="rId105"/>
    <p:sldId id="2147475270" r:id="rId106"/>
    <p:sldId id="2147475271" r:id="rId107"/>
    <p:sldId id="2147475272" r:id="rId108"/>
    <p:sldId id="2147475273" r:id="rId109"/>
    <p:sldId id="2147475274" r:id="rId110"/>
    <p:sldId id="2147475275" r:id="rId111"/>
    <p:sldId id="2147475276" r:id="rId112"/>
    <p:sldId id="2147475277" r:id="rId113"/>
    <p:sldId id="2147475278" r:id="rId114"/>
    <p:sldId id="2147475279" r:id="rId115"/>
    <p:sldId id="2147475280" r:id="rId116"/>
    <p:sldId id="2147475281" r:id="rId117"/>
    <p:sldId id="2147475282" r:id="rId118"/>
    <p:sldId id="2147475283" r:id="rId119"/>
    <p:sldId id="2147475284" r:id="rId120"/>
    <p:sldId id="2147475285" r:id="rId121"/>
    <p:sldId id="2147475286" r:id="rId122"/>
    <p:sldId id="2147475287" r:id="rId123"/>
    <p:sldId id="2147475288" r:id="rId124"/>
    <p:sldId id="2147475289" r:id="rId125"/>
    <p:sldId id="2147475290" r:id="rId126"/>
    <p:sldId id="2147475291" r:id="rId127"/>
    <p:sldId id="2147475292" r:id="rId128"/>
    <p:sldId id="2147475293" r:id="rId129"/>
    <p:sldId id="2147475294" r:id="rId130"/>
    <p:sldId id="2147475295" r:id="rId131"/>
    <p:sldId id="2147475296" r:id="rId132"/>
    <p:sldId id="2147475297" r:id="rId133"/>
    <p:sldId id="2147475298" r:id="rId134"/>
    <p:sldId id="2147475299" r:id="rId135"/>
    <p:sldId id="2147475300" r:id="rId136"/>
    <p:sldId id="2147475301" r:id="rId137"/>
    <p:sldId id="2147475302" r:id="rId138"/>
    <p:sldId id="2147475303" r:id="rId139"/>
    <p:sldId id="2147475304" r:id="rId140"/>
    <p:sldId id="2147475305" r:id="rId141"/>
    <p:sldId id="2147475306" r:id="rId142"/>
    <p:sldId id="2147475307" r:id="rId143"/>
    <p:sldId id="2147475308" r:id="rId144"/>
    <p:sldId id="2147475309" r:id="rId145"/>
    <p:sldId id="2147475310" r:id="rId146"/>
    <p:sldId id="2147475311" r:id="rId147"/>
    <p:sldId id="2147475312" r:id="rId148"/>
    <p:sldId id="2147475313" r:id="rId149"/>
    <p:sldId id="2147475314" r:id="rId150"/>
    <p:sldId id="2147475315" r:id="rId151"/>
    <p:sldId id="2147475316" r:id="rId152"/>
    <p:sldId id="2147475317" r:id="rId153"/>
    <p:sldId id="2147475318" r:id="rId154"/>
    <p:sldId id="2147475319" r:id="rId155"/>
    <p:sldId id="2147475320" r:id="rId156"/>
    <p:sldId id="2147475321" r:id="rId157"/>
    <p:sldId id="2147475322" r:id="rId158"/>
    <p:sldId id="2147475323" r:id="rId159"/>
    <p:sldId id="2147475324" r:id="rId160"/>
    <p:sldId id="2147475325" r:id="rId161"/>
    <p:sldId id="2147475326" r:id="rId162"/>
    <p:sldId id="2147475327" r:id="rId163"/>
    <p:sldId id="2147475328" r:id="rId164"/>
    <p:sldId id="2147475329" r:id="rId165"/>
    <p:sldId id="2147475330" r:id="rId166"/>
    <p:sldId id="2147475331" r:id="rId167"/>
    <p:sldId id="2147475332" r:id="rId168"/>
    <p:sldId id="2147475333" r:id="rId169"/>
    <p:sldId id="2147475334" r:id="rId170"/>
    <p:sldId id="2147475335" r:id="rId171"/>
    <p:sldId id="2147475336" r:id="rId172"/>
    <p:sldId id="2147475337" r:id="rId173"/>
    <p:sldId id="2147475338" r:id="rId174"/>
    <p:sldId id="2147475339" r:id="rId175"/>
    <p:sldId id="2147475340" r:id="rId176"/>
    <p:sldId id="2147475341" r:id="rId177"/>
    <p:sldId id="2147475342" r:id="rId178"/>
    <p:sldId id="2147475343" r:id="rId179"/>
    <p:sldId id="2147475344" r:id="rId180"/>
    <p:sldId id="2147475345" r:id="rId181"/>
    <p:sldId id="2147475346" r:id="rId182"/>
    <p:sldId id="2147475347" r:id="rId183"/>
    <p:sldId id="2147475348" r:id="rId184"/>
    <p:sldId id="2147475349" r:id="rId185"/>
    <p:sldId id="2147475350" r:id="rId186"/>
    <p:sldId id="2147475351" r:id="rId187"/>
    <p:sldId id="2147475352" r:id="rId188"/>
    <p:sldId id="2147475353" r:id="rId189"/>
    <p:sldId id="2147475354" r:id="rId190"/>
    <p:sldId id="2147475355" r:id="rId191"/>
    <p:sldId id="2147475356" r:id="rId192"/>
    <p:sldId id="2147475357" r:id="rId193"/>
    <p:sldId id="2147475358" r:id="rId194"/>
    <p:sldId id="2147475359" r:id="rId195"/>
    <p:sldId id="2147475360" r:id="rId196"/>
    <p:sldId id="2147475361" r:id="rId197"/>
    <p:sldId id="2147475362" r:id="rId198"/>
    <p:sldId id="2147475363" r:id="rId199"/>
    <p:sldId id="2147475364" r:id="rId200"/>
    <p:sldId id="2147475365" r:id="rId201"/>
    <p:sldId id="2147475366" r:id="rId202"/>
    <p:sldId id="2147475367" r:id="rId203"/>
    <p:sldId id="2147475368" r:id="rId204"/>
    <p:sldId id="2147475369" r:id="rId205"/>
    <p:sldId id="2147475370" r:id="rId206"/>
    <p:sldId id="2147475371" r:id="rId207"/>
    <p:sldId id="2147475372" r:id="rId208"/>
    <p:sldId id="2147475373" r:id="rId209"/>
    <p:sldId id="2147475374" r:id="rId210"/>
    <p:sldId id="2147475375" r:id="rId211"/>
    <p:sldId id="2147475376" r:id="rId212"/>
    <p:sldId id="2147475377" r:id="rId213"/>
    <p:sldId id="2147475378" r:id="rId214"/>
    <p:sldId id="2147475379" r:id="rId215"/>
    <p:sldId id="2147475380" r:id="rId216"/>
    <p:sldId id="2147475381" r:id="rId217"/>
    <p:sldId id="2147475382" r:id="rId218"/>
    <p:sldId id="2147475383" r:id="rId219"/>
    <p:sldId id="2147475384" r:id="rId220"/>
    <p:sldId id="2147475385" r:id="rId221"/>
    <p:sldId id="2147475386" r:id="rId222"/>
    <p:sldId id="2147475387" r:id="rId223"/>
    <p:sldId id="2147475388" r:id="rId224"/>
    <p:sldId id="2147475389" r:id="rId225"/>
    <p:sldId id="2147475390" r:id="rId226"/>
    <p:sldId id="2147475391" r:id="rId227"/>
    <p:sldId id="2147475392" r:id="rId228"/>
    <p:sldId id="2147475393" r:id="rId229"/>
    <p:sldId id="2147475394" r:id="rId230"/>
    <p:sldId id="2147475395" r:id="rId231"/>
    <p:sldId id="2147475396" r:id="rId232"/>
    <p:sldId id="2147475397" r:id="rId233"/>
    <p:sldId id="2147475398" r:id="rId234"/>
    <p:sldId id="2147475399" r:id="rId235"/>
    <p:sldId id="2147475400" r:id="rId236"/>
    <p:sldId id="2147475401" r:id="rId237"/>
    <p:sldId id="2147475402" r:id="rId238"/>
    <p:sldId id="2147475403" r:id="rId239"/>
    <p:sldId id="2147475404" r:id="rId240"/>
    <p:sldId id="2147475405" r:id="rId241"/>
    <p:sldId id="2147475406" r:id="rId242"/>
    <p:sldId id="2147475407" r:id="rId243"/>
    <p:sldId id="2147475408" r:id="rId244"/>
    <p:sldId id="2147475409" r:id="rId245"/>
    <p:sldId id="2147475410" r:id="rId246"/>
    <p:sldId id="2147475411" r:id="rId247"/>
    <p:sldId id="2147475412" r:id="rId248"/>
    <p:sldId id="2147475413" r:id="rId249"/>
    <p:sldId id="2147475414" r:id="rId250"/>
    <p:sldId id="2147475415" r:id="rId251"/>
    <p:sldId id="2147475416" r:id="rId252"/>
    <p:sldId id="2147475417" r:id="rId253"/>
    <p:sldId id="2147475418" r:id="rId254"/>
    <p:sldId id="2147475419" r:id="rId255"/>
    <p:sldId id="2147475420" r:id="rId256"/>
    <p:sldId id="2147475421" r:id="rId257"/>
    <p:sldId id="2147475422" r:id="rId258"/>
    <p:sldId id="2147475423" r:id="rId259"/>
    <p:sldId id="2147475424" r:id="rId260"/>
    <p:sldId id="2147475425" r:id="rId261"/>
    <p:sldId id="2147475426" r:id="rId262"/>
    <p:sldId id="2147475427" r:id="rId263"/>
    <p:sldId id="2147475428" r:id="rId264"/>
    <p:sldId id="2147475429" r:id="rId265"/>
    <p:sldId id="2147475430" r:id="rId266"/>
    <p:sldId id="2147475431" r:id="rId267"/>
    <p:sldId id="2147475432" r:id="rId268"/>
    <p:sldId id="2147475433" r:id="rId269"/>
    <p:sldId id="2147475434" r:id="rId270"/>
    <p:sldId id="2147475435" r:id="rId271"/>
    <p:sldId id="2147475436" r:id="rId272"/>
    <p:sldId id="2147475437" r:id="rId273"/>
    <p:sldId id="2147475438" r:id="rId274"/>
    <p:sldId id="2147475439" r:id="rId275"/>
    <p:sldId id="2147475440" r:id="rId276"/>
    <p:sldId id="2147475441" r:id="rId277"/>
    <p:sldId id="2147475442" r:id="rId278"/>
    <p:sldId id="2147475443" r:id="rId279"/>
    <p:sldId id="2147475444" r:id="rId280"/>
    <p:sldId id="2147475445" r:id="rId281"/>
    <p:sldId id="2147475446" r:id="rId282"/>
    <p:sldId id="2147475447" r:id="rId283"/>
    <p:sldId id="2147475448" r:id="rId284"/>
    <p:sldId id="2147475449" r:id="rId285"/>
    <p:sldId id="2147475450" r:id="rId286"/>
    <p:sldId id="2147475451" r:id="rId287"/>
    <p:sldId id="2147475452" r:id="rId288"/>
    <p:sldId id="2147475453" r:id="rId289"/>
    <p:sldId id="2147475454" r:id="rId290"/>
    <p:sldId id="2147475455" r:id="rId291"/>
    <p:sldId id="2147475456" r:id="rId292"/>
    <p:sldId id="2147475457" r:id="rId293"/>
    <p:sldId id="2147475458" r:id="rId294"/>
    <p:sldId id="2147475459" r:id="rId295"/>
    <p:sldId id="2147475460" r:id="rId296"/>
    <p:sldId id="2147475461" r:id="rId297"/>
    <p:sldId id="2147475462" r:id="rId298"/>
    <p:sldId id="2147475463" r:id="rId299"/>
    <p:sldId id="2147475464" r:id="rId300"/>
    <p:sldId id="2147475465" r:id="rId301"/>
    <p:sldId id="2147475466" r:id="rId302"/>
    <p:sldId id="2147475467" r:id="rId303"/>
    <p:sldId id="2147475468" r:id="rId304"/>
    <p:sldId id="2147475469" r:id="rId305"/>
    <p:sldId id="2147475470" r:id="rId306"/>
    <p:sldId id="2147475471" r:id="rId307"/>
    <p:sldId id="2147475472" r:id="rId308"/>
    <p:sldId id="2147475473" r:id="rId309"/>
    <p:sldId id="2147475474" r:id="rId310"/>
    <p:sldId id="2147475475" r:id="rId311"/>
    <p:sldId id="2147475476" r:id="rId312"/>
    <p:sldId id="2147475477" r:id="rId313"/>
    <p:sldId id="2147475478" r:id="rId314"/>
    <p:sldId id="2147475479" r:id="rId315"/>
    <p:sldId id="2147475480" r:id="rId316"/>
    <p:sldId id="2147475481" r:id="rId317"/>
    <p:sldId id="2147475482" r:id="rId318"/>
    <p:sldId id="2147475483" r:id="rId319"/>
    <p:sldId id="2147475484" r:id="rId320"/>
    <p:sldId id="2147475485" r:id="rId321"/>
    <p:sldId id="2147475486" r:id="rId322"/>
    <p:sldId id="2147475487" r:id="rId323"/>
    <p:sldId id="2147475488" r:id="rId324"/>
    <p:sldId id="2147475489" r:id="rId325"/>
    <p:sldId id="2147475490" r:id="rId326"/>
    <p:sldId id="2147475491" r:id="rId327"/>
    <p:sldId id="2147475492" r:id="rId328"/>
    <p:sldId id="2147475493" r:id="rId329"/>
    <p:sldId id="2147475494" r:id="rId330"/>
    <p:sldId id="2147475495" r:id="rId331"/>
    <p:sldId id="2147475496" r:id="rId332"/>
    <p:sldId id="2147475497" r:id="rId333"/>
    <p:sldId id="2147475498" r:id="rId334"/>
    <p:sldId id="2147475499" r:id="rId335"/>
    <p:sldId id="2147475500" r:id="rId336"/>
    <p:sldId id="2147475501" r:id="rId337"/>
    <p:sldId id="2147475502" r:id="rId338"/>
    <p:sldId id="2147475503" r:id="rId339"/>
    <p:sldId id="2147475504" r:id="rId340"/>
    <p:sldId id="2147475505" r:id="rId341"/>
    <p:sldId id="2147475506" r:id="rId342"/>
    <p:sldId id="2147475507" r:id="rId343"/>
    <p:sldId id="2147475508" r:id="rId344"/>
    <p:sldId id="2147475509" r:id="rId345"/>
    <p:sldId id="2147475510" r:id="rId346"/>
    <p:sldId id="2147475511" r:id="rId347"/>
    <p:sldId id="2147475512" r:id="rId348"/>
    <p:sldId id="2147475513" r:id="rId349"/>
    <p:sldId id="2147475514" r:id="rId350"/>
    <p:sldId id="2147475515" r:id="rId351"/>
    <p:sldId id="2147475516" r:id="rId352"/>
    <p:sldId id="2147475517" r:id="rId353"/>
    <p:sldId id="2147475518" r:id="rId354"/>
    <p:sldId id="2147475519" r:id="rId355"/>
    <p:sldId id="2147475520" r:id="rId356"/>
    <p:sldId id="2147475521" r:id="rId357"/>
    <p:sldId id="2147475522" r:id="rId358"/>
    <p:sldId id="2147475523" r:id="rId359"/>
    <p:sldId id="2147475524" r:id="rId360"/>
    <p:sldId id="2147475525" r:id="rId361"/>
    <p:sldId id="2147475526" r:id="rId362"/>
    <p:sldId id="2147475527" r:id="rId363"/>
    <p:sldId id="2147475528" r:id="rId364"/>
    <p:sldId id="2147475529" r:id="rId365"/>
    <p:sldId id="2147475530" r:id="rId366"/>
    <p:sldId id="2147475531" r:id="rId367"/>
    <p:sldId id="2147475532" r:id="rId368"/>
    <p:sldId id="2147475533" r:id="rId369"/>
    <p:sldId id="2147475534" r:id="rId370"/>
    <p:sldId id="2147475535" r:id="rId371"/>
    <p:sldId id="2147475536" r:id="rId372"/>
    <p:sldId id="2147475537" r:id="rId373"/>
    <p:sldId id="2147475538" r:id="rId374"/>
    <p:sldId id="2147475539" r:id="rId375"/>
    <p:sldId id="2147475540" r:id="rId376"/>
    <p:sldId id="2147475541" r:id="rId377"/>
    <p:sldId id="2147475542" r:id="rId378"/>
    <p:sldId id="2147475543" r:id="rId379"/>
    <p:sldId id="2147475544" r:id="rId380"/>
    <p:sldId id="2147475545" r:id="rId381"/>
    <p:sldId id="2147475546" r:id="rId382"/>
    <p:sldId id="2147475547" r:id="rId383"/>
    <p:sldId id="2147475548" r:id="rId384"/>
    <p:sldId id="2147475549" r:id="rId385"/>
    <p:sldId id="2147475550" r:id="rId386"/>
    <p:sldId id="2147475551" r:id="rId387"/>
    <p:sldId id="2147475552" r:id="rId388"/>
    <p:sldId id="2147475553" r:id="rId389"/>
    <p:sldId id="2147475554" r:id="rId390"/>
    <p:sldId id="2147475555" r:id="rId391"/>
    <p:sldId id="2147475556" r:id="rId392"/>
    <p:sldId id="2147475557" r:id="rId393"/>
    <p:sldId id="2147475558" r:id="rId394"/>
    <p:sldId id="2147475559" r:id="rId395"/>
    <p:sldId id="2147475560" r:id="rId396"/>
    <p:sldId id="2147475561" r:id="rId397"/>
    <p:sldId id="2147475562" r:id="rId398"/>
    <p:sldId id="2147475563" r:id="rId399"/>
    <p:sldId id="2147475564" r:id="rId400"/>
    <p:sldId id="2147475565" r:id="rId401"/>
    <p:sldId id="2147475566" r:id="rId402"/>
    <p:sldId id="2147475567" r:id="rId403"/>
    <p:sldId id="2147475568" r:id="rId404"/>
    <p:sldId id="2147475569" r:id="rId405"/>
    <p:sldId id="2147475570" r:id="rId406"/>
    <p:sldId id="2147475571" r:id="rId407"/>
    <p:sldId id="2147475572" r:id="rId408"/>
    <p:sldId id="2147475573" r:id="rId409"/>
    <p:sldId id="2147475574" r:id="rId410"/>
    <p:sldId id="2147475575" r:id="rId411"/>
    <p:sldId id="2147475576" r:id="rId412"/>
    <p:sldId id="2147475577" r:id="rId413"/>
    <p:sldId id="2147475578" r:id="rId414"/>
    <p:sldId id="2147475579" r:id="rId415"/>
    <p:sldId id="2147475580" r:id="rId416"/>
    <p:sldId id="2147475581" r:id="rId417"/>
    <p:sldId id="2147475582" r:id="rId418"/>
    <p:sldId id="2147475583" r:id="rId419"/>
    <p:sldId id="2147475584" r:id="rId420"/>
    <p:sldId id="2147475585" r:id="rId421"/>
    <p:sldId id="2147475586" r:id="rId422"/>
    <p:sldId id="2147475587" r:id="rId423"/>
    <p:sldId id="2147475588" r:id="rId424"/>
    <p:sldId id="2147475589" r:id="rId425"/>
    <p:sldId id="2147475590" r:id="rId426"/>
    <p:sldId id="2147475591" r:id="rId427"/>
    <p:sldId id="2147475592" r:id="rId428"/>
    <p:sldId id="2147475593" r:id="rId429"/>
    <p:sldId id="2147475594" r:id="rId430"/>
    <p:sldId id="2147475595" r:id="rId431"/>
    <p:sldId id="2147475596" r:id="rId432"/>
    <p:sldId id="2147475597" r:id="rId433"/>
    <p:sldId id="2147475598" r:id="rId434"/>
    <p:sldId id="2147475599" r:id="rId435"/>
    <p:sldId id="2147475600" r:id="rId436"/>
    <p:sldId id="2147475601" r:id="rId437"/>
    <p:sldId id="2147475602" r:id="rId438"/>
    <p:sldId id="2147475603" r:id="rId439"/>
    <p:sldId id="2147475604" r:id="rId440"/>
    <p:sldId id="2147475605" r:id="rId441"/>
    <p:sldId id="2147475606" r:id="rId442"/>
    <p:sldId id="2147475607" r:id="rId443"/>
    <p:sldId id="2147475608" r:id="rId444"/>
    <p:sldId id="2147475609" r:id="rId445"/>
    <p:sldId id="2147475610" r:id="rId446"/>
    <p:sldId id="2147475611" r:id="rId447"/>
    <p:sldId id="2147475612" r:id="rId448"/>
    <p:sldId id="2147475613" r:id="rId449"/>
    <p:sldId id="2147475614" r:id="rId450"/>
    <p:sldId id="2147475615" r:id="rId451"/>
    <p:sldId id="2147475616" r:id="rId452"/>
    <p:sldId id="2147475617" r:id="rId453"/>
    <p:sldId id="2147475618" r:id="rId454"/>
    <p:sldId id="2147475619" r:id="rId455"/>
    <p:sldId id="2147475620" r:id="rId456"/>
    <p:sldId id="2147475621" r:id="rId457"/>
    <p:sldId id="2147475622" r:id="rId458"/>
    <p:sldId id="2147475623" r:id="rId459"/>
    <p:sldId id="2147475624" r:id="rId460"/>
    <p:sldId id="2147475625" r:id="rId461"/>
    <p:sldId id="2147475626" r:id="rId462"/>
    <p:sldId id="2147475627" r:id="rId463"/>
    <p:sldId id="2147475628" r:id="rId464"/>
    <p:sldId id="2147475629" r:id="rId465"/>
    <p:sldId id="2147475630" r:id="rId466"/>
    <p:sldId id="2147475631" r:id="rId467"/>
    <p:sldId id="2147475632" r:id="rId468"/>
    <p:sldId id="2147475633" r:id="rId469"/>
    <p:sldId id="2147475634" r:id="rId470"/>
    <p:sldId id="2147475635" r:id="rId471"/>
    <p:sldId id="2147475636" r:id="rId472"/>
    <p:sldId id="2147475637" r:id="rId473"/>
    <p:sldId id="2147475638" r:id="rId474"/>
    <p:sldId id="2147475639" r:id="rId475"/>
    <p:sldId id="2147475640" r:id="rId476"/>
    <p:sldId id="2147475641" r:id="rId477"/>
    <p:sldId id="2147475642" r:id="rId478"/>
    <p:sldId id="2147475643" r:id="rId479"/>
    <p:sldId id="2147475644" r:id="rId480"/>
    <p:sldId id="2147475645" r:id="rId481"/>
    <p:sldId id="2147475646" r:id="rId482"/>
    <p:sldId id="2147475647" r:id="rId483"/>
    <p:sldId id="2147475648" r:id="rId484"/>
    <p:sldId id="2147475649" r:id="rId485"/>
    <p:sldId id="2147475650" r:id="rId486"/>
    <p:sldId id="2147475651" r:id="rId487"/>
    <p:sldId id="2147475652" r:id="rId488"/>
    <p:sldId id="2147475653" r:id="rId489"/>
    <p:sldId id="2147475654" r:id="rId490"/>
    <p:sldId id="2147475655" r:id="rId491"/>
    <p:sldId id="2147475656" r:id="rId492"/>
    <p:sldId id="2147475657" r:id="rId493"/>
    <p:sldId id="2147475658" r:id="rId494"/>
    <p:sldId id="2147475659" r:id="rId495"/>
    <p:sldId id="2147475660" r:id="rId496"/>
    <p:sldId id="2147475661" r:id="rId497"/>
    <p:sldId id="2147475662" r:id="rId498"/>
    <p:sldId id="2147475663" r:id="rId499"/>
    <p:sldId id="2147475664" r:id="rId500"/>
    <p:sldId id="2147475665" r:id="rId501"/>
    <p:sldId id="2147475666" r:id="rId502"/>
    <p:sldId id="2147475667" r:id="rId503"/>
    <p:sldId id="2147475668" r:id="rId504"/>
    <p:sldId id="2147475669" r:id="rId505"/>
    <p:sldId id="2147475670" r:id="rId506"/>
    <p:sldId id="2147475671" r:id="rId507"/>
    <p:sldId id="2147475672" r:id="rId508"/>
    <p:sldId id="2147475673" r:id="rId509"/>
    <p:sldId id="2147475674" r:id="rId510"/>
    <p:sldId id="2147475675" r:id="rId511"/>
    <p:sldId id="2147475676" r:id="rId512"/>
    <p:sldId id="2147475677" r:id="rId513"/>
    <p:sldId id="2147475678" r:id="rId514"/>
    <p:sldId id="2147475679" r:id="rId515"/>
    <p:sldId id="2147475680" r:id="rId516"/>
    <p:sldId id="2147475681" r:id="rId517"/>
    <p:sldId id="2147475682" r:id="rId518"/>
    <p:sldId id="2147475683" r:id="rId519"/>
    <p:sldId id="2147475684" r:id="rId520"/>
    <p:sldId id="2147475685" r:id="rId521"/>
    <p:sldId id="2147475686" r:id="rId522"/>
    <p:sldId id="2147475687" r:id="rId523"/>
    <p:sldId id="2147475688" r:id="rId524"/>
    <p:sldId id="2147475689" r:id="rId525"/>
    <p:sldId id="2147475690" r:id="rId526"/>
    <p:sldId id="2147475691" r:id="rId527"/>
    <p:sldId id="2147475692" r:id="rId528"/>
    <p:sldId id="2147475693" r:id="rId529"/>
    <p:sldId id="2147475694" r:id="rId530"/>
    <p:sldId id="2147475695" r:id="rId531"/>
    <p:sldId id="2147475696" r:id="rId532"/>
    <p:sldId id="2147475697" r:id="rId533"/>
    <p:sldId id="2147475698" r:id="rId534"/>
    <p:sldId id="2147475699" r:id="rId535"/>
    <p:sldId id="2147475700" r:id="rId536"/>
    <p:sldId id="2147475701" r:id="rId537"/>
    <p:sldId id="2147475702" r:id="rId538"/>
    <p:sldId id="2147475703" r:id="rId539"/>
    <p:sldId id="2147475704" r:id="rId540"/>
    <p:sldId id="2147475705" r:id="rId541"/>
    <p:sldId id="2147475706" r:id="rId542"/>
    <p:sldId id="2147475707" r:id="rId543"/>
    <p:sldId id="2147475708" r:id="rId544"/>
    <p:sldId id="2147475709" r:id="rId545"/>
    <p:sldId id="2147475710" r:id="rId546"/>
    <p:sldId id="2147475711" r:id="rId547"/>
    <p:sldId id="2147475712" r:id="rId548"/>
    <p:sldId id="2147475713" r:id="rId549"/>
    <p:sldId id="2147475714" r:id="rId550"/>
    <p:sldId id="2147475715" r:id="rId551"/>
    <p:sldId id="2147475716" r:id="rId552"/>
    <p:sldId id="2147475717" r:id="rId553"/>
    <p:sldId id="2147475718" r:id="rId554"/>
    <p:sldId id="2147475719" r:id="rId555"/>
    <p:sldId id="2147475720" r:id="rId556"/>
    <p:sldId id="2147475721" r:id="rId557"/>
    <p:sldId id="2147475722" r:id="rId558"/>
    <p:sldId id="2147475723" r:id="rId559"/>
    <p:sldId id="2147475724" r:id="rId560"/>
    <p:sldId id="2147475725" r:id="rId561"/>
    <p:sldId id="2147475726" r:id="rId562"/>
    <p:sldId id="2147475727" r:id="rId563"/>
    <p:sldId id="2147475728" r:id="rId564"/>
    <p:sldId id="2147475729" r:id="rId565"/>
    <p:sldId id="2147475730" r:id="rId566"/>
    <p:sldId id="2147475731" r:id="rId567"/>
    <p:sldId id="2147475732" r:id="rId568"/>
    <p:sldId id="2147475733" r:id="rId569"/>
    <p:sldId id="2147475734" r:id="rId570"/>
    <p:sldId id="2147475735" r:id="rId571"/>
    <p:sldId id="2147475736" r:id="rId572"/>
    <p:sldId id="2147475737" r:id="rId573"/>
    <p:sldId id="2147475738" r:id="rId574"/>
    <p:sldId id="2147475739" r:id="rId575"/>
    <p:sldId id="2147475740" r:id="rId576"/>
    <p:sldId id="2147475741" r:id="rId577"/>
    <p:sldId id="2147475742" r:id="rId578"/>
    <p:sldId id="2147475743" r:id="rId579"/>
    <p:sldId id="2147475744" r:id="rId580"/>
    <p:sldId id="2147475745" r:id="rId581"/>
    <p:sldId id="2147475746" r:id="rId582"/>
    <p:sldId id="2147475747" r:id="rId583"/>
    <p:sldId id="2147475748" r:id="rId584"/>
    <p:sldId id="2147475749" r:id="rId585"/>
    <p:sldId id="2147475750" r:id="rId586"/>
    <p:sldId id="2147475751" r:id="rId587"/>
    <p:sldId id="2147475752" r:id="rId588"/>
    <p:sldId id="2147475753" r:id="rId589"/>
    <p:sldId id="2147475754" r:id="rId590"/>
    <p:sldId id="2147475755" r:id="rId591"/>
    <p:sldId id="2147475756" r:id="rId592"/>
    <p:sldId id="2147475757" r:id="rId593"/>
    <p:sldId id="2147475758" r:id="rId594"/>
    <p:sldId id="2147475759" r:id="rId595"/>
    <p:sldId id="2147475760" r:id="rId596"/>
    <p:sldId id="2147475761" r:id="rId597"/>
    <p:sldId id="2147475762" r:id="rId598"/>
    <p:sldId id="2147475763" r:id="rId599"/>
    <p:sldId id="2147475764" r:id="rId600"/>
    <p:sldId id="2147475765" r:id="rId601"/>
    <p:sldId id="2147475766" r:id="rId602"/>
    <p:sldId id="2147475767" r:id="rId603"/>
    <p:sldId id="2147475768" r:id="rId604"/>
    <p:sldId id="2147475769" r:id="rId605"/>
    <p:sldId id="2147475770" r:id="rId606"/>
    <p:sldId id="2147475771" r:id="rId607"/>
    <p:sldId id="2147475772" r:id="rId608"/>
    <p:sldId id="2147475773" r:id="rId609"/>
    <p:sldId id="2147475774" r:id="rId610"/>
    <p:sldId id="2147475775" r:id="rId611"/>
    <p:sldId id="2147475776" r:id="rId612"/>
    <p:sldId id="2147475777" r:id="rId613"/>
    <p:sldId id="2147475778" r:id="rId614"/>
    <p:sldId id="2147475779" r:id="rId615"/>
    <p:sldId id="2147475780" r:id="rId616"/>
    <p:sldId id="2147475781" r:id="rId617"/>
    <p:sldId id="2147475782" r:id="rId618"/>
    <p:sldId id="2147475783" r:id="rId619"/>
    <p:sldId id="2147475784" r:id="rId620"/>
    <p:sldId id="2147475785" r:id="rId621"/>
    <p:sldId id="2147475786" r:id="rId622"/>
    <p:sldId id="2147475787" r:id="rId623"/>
    <p:sldId id="2147475788" r:id="rId624"/>
    <p:sldId id="2147475789" r:id="rId625"/>
    <p:sldId id="2147475790" r:id="rId626"/>
    <p:sldId id="2147475791" r:id="rId627"/>
    <p:sldId id="2147475792" r:id="rId628"/>
    <p:sldId id="2147475793" r:id="rId629"/>
    <p:sldId id="2147475794" r:id="rId630"/>
    <p:sldId id="2147475795" r:id="rId631"/>
    <p:sldId id="2147475796" r:id="rId632"/>
    <p:sldId id="2147475797" r:id="rId633"/>
    <p:sldId id="2147475798" r:id="rId634"/>
    <p:sldId id="2147475799" r:id="rId635"/>
    <p:sldId id="2147475800" r:id="rId636"/>
    <p:sldId id="2147475801" r:id="rId637"/>
    <p:sldId id="2147475802" r:id="rId638"/>
    <p:sldId id="2147475803" r:id="rId639"/>
    <p:sldId id="2147475804" r:id="rId640"/>
    <p:sldId id="2147475805" r:id="rId641"/>
    <p:sldId id="2147475806" r:id="rId642"/>
    <p:sldId id="2147475807" r:id="rId643"/>
    <p:sldId id="2147475808" r:id="rId644"/>
    <p:sldId id="2147475809" r:id="rId645"/>
    <p:sldId id="2147475810" r:id="rId646"/>
    <p:sldId id="2147475811" r:id="rId647"/>
    <p:sldId id="2147475812" r:id="rId648"/>
    <p:sldId id="2147475813" r:id="rId649"/>
    <p:sldId id="2147475814" r:id="rId650"/>
    <p:sldId id="2147475815" r:id="rId651"/>
    <p:sldId id="2147475816" r:id="rId652"/>
    <p:sldId id="2147475817" r:id="rId653"/>
    <p:sldId id="2147475818" r:id="rId654"/>
    <p:sldId id="2147475819" r:id="rId655"/>
    <p:sldId id="2147475820" r:id="rId656"/>
    <p:sldId id="2147475821" r:id="rId657"/>
    <p:sldId id="2147475822" r:id="rId658"/>
    <p:sldId id="2147475823" r:id="rId659"/>
    <p:sldId id="2147475824" r:id="rId660"/>
    <p:sldId id="2147475825" r:id="rId661"/>
    <p:sldId id="2147475826" r:id="rId662"/>
    <p:sldId id="2147475827" r:id="rId663"/>
    <p:sldId id="2147475828" r:id="rId664"/>
    <p:sldId id="2147475829" r:id="rId665"/>
    <p:sldId id="2147475830" r:id="rId666"/>
    <p:sldId id="2147475831" r:id="rId667"/>
    <p:sldId id="2147475832" r:id="rId668"/>
    <p:sldId id="2147475833" r:id="rId669"/>
    <p:sldId id="2147475834" r:id="rId670"/>
    <p:sldId id="2147475835" r:id="rId671"/>
    <p:sldId id="2147475836" r:id="rId672"/>
    <p:sldId id="2147475837" r:id="rId673"/>
    <p:sldId id="2147475838" r:id="rId674"/>
    <p:sldId id="2147475839" r:id="rId675"/>
    <p:sldId id="2147475840" r:id="rId676"/>
    <p:sldId id="2147475841" r:id="rId677"/>
    <p:sldId id="2147475842" r:id="rId678"/>
    <p:sldId id="2147475843" r:id="rId679"/>
    <p:sldId id="2147475844" r:id="rId680"/>
    <p:sldId id="2147475845" r:id="rId681"/>
    <p:sldId id="2147475846" r:id="rId682"/>
    <p:sldId id="2147475847" r:id="rId683"/>
    <p:sldId id="2147475848" r:id="rId684"/>
    <p:sldId id="2147475849" r:id="rId685"/>
    <p:sldId id="2147475850" r:id="rId686"/>
    <p:sldId id="2147475851" r:id="rId687"/>
    <p:sldId id="2147475852" r:id="rId688"/>
    <p:sldId id="2147475853" r:id="rId689"/>
    <p:sldId id="2147475854" r:id="rId690"/>
    <p:sldId id="2147475855" r:id="rId691"/>
    <p:sldId id="2147475856" r:id="rId692"/>
    <p:sldId id="2147475857" r:id="rId693"/>
    <p:sldId id="2147475858" r:id="rId694"/>
    <p:sldId id="2147475859" r:id="rId695"/>
    <p:sldId id="2147475860" r:id="rId696"/>
    <p:sldId id="2147475861" r:id="rId697"/>
    <p:sldId id="2147475862" r:id="rId698"/>
    <p:sldId id="2147475863" r:id="rId699"/>
    <p:sldId id="2147475864" r:id="rId700"/>
    <p:sldId id="2147475865" r:id="rId701"/>
    <p:sldId id="2147475866" r:id="rId702"/>
    <p:sldId id="2147475867" r:id="rId703"/>
    <p:sldId id="2147475868" r:id="rId704"/>
    <p:sldId id="2147475869" r:id="rId705"/>
    <p:sldId id="2147475870" r:id="rId706"/>
    <p:sldId id="2147475871" r:id="rId707"/>
    <p:sldId id="2147475872" r:id="rId708"/>
    <p:sldId id="2147475873" r:id="rId709"/>
    <p:sldId id="2147475874" r:id="rId710"/>
    <p:sldId id="2147475875" r:id="rId711"/>
    <p:sldId id="2147475876" r:id="rId712"/>
    <p:sldId id="2147475877" r:id="rId713"/>
    <p:sldId id="2147475878" r:id="rId714"/>
    <p:sldId id="2147475879" r:id="rId715"/>
    <p:sldId id="2147475880" r:id="rId716"/>
    <p:sldId id="2147475881" r:id="rId717"/>
    <p:sldId id="2147475882" r:id="rId718"/>
    <p:sldId id="2147475883" r:id="rId719"/>
    <p:sldId id="2147475884" r:id="rId720"/>
    <p:sldId id="2147475885" r:id="rId721"/>
    <p:sldId id="2147475886" r:id="rId722"/>
    <p:sldId id="2147475887" r:id="rId723"/>
    <p:sldId id="2147475888" r:id="rId724"/>
    <p:sldId id="2147475889" r:id="rId725"/>
    <p:sldId id="2147475890" r:id="rId726"/>
    <p:sldId id="2147475891" r:id="rId727"/>
    <p:sldId id="2147475892" r:id="rId728"/>
    <p:sldId id="2147475893" r:id="rId729"/>
    <p:sldId id="2147475894" r:id="rId730"/>
    <p:sldId id="2147475895" r:id="rId731"/>
    <p:sldId id="2147475896" r:id="rId732"/>
    <p:sldId id="2147475897" r:id="rId733"/>
    <p:sldId id="2147475898" r:id="rId734"/>
    <p:sldId id="2147475899" r:id="rId735"/>
    <p:sldId id="2147475900" r:id="rId736"/>
    <p:sldId id="2147475901" r:id="rId737"/>
    <p:sldId id="2147475902" r:id="rId738"/>
    <p:sldId id="2147475903" r:id="rId739"/>
    <p:sldId id="2147475904" r:id="rId740"/>
    <p:sldId id="2147475905" r:id="rId741"/>
    <p:sldId id="2147475906" r:id="rId742"/>
    <p:sldId id="2147475907" r:id="rId743"/>
    <p:sldId id="2147475908" r:id="rId744"/>
    <p:sldId id="2147475909" r:id="rId745"/>
    <p:sldId id="2147475910" r:id="rId746"/>
    <p:sldId id="2147475911" r:id="rId747"/>
    <p:sldId id="2147475912" r:id="rId748"/>
    <p:sldId id="2147475913" r:id="rId749"/>
    <p:sldId id="2147475914" r:id="rId750"/>
    <p:sldId id="2147475915" r:id="rId751"/>
    <p:sldId id="2147475916" r:id="rId752"/>
    <p:sldId id="2147475917" r:id="rId753"/>
    <p:sldId id="2147475918" r:id="rId754"/>
    <p:sldId id="2147475919" r:id="rId755"/>
    <p:sldId id="2147475920" r:id="rId756"/>
    <p:sldId id="2147475921" r:id="rId757"/>
    <p:sldId id="2147475922" r:id="rId758"/>
    <p:sldId id="2147475923" r:id="rId759"/>
    <p:sldId id="2147475924" r:id="rId760"/>
    <p:sldId id="2147475925" r:id="rId761"/>
    <p:sldId id="2147475926" r:id="rId762"/>
    <p:sldId id="2147475927" r:id="rId763"/>
    <p:sldId id="2147475928" r:id="rId764"/>
    <p:sldId id="2147475929" r:id="rId765"/>
    <p:sldId id="2147475930" r:id="rId766"/>
    <p:sldId id="2147475931" r:id="rId767"/>
    <p:sldId id="2147475932" r:id="rId768"/>
    <p:sldId id="2147475933" r:id="rId769"/>
    <p:sldId id="2147475934" r:id="rId770"/>
    <p:sldId id="2147475935" r:id="rId771"/>
    <p:sldId id="2147475936" r:id="rId772"/>
    <p:sldId id="2147475937" r:id="rId773"/>
    <p:sldId id="2147475938" r:id="rId774"/>
    <p:sldId id="2147475939" r:id="rId775"/>
    <p:sldId id="2147475940" r:id="rId776"/>
    <p:sldId id="2147475941" r:id="rId777"/>
    <p:sldId id="2147475942" r:id="rId778"/>
    <p:sldId id="2147475943" r:id="rId779"/>
    <p:sldId id="2147475944" r:id="rId780"/>
    <p:sldId id="2147475945" r:id="rId781"/>
    <p:sldId id="2147475946" r:id="rId782"/>
    <p:sldId id="2147475947" r:id="rId783"/>
    <p:sldId id="2147475948" r:id="rId784"/>
    <p:sldId id="2147475949" r:id="rId785"/>
    <p:sldId id="2147475950" r:id="rId786"/>
    <p:sldId id="2147475951" r:id="rId787"/>
    <p:sldId id="2147475952" r:id="rId788"/>
    <p:sldId id="2147475953" r:id="rId789"/>
    <p:sldId id="2147475954" r:id="rId790"/>
    <p:sldId id="2147475955" r:id="rId791"/>
    <p:sldId id="2147475956" r:id="rId792"/>
    <p:sldId id="2147475957" r:id="rId793"/>
    <p:sldId id="2147475958" r:id="rId794"/>
    <p:sldId id="2147475959" r:id="rId795"/>
    <p:sldId id="2147475960" r:id="rId796"/>
    <p:sldId id="2147475961" r:id="rId797"/>
    <p:sldId id="2147475962" r:id="rId798"/>
    <p:sldId id="2147475963" r:id="rId799"/>
    <p:sldId id="2147475964" r:id="rId800"/>
    <p:sldId id="2147475965" r:id="rId801"/>
    <p:sldId id="2147475966" r:id="rId802"/>
    <p:sldId id="2147475967" r:id="rId803"/>
    <p:sldId id="2147475968" r:id="rId804"/>
    <p:sldId id="2147475969" r:id="rId805"/>
    <p:sldId id="2147475970" r:id="rId806"/>
    <p:sldId id="2147475971" r:id="rId807"/>
    <p:sldId id="2147475972" r:id="rId808"/>
    <p:sldId id="2147475973" r:id="rId809"/>
    <p:sldId id="2147475974" r:id="rId810"/>
    <p:sldId id="2147475975" r:id="rId811"/>
    <p:sldId id="2147475976" r:id="rId812"/>
    <p:sldId id="2147475977" r:id="rId813"/>
    <p:sldId id="2147475978" r:id="rId814"/>
    <p:sldId id="2147475979" r:id="rId815"/>
    <p:sldId id="2147475980" r:id="rId816"/>
    <p:sldId id="2147475981" r:id="rId817"/>
    <p:sldId id="2147475982" r:id="rId818"/>
    <p:sldId id="2147475983" r:id="rId819"/>
    <p:sldId id="2147475984" r:id="rId820"/>
    <p:sldId id="2147475985" r:id="rId821"/>
    <p:sldId id="2147475986" r:id="rId822"/>
    <p:sldId id="2147475987" r:id="rId823"/>
    <p:sldId id="2147475988" r:id="rId824"/>
    <p:sldId id="2147475989" r:id="rId825"/>
    <p:sldId id="2147475990" r:id="rId826"/>
    <p:sldId id="2147475991" r:id="rId827"/>
    <p:sldId id="2147475992" r:id="rId828"/>
    <p:sldId id="2147475993" r:id="rId829"/>
    <p:sldId id="2147475994" r:id="rId830"/>
    <p:sldId id="2147475995" r:id="rId831"/>
    <p:sldId id="2147475996" r:id="rId832"/>
    <p:sldId id="2147475997" r:id="rId833"/>
    <p:sldId id="2147475998" r:id="rId834"/>
    <p:sldId id="2147475999" r:id="rId835"/>
    <p:sldId id="2147476000" r:id="rId836"/>
    <p:sldId id="2147476001" r:id="rId837"/>
    <p:sldId id="2147476002" r:id="rId838"/>
    <p:sldId id="2147476003" r:id="rId839"/>
    <p:sldId id="2147476004" r:id="rId840"/>
    <p:sldId id="2147476005" r:id="rId841"/>
    <p:sldId id="2147476006" r:id="rId842"/>
    <p:sldId id="2147476007" r:id="rId843"/>
    <p:sldId id="2147476008" r:id="rId844"/>
    <p:sldId id="2147476009" r:id="rId845"/>
    <p:sldId id="2147476010" r:id="rId846"/>
    <p:sldId id="2147476011" r:id="rId847"/>
    <p:sldId id="2147476012" r:id="rId848"/>
    <p:sldId id="2147476013" r:id="rId849"/>
    <p:sldId id="2147476014" r:id="rId850"/>
    <p:sldId id="2147476015" r:id="rId851"/>
    <p:sldId id="2147476016" r:id="rId852"/>
    <p:sldId id="2147476017" r:id="rId853"/>
    <p:sldId id="2147476018" r:id="rId854"/>
    <p:sldId id="2147476019" r:id="rId855"/>
    <p:sldId id="2147476020" r:id="rId856"/>
    <p:sldId id="2147476021" r:id="rId857"/>
    <p:sldId id="2147476022" r:id="rId858"/>
    <p:sldId id="2147476023" r:id="rId859"/>
    <p:sldId id="2147476024" r:id="rId860"/>
    <p:sldId id="2147476025" r:id="rId861"/>
    <p:sldId id="2147476026" r:id="rId862"/>
    <p:sldId id="2147476027" r:id="rId863"/>
    <p:sldId id="2147476028" r:id="rId864"/>
    <p:sldId id="2147476029" r:id="rId865"/>
    <p:sldId id="2147476030" r:id="rId866"/>
    <p:sldId id="2147476031" r:id="rId867"/>
    <p:sldId id="2147476032" r:id="rId868"/>
    <p:sldId id="2147476033" r:id="rId869"/>
    <p:sldId id="2147476034" r:id="rId870"/>
    <p:sldId id="2147476035" r:id="rId871"/>
    <p:sldId id="2147476036" r:id="rId872"/>
    <p:sldId id="2147476037" r:id="rId873"/>
    <p:sldId id="2147476038" r:id="rId874"/>
    <p:sldId id="2147476039" r:id="rId875"/>
    <p:sldId id="2147476040" r:id="rId876"/>
    <p:sldId id="2147476041" r:id="rId877"/>
    <p:sldId id="2147476042" r:id="rId878"/>
    <p:sldId id="2147476043" r:id="rId879"/>
    <p:sldId id="2147476044" r:id="rId880"/>
    <p:sldId id="2147476045" r:id="rId881"/>
    <p:sldId id="2147476046" r:id="rId882"/>
    <p:sldId id="2147476047" r:id="rId883"/>
    <p:sldId id="2147476048" r:id="rId884"/>
    <p:sldId id="2147476049" r:id="rId885"/>
    <p:sldId id="2147476050" r:id="rId886"/>
    <p:sldId id="2147476051" r:id="rId887"/>
    <p:sldId id="2147476052" r:id="rId888"/>
    <p:sldId id="2147476053" r:id="rId889"/>
    <p:sldId id="2147476054" r:id="rId890"/>
    <p:sldId id="2147476055" r:id="rId891"/>
    <p:sldId id="2147476056" r:id="rId892"/>
    <p:sldId id="2147476057" r:id="rId893"/>
    <p:sldId id="2147476058" r:id="rId894"/>
    <p:sldId id="2147476059" r:id="rId895"/>
    <p:sldId id="2147476060" r:id="rId896"/>
    <p:sldId id="2147476061" r:id="rId897"/>
    <p:sldId id="2147476062" r:id="rId898"/>
    <p:sldId id="2147476063" r:id="rId899"/>
    <p:sldId id="2147476064" r:id="rId900"/>
    <p:sldId id="2147476065" r:id="rId901"/>
    <p:sldId id="2147476066" r:id="rId902"/>
    <p:sldId id="2147476067" r:id="rId903"/>
    <p:sldId id="2147476068" r:id="rId904"/>
    <p:sldId id="2147476069" r:id="rId905"/>
    <p:sldId id="2147476070" r:id="rId906"/>
    <p:sldId id="2147476071" r:id="rId907"/>
    <p:sldId id="2147476072" r:id="rId908"/>
    <p:sldId id="2147476073" r:id="rId909"/>
    <p:sldId id="2147476074" r:id="rId910"/>
    <p:sldId id="2147476075" r:id="rId911"/>
    <p:sldId id="2147476076" r:id="rId912"/>
    <p:sldId id="2147476077" r:id="rId913"/>
    <p:sldId id="2147476078" r:id="rId914"/>
    <p:sldId id="2147476079" r:id="rId915"/>
    <p:sldId id="2147476080" r:id="rId916"/>
    <p:sldId id="2147476081" r:id="rId917"/>
    <p:sldId id="2147476082" r:id="rId918"/>
    <p:sldId id="2147476083" r:id="rId919"/>
    <p:sldId id="2147476084" r:id="rId920"/>
    <p:sldId id="2147476085" r:id="rId921"/>
    <p:sldId id="2147476086" r:id="rId922"/>
    <p:sldId id="2147476087" r:id="rId923"/>
    <p:sldId id="2147476088" r:id="rId924"/>
    <p:sldId id="2147476089" r:id="rId925"/>
    <p:sldId id="2147476090" r:id="rId926"/>
    <p:sldId id="2147476091" r:id="rId927"/>
    <p:sldId id="2147476092" r:id="rId928"/>
    <p:sldId id="2147476093" r:id="rId929"/>
    <p:sldId id="2147476094" r:id="rId930"/>
    <p:sldId id="2147476095" r:id="rId931"/>
    <p:sldId id="2147476096" r:id="rId932"/>
    <p:sldId id="2147476097" r:id="rId933"/>
    <p:sldId id="2147476098" r:id="rId934"/>
    <p:sldId id="2147476099" r:id="rId935"/>
    <p:sldId id="2147476100" r:id="rId936"/>
    <p:sldId id="2147476101" r:id="rId937"/>
    <p:sldId id="2147476102" r:id="rId938"/>
    <p:sldId id="2147476103" r:id="rId939"/>
    <p:sldId id="2147476104" r:id="rId940"/>
    <p:sldId id="2147476105" r:id="rId94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Mix Analysis by Channel for Region" id="{17D725F7-7A37-4B92-BE57-18A4037F2C6F}">
          <p14:sldIdLst>
            <p14:sldId id="2147475169"/>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Lst>
        </p14:section>
        <p14:section name="Mix Analysis by Channel for Channel" id="{DD8F3206-F835-4D8A-99B6-D4E1BBE0ECCE}">
          <p14:sldIdLst>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Lst>
        </p14:section>
        <p14:section name="Mix Analysis by Region for Channel" id="{D761C6D0-FDFC-4A67-A7C6-8608F778BA54}">
          <p14:sldIdLst>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Lst>
        </p14:section>
        <p14:section name="Mix Analysis by REVENUE for Channel" id="{8CFE2B00-15B3-4F23-91FF-F4B52EF39B70}">
          <p14:sldIdLst>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Lst>
        </p14:section>
        <p14:section name="Mix Analysis by Sector" id="{E4D36BBB-168E-40EF-90F5-23DDF9F47D9B}">
          <p14:sldIdLst>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Lst>
        </p14:section>
        <p14:section name="Mix Analysis by Segment" id="{F2349B91-6777-4581-B514-8D277710A3EC}">
          <p14:sldIdLst>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Lst>
        </p14:section>
        <p14:section name="Trade Margin Analysis by Sector" id="{CF4831A1-8DE2-474E-8318-3CF0ABFC818A}">
          <p14:sldIdLst>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Lst>
        </p14:section>
        <p14:section name="Trade Margin Analysis by Segment" id="{A6BC3C8D-0D09-4A96-8D07-3D9AB7FE77DA}">
          <p14:sldIdLst>
            <p14:sldId id="2147475277"/>
            <p14:sldId id="2147475278"/>
            <p14:sldId id="2147475279"/>
            <p14:sldId id="2147475280"/>
            <p14:sldId id="2147475281"/>
            <p14:sldId id="2147475282"/>
            <p14:sldId id="2147475283"/>
            <p14:sldId id="2147475284"/>
            <p14:sldId id="2147475285"/>
            <p14:sldId id="2147475286"/>
            <p14:sldId id="2147475287"/>
            <p14:sldId id="2147475288"/>
            <p14:sldId id="2147475289"/>
            <p14:sldId id="2147475290"/>
            <p14:sldId id="2147475291"/>
            <p14:sldId id="2147475292"/>
          </p14:sldIdLst>
        </p14:section>
        <p14:section name="SKU KPIs Summary By Manufacturer" id="{EC2C8373-A3A3-4895-949E-1EC36B8B3DBC}">
          <p14:sldIdLst>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 id="2147475335"/>
            <p14:sldId id="2147475336"/>
            <p14:sldId id="2147475337"/>
            <p14:sldId id="2147475338"/>
            <p14:sldId id="2147475339"/>
            <p14:sldId id="2147475340"/>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 id="2147475357"/>
            <p14:sldId id="2147475358"/>
            <p14:sldId id="2147475359"/>
            <p14:sldId id="2147475360"/>
            <p14:sldId id="2147475361"/>
            <p14:sldId id="2147475362"/>
            <p14:sldId id="2147475363"/>
            <p14:sldId id="2147475364"/>
            <p14:sldId id="2147475365"/>
            <p14:sldId id="2147475366"/>
            <p14:sldId id="2147475367"/>
            <p14:sldId id="2147475368"/>
            <p14:sldId id="2147475369"/>
            <p14:sldId id="2147475370"/>
            <p14:sldId id="2147475371"/>
            <p14:sldId id="2147475372"/>
            <p14:sldId id="2147475373"/>
            <p14:sldId id="2147475374"/>
            <p14:sldId id="2147475375"/>
            <p14:sldId id="2147475376"/>
            <p14:sldId id="2147475377"/>
            <p14:sldId id="2147475378"/>
            <p14:sldId id="2147475379"/>
            <p14:sldId id="2147475380"/>
            <p14:sldId id="2147475381"/>
            <p14:sldId id="2147475382"/>
            <p14:sldId id="2147475383"/>
            <p14:sldId id="2147475384"/>
            <p14:sldId id="2147475385"/>
            <p14:sldId id="2147475386"/>
          </p14:sldIdLst>
        </p14:section>
        <p14:section name="SKU KPIs Summary By Brand" id="{E3C5A75A-F87C-4FC1-8D75-14E73FD25B08}">
          <p14:sldIdLst>
            <p14:sldId id="2147475387"/>
            <p14:sldId id="2147475388"/>
            <p14:sldId id="2147475389"/>
            <p14:sldId id="2147475390"/>
            <p14:sldId id="2147475391"/>
            <p14:sldId id="2147475392"/>
            <p14:sldId id="2147475393"/>
            <p14:sldId id="2147475394"/>
            <p14:sldId id="2147475395"/>
            <p14:sldId id="2147475396"/>
            <p14:sldId id="2147475397"/>
            <p14:sldId id="2147475398"/>
            <p14:sldId id="2147475399"/>
            <p14:sldId id="2147475400"/>
            <p14:sldId id="2147475401"/>
            <p14:sldId id="2147475402"/>
            <p14:sldId id="2147475403"/>
            <p14:sldId id="2147475404"/>
            <p14:sldId id="2147475405"/>
            <p14:sldId id="2147475406"/>
            <p14:sldId id="2147475407"/>
            <p14:sldId id="2147475408"/>
            <p14:sldId id="2147475409"/>
            <p14:sldId id="2147475410"/>
            <p14:sldId id="2147475411"/>
            <p14:sldId id="2147475412"/>
            <p14:sldId id="2147475413"/>
            <p14:sldId id="2147475414"/>
            <p14:sldId id="2147475415"/>
            <p14:sldId id="2147475416"/>
            <p14:sldId id="2147475417"/>
            <p14:sldId id="2147475418"/>
            <p14:sldId id="2147475419"/>
            <p14:sldId id="2147475420"/>
            <p14:sldId id="2147475421"/>
            <p14:sldId id="2147475422"/>
            <p14:sldId id="2147475423"/>
            <p14:sldId id="2147475424"/>
            <p14:sldId id="2147475425"/>
            <p14:sldId id="2147475426"/>
            <p14:sldId id="2147475427"/>
            <p14:sldId id="2147475428"/>
            <p14:sldId id="2147475429"/>
            <p14:sldId id="2147475430"/>
            <p14:sldId id="2147475431"/>
            <p14:sldId id="2147475432"/>
            <p14:sldId id="2147475433"/>
            <p14:sldId id="2147475434"/>
            <p14:sldId id="2147475435"/>
            <p14:sldId id="2147475436"/>
            <p14:sldId id="2147475437"/>
            <p14:sldId id="2147475438"/>
            <p14:sldId id="2147475439"/>
            <p14:sldId id="2147475440"/>
            <p14:sldId id="2147475441"/>
            <p14:sldId id="2147475442"/>
            <p14:sldId id="2147475443"/>
            <p14:sldId id="2147475444"/>
            <p14:sldId id="2147475445"/>
            <p14:sldId id="2147475446"/>
            <p14:sldId id="2147475447"/>
            <p14:sldId id="2147475448"/>
            <p14:sldId id="2147475449"/>
            <p14:sldId id="2147475450"/>
            <p14:sldId id="2147475451"/>
            <p14:sldId id="2147475452"/>
            <p14:sldId id="2147475453"/>
            <p14:sldId id="2147475454"/>
            <p14:sldId id="2147475455"/>
            <p14:sldId id="2147475456"/>
            <p14:sldId id="2147475457"/>
            <p14:sldId id="2147475458"/>
            <p14:sldId id="2147475459"/>
            <p14:sldId id="2147475460"/>
            <p14:sldId id="2147475461"/>
            <p14:sldId id="2147475462"/>
            <p14:sldId id="2147475463"/>
            <p14:sldId id="2147475464"/>
            <p14:sldId id="2147475465"/>
            <p14:sldId id="2147475466"/>
            <p14:sldId id="2147475467"/>
            <p14:sldId id="2147475468"/>
            <p14:sldId id="2147475469"/>
            <p14:sldId id="2147475470"/>
            <p14:sldId id="2147475471"/>
            <p14:sldId id="2147475472"/>
            <p14:sldId id="2147475473"/>
            <p14:sldId id="2147475474"/>
            <p14:sldId id="2147475475"/>
            <p14:sldId id="2147475476"/>
            <p14:sldId id="2147475477"/>
            <p14:sldId id="2147475478"/>
            <p14:sldId id="2147475479"/>
            <p14:sldId id="2147475480"/>
          </p14:sldIdLst>
        </p14:section>
        <p14:section name="Mix Matrix By Channel" id="{76E810D6-9E69-444B-BC0F-CD26A507C94C}">
          <p14:sldIdLst>
            <p14:sldId id="2147475481"/>
            <p14:sldId id="2147475482"/>
            <p14:sldId id="2147475483"/>
            <p14:sldId id="2147475484"/>
          </p14:sldIdLst>
        </p14:section>
        <p14:section name="Mix Matrix By Region" id="{7CE0C61F-EFDC-44C4-9D96-C1C9780627EA}">
          <p14:sldIdLst>
            <p14:sldId id="2147475485"/>
            <p14:sldId id="2147475486"/>
          </p14:sldIdLst>
        </p14:section>
        <p14:section name="Mix Matrix By Custom Region" id="{7B67C4FE-7331-4A91-AC47-C6AB3AD54CB3}">
          <p14:sldIdLst>
            <p14:sldId id="2147475487"/>
            <p14:sldId id="2147475488"/>
          </p14:sldIdLst>
        </p14:section>
        <p14:section name="Mix Matrix By Brands by Sector" id="{6FB0A865-1CC9-44FF-A3D0-156ED61133E4}">
          <p14:sldIdLst>
            <p14:sldId id="2147475489"/>
            <p14:sldId id="2147475490"/>
            <p14:sldId id="2147475491"/>
            <p14:sldId id="2147475492"/>
            <p14:sldId id="2147475493"/>
            <p14:sldId id="2147475494"/>
            <p14:sldId id="2147475495"/>
            <p14:sldId id="2147475496"/>
            <p14:sldId id="2147475497"/>
            <p14:sldId id="2147475498"/>
            <p14:sldId id="2147475499"/>
            <p14:sldId id="2147475500"/>
            <p14:sldId id="2147475501"/>
            <p14:sldId id="2147475502"/>
            <p14:sldId id="2147475503"/>
            <p14:sldId id="2147475504"/>
          </p14:sldIdLst>
        </p14:section>
        <p14:section name="Mix Matrix By Brands by Segment" id="{B0809AB7-ED89-4942-B062-38EC15F36100}">
          <p14:sldIdLst>
            <p14:sldId id="2147475505"/>
            <p14:sldId id="2147475506"/>
            <p14:sldId id="2147475507"/>
            <p14:sldId id="2147475508"/>
            <p14:sldId id="2147475509"/>
            <p14:sldId id="2147475510"/>
            <p14:sldId id="2147475511"/>
            <p14:sldId id="2147475512"/>
            <p14:sldId id="2147475513"/>
            <p14:sldId id="2147475514"/>
            <p14:sldId id="2147475515"/>
            <p14:sldId id="2147475516"/>
            <p14:sldId id="2147475517"/>
            <p14:sldId id="2147475518"/>
            <p14:sldId id="2147475519"/>
            <p14:sldId id="2147475520"/>
          </p14:sldIdLst>
        </p14:section>
        <p14:section name="Sector Spending Pool" id="{118BCEA9-220D-45A3-ACD4-BF44CC5FCD3B}">
          <p14:sldIdLst>
            <p14:sldId id="2147475521"/>
            <p14:sldId id="2147475522"/>
            <p14:sldId id="2147475523"/>
            <p14:sldId id="2147475524"/>
            <p14:sldId id="2147475525"/>
            <p14:sldId id="2147475526"/>
            <p14:sldId id="2147475527"/>
            <p14:sldId id="2147475528"/>
            <p14:sldId id="2147475529"/>
            <p14:sldId id="2147475530"/>
            <p14:sldId id="2147475531"/>
            <p14:sldId id="2147475532"/>
            <p14:sldId id="2147475533"/>
            <p14:sldId id="2147475534"/>
            <p14:sldId id="2147475535"/>
            <p14:sldId id="2147475536"/>
          </p14:sldIdLst>
        </p14:section>
        <p14:section name="Segment Spending Pool" id="{93E95571-582B-48D3-B2EE-426E641D4B9B}">
          <p14:sldIdLst>
            <p14:sldId id="2147475537"/>
            <p14:sldId id="2147475538"/>
            <p14:sldId id="2147475539"/>
            <p14:sldId id="2147475540"/>
            <p14:sldId id="2147475541"/>
            <p14:sldId id="2147475542"/>
            <p14:sldId id="2147475543"/>
            <p14:sldId id="2147475544"/>
            <p14:sldId id="2147475545"/>
            <p14:sldId id="2147475546"/>
            <p14:sldId id="2147475547"/>
            <p14:sldId id="2147475548"/>
            <p14:sldId id="2147475549"/>
            <p14:sldId id="2147475550"/>
            <p14:sldId id="2147475551"/>
            <p14:sldId id="2147475552"/>
          </p14:sldIdLst>
        </p14:section>
        <p14:section name="Product Spending Pool" id="{A3392090-4B1C-4713-95C1-0DAFE6CE66AC}">
          <p14:sldIdLst>
            <p14:sldId id="2147475553"/>
            <p14:sldId id="2147475554"/>
            <p14:sldId id="2147475555"/>
            <p14:sldId id="2147475556"/>
            <p14:sldId id="2147475557"/>
            <p14:sldId id="2147475558"/>
            <p14:sldId id="2147475559"/>
            <p14:sldId id="2147475560"/>
            <p14:sldId id="2147475561"/>
            <p14:sldId id="2147475562"/>
            <p14:sldId id="2147475563"/>
            <p14:sldId id="2147475564"/>
            <p14:sldId id="2147475565"/>
            <p14:sldId id="2147475566"/>
            <p14:sldId id="2147475567"/>
            <p14:sldId id="2147475568"/>
            <p14:sldId id="2147475569"/>
            <p14:sldId id="2147475570"/>
            <p14:sldId id="2147475571"/>
            <p14:sldId id="2147475572"/>
            <p14:sldId id="2147475573"/>
            <p14:sldId id="2147475574"/>
            <p14:sldId id="2147475575"/>
            <p14:sldId id="2147475576"/>
            <p14:sldId id="2147475577"/>
            <p14:sldId id="2147475578"/>
            <p14:sldId id="2147475579"/>
            <p14:sldId id="2147475580"/>
            <p14:sldId id="2147475581"/>
            <p14:sldId id="2147475582"/>
            <p14:sldId id="2147475583"/>
            <p14:sldId id="2147475584"/>
            <p14:sldId id="2147475585"/>
            <p14:sldId id="2147475586"/>
            <p14:sldId id="2147475587"/>
            <p14:sldId id="2147475588"/>
            <p14:sldId id="2147475589"/>
            <p14:sldId id="2147475590"/>
            <p14:sldId id="2147475591"/>
            <p14:sldId id="2147475592"/>
            <p14:sldId id="2147475593"/>
            <p14:sldId id="2147475594"/>
            <p14:sldId id="2147475595"/>
            <p14:sldId id="2147475596"/>
            <p14:sldId id="2147475597"/>
            <p14:sldId id="2147475598"/>
            <p14:sldId id="2147475599"/>
            <p14:sldId id="2147475600"/>
            <p14:sldId id="2147475601"/>
            <p14:sldId id="2147475602"/>
            <p14:sldId id="2147475603"/>
            <p14:sldId id="2147475604"/>
            <p14:sldId id="2147475605"/>
            <p14:sldId id="2147475606"/>
            <p14:sldId id="2147475607"/>
            <p14:sldId id="2147475608"/>
            <p14:sldId id="2147475609"/>
            <p14:sldId id="2147475610"/>
            <p14:sldId id="2147475611"/>
            <p14:sldId id="2147475612"/>
            <p14:sldId id="2147475613"/>
            <p14:sldId id="2147475614"/>
            <p14:sldId id="2147475615"/>
            <p14:sldId id="2147475616"/>
            <p14:sldId id="2147475617"/>
            <p14:sldId id="2147475618"/>
            <p14:sldId id="2147475619"/>
            <p14:sldId id="2147475620"/>
            <p14:sldId id="2147475621"/>
            <p14:sldId id="2147475622"/>
            <p14:sldId id="2147475623"/>
            <p14:sldId id="2147475624"/>
            <p14:sldId id="2147475625"/>
            <p14:sldId id="2147475626"/>
            <p14:sldId id="2147475627"/>
            <p14:sldId id="2147475628"/>
            <p14:sldId id="2147475629"/>
            <p14:sldId id="2147475630"/>
            <p14:sldId id="2147475631"/>
            <p14:sldId id="2147475632"/>
            <p14:sldId id="2147475633"/>
            <p14:sldId id="2147475634"/>
            <p14:sldId id="2147475635"/>
            <p14:sldId id="2147475636"/>
            <p14:sldId id="2147475637"/>
            <p14:sldId id="2147475638"/>
            <p14:sldId id="2147475639"/>
            <p14:sldId id="2147475640"/>
            <p14:sldId id="2147475641"/>
            <p14:sldId id="2147475642"/>
            <p14:sldId id="2147475643"/>
            <p14:sldId id="2147475644"/>
            <p14:sldId id="2147475645"/>
            <p14:sldId id="2147475646"/>
            <p14:sldId id="2147475647"/>
            <p14:sldId id="2147475648"/>
            <p14:sldId id="2147475649"/>
            <p14:sldId id="2147475650"/>
            <p14:sldId id="2147475651"/>
            <p14:sldId id="2147475652"/>
            <p14:sldId id="2147475653"/>
            <p14:sldId id="2147475654"/>
            <p14:sldId id="2147475655"/>
            <p14:sldId id="2147475656"/>
            <p14:sldId id="2147475657"/>
            <p14:sldId id="2147475658"/>
            <p14:sldId id="2147475659"/>
            <p14:sldId id="2147475660"/>
            <p14:sldId id="2147475661"/>
            <p14:sldId id="2147475662"/>
            <p14:sldId id="2147475663"/>
            <p14:sldId id="2147475664"/>
            <p14:sldId id="2147475665"/>
            <p14:sldId id="2147475666"/>
            <p14:sldId id="2147475667"/>
            <p14:sldId id="2147475668"/>
            <p14:sldId id="2147475669"/>
            <p14:sldId id="2147475670"/>
            <p14:sldId id="2147475671"/>
            <p14:sldId id="2147475672"/>
            <p14:sldId id="2147475673"/>
            <p14:sldId id="2147475674"/>
            <p14:sldId id="2147475675"/>
            <p14:sldId id="2147475676"/>
            <p14:sldId id="2147475677"/>
            <p14:sldId id="2147475678"/>
            <p14:sldId id="2147475679"/>
            <p14:sldId id="2147475680"/>
            <p14:sldId id="2147475681"/>
            <p14:sldId id="2147475682"/>
            <p14:sldId id="2147475683"/>
            <p14:sldId id="2147475684"/>
            <p14:sldId id="2147475685"/>
            <p14:sldId id="2147475686"/>
            <p14:sldId id="2147475687"/>
            <p14:sldId id="2147475688"/>
            <p14:sldId id="2147475689"/>
            <p14:sldId id="2147475690"/>
            <p14:sldId id="2147475691"/>
            <p14:sldId id="2147475692"/>
            <p14:sldId id="2147475693"/>
            <p14:sldId id="2147475694"/>
            <p14:sldId id="2147475695"/>
            <p14:sldId id="2147475696"/>
            <p14:sldId id="2147475697"/>
            <p14:sldId id="2147475698"/>
            <p14:sldId id="2147475699"/>
            <p14:sldId id="2147475700"/>
            <p14:sldId id="2147475701"/>
            <p14:sldId id="2147475702"/>
            <p14:sldId id="2147475703"/>
            <p14:sldId id="2147475704"/>
            <p14:sldId id="2147475705"/>
            <p14:sldId id="2147475706"/>
            <p14:sldId id="2147475707"/>
            <p14:sldId id="2147475708"/>
            <p14:sldId id="2147475709"/>
            <p14:sldId id="2147475710"/>
            <p14:sldId id="2147475711"/>
            <p14:sldId id="2147475712"/>
            <p14:sldId id="2147475713"/>
            <p14:sldId id="2147475714"/>
            <p14:sldId id="2147475715"/>
            <p14:sldId id="2147475716"/>
            <p14:sldId id="2147475717"/>
            <p14:sldId id="2147475718"/>
            <p14:sldId id="2147475719"/>
            <p14:sldId id="2147475720"/>
            <p14:sldId id="2147475721"/>
            <p14:sldId id="2147475722"/>
            <p14:sldId id="2147475723"/>
            <p14:sldId id="2147475724"/>
            <p14:sldId id="2147475725"/>
            <p14:sldId id="2147475726"/>
            <p14:sldId id="2147475727"/>
            <p14:sldId id="2147475728"/>
            <p14:sldId id="2147475729"/>
            <p14:sldId id="2147475730"/>
            <p14:sldId id="2147475731"/>
            <p14:sldId id="2147475732"/>
            <p14:sldId id="2147475733"/>
            <p14:sldId id="2147475734"/>
            <p14:sldId id="2147475735"/>
            <p14:sldId id="2147475736"/>
            <p14:sldId id="2147475737"/>
            <p14:sldId id="2147475738"/>
            <p14:sldId id="2147475739"/>
            <p14:sldId id="2147475740"/>
            <p14:sldId id="2147475741"/>
            <p14:sldId id="2147475742"/>
            <p14:sldId id="2147475743"/>
            <p14:sldId id="2147475744"/>
            <p14:sldId id="2147475745"/>
            <p14:sldId id="2147475746"/>
            <p14:sldId id="2147475747"/>
            <p14:sldId id="2147475748"/>
            <p14:sldId id="2147475749"/>
            <p14:sldId id="2147475750"/>
            <p14:sldId id="2147475751"/>
            <p14:sldId id="2147475752"/>
            <p14:sldId id="2147475753"/>
            <p14:sldId id="2147475754"/>
            <p14:sldId id="2147475755"/>
            <p14:sldId id="2147475756"/>
            <p14:sldId id="2147475757"/>
            <p14:sldId id="2147475758"/>
            <p14:sldId id="2147475759"/>
            <p14:sldId id="2147475760"/>
            <p14:sldId id="2147475761"/>
            <p14:sldId id="2147475762"/>
            <p14:sldId id="2147475763"/>
            <p14:sldId id="2147475764"/>
            <p14:sldId id="2147475765"/>
            <p14:sldId id="2147475766"/>
            <p14:sldId id="2147475767"/>
            <p14:sldId id="2147475768"/>
            <p14:sldId id="2147475769"/>
            <p14:sldId id="2147475770"/>
            <p14:sldId id="2147475771"/>
            <p14:sldId id="2147475772"/>
            <p14:sldId id="2147475773"/>
            <p14:sldId id="2147475774"/>
            <p14:sldId id="2147475775"/>
            <p14:sldId id="2147475776"/>
            <p14:sldId id="2147475777"/>
            <p14:sldId id="2147475778"/>
            <p14:sldId id="2147475779"/>
            <p14:sldId id="2147475780"/>
            <p14:sldId id="2147475781"/>
            <p14:sldId id="2147475782"/>
            <p14:sldId id="2147475783"/>
            <p14:sldId id="2147475784"/>
            <p14:sldId id="2147475785"/>
            <p14:sldId id="2147475786"/>
            <p14:sldId id="2147475787"/>
            <p14:sldId id="2147475788"/>
            <p14:sldId id="2147475789"/>
            <p14:sldId id="2147475790"/>
            <p14:sldId id="2147475791"/>
            <p14:sldId id="2147475792"/>
            <p14:sldId id="2147475793"/>
            <p14:sldId id="2147475794"/>
            <p14:sldId id="2147475795"/>
            <p14:sldId id="2147475796"/>
            <p14:sldId id="2147475797"/>
            <p14:sldId id="2147475798"/>
            <p14:sldId id="2147475799"/>
            <p14:sldId id="2147475800"/>
            <p14:sldId id="2147475801"/>
            <p14:sldId id="2147475802"/>
            <p14:sldId id="2147475803"/>
            <p14:sldId id="2147475804"/>
            <p14:sldId id="2147475805"/>
            <p14:sldId id="2147475806"/>
            <p14:sldId id="2147475807"/>
            <p14:sldId id="2147475808"/>
            <p14:sldId id="2147475809"/>
            <p14:sldId id="2147475810"/>
            <p14:sldId id="2147475811"/>
            <p14:sldId id="2147475812"/>
            <p14:sldId id="2147475813"/>
            <p14:sldId id="2147475814"/>
            <p14:sldId id="2147475815"/>
            <p14:sldId id="2147475816"/>
            <p14:sldId id="2147475817"/>
            <p14:sldId id="2147475818"/>
            <p14:sldId id="2147475819"/>
            <p14:sldId id="2147475820"/>
            <p14:sldId id="2147475821"/>
            <p14:sldId id="2147475822"/>
            <p14:sldId id="2147475823"/>
            <p14:sldId id="2147475824"/>
            <p14:sldId id="2147475825"/>
            <p14:sldId id="2147475826"/>
            <p14:sldId id="2147475827"/>
            <p14:sldId id="2147475828"/>
            <p14:sldId id="2147475829"/>
            <p14:sldId id="2147475830"/>
            <p14:sldId id="2147475831"/>
            <p14:sldId id="2147475832"/>
            <p14:sldId id="2147475833"/>
            <p14:sldId id="2147475834"/>
            <p14:sldId id="2147475835"/>
            <p14:sldId id="2147475836"/>
            <p14:sldId id="2147475837"/>
            <p14:sldId id="2147475838"/>
            <p14:sldId id="2147475839"/>
            <p14:sldId id="2147475840"/>
            <p14:sldId id="2147475841"/>
            <p14:sldId id="2147475842"/>
            <p14:sldId id="2147475843"/>
            <p14:sldId id="2147475844"/>
            <p14:sldId id="2147475845"/>
            <p14:sldId id="2147475846"/>
            <p14:sldId id="2147475847"/>
            <p14:sldId id="2147475848"/>
            <p14:sldId id="2147475849"/>
            <p14:sldId id="2147475850"/>
            <p14:sldId id="2147475851"/>
            <p14:sldId id="2147475852"/>
            <p14:sldId id="2147475853"/>
            <p14:sldId id="2147475854"/>
            <p14:sldId id="2147475855"/>
            <p14:sldId id="2147475856"/>
            <p14:sldId id="2147475857"/>
            <p14:sldId id="2147475858"/>
            <p14:sldId id="2147475859"/>
            <p14:sldId id="2147475860"/>
            <p14:sldId id="2147475861"/>
            <p14:sldId id="2147475862"/>
            <p14:sldId id="2147475863"/>
            <p14:sldId id="2147475864"/>
            <p14:sldId id="2147475865"/>
            <p14:sldId id="2147475866"/>
            <p14:sldId id="2147475867"/>
            <p14:sldId id="2147475868"/>
            <p14:sldId id="2147475869"/>
            <p14:sldId id="2147475870"/>
            <p14:sldId id="2147475871"/>
            <p14:sldId id="2147475872"/>
            <p14:sldId id="2147475873"/>
            <p14:sldId id="2147475874"/>
            <p14:sldId id="2147475875"/>
            <p14:sldId id="2147475876"/>
            <p14:sldId id="2147475877"/>
            <p14:sldId id="2147475878"/>
            <p14:sldId id="2147475879"/>
            <p14:sldId id="2147475880"/>
            <p14:sldId id="2147475881"/>
            <p14:sldId id="2147475882"/>
            <p14:sldId id="2147475883"/>
            <p14:sldId id="2147475884"/>
            <p14:sldId id="2147475885"/>
          </p14:sldIdLst>
        </p14:section>
        <p14:section name="SKU Profitability" id="{8FF717E3-47FE-4AA9-902A-7C38F3321288}">
          <p14:sldIdLst>
            <p14:sldId id="2147475886"/>
            <p14:sldId id="2147475887"/>
            <p14:sldId id="2147475888"/>
            <p14:sldId id="2147475889"/>
            <p14:sldId id="2147475890"/>
            <p14:sldId id="2147475891"/>
            <p14:sldId id="2147475892"/>
            <p14:sldId id="2147475893"/>
            <p14:sldId id="2147475894"/>
            <p14:sldId id="2147475895"/>
            <p14:sldId id="2147475896"/>
            <p14:sldId id="2147475897"/>
            <p14:sldId id="2147475898"/>
            <p14:sldId id="2147475899"/>
            <p14:sldId id="2147475900"/>
            <p14:sldId id="2147475901"/>
            <p14:sldId id="2147475902"/>
            <p14:sldId id="2147475903"/>
            <p14:sldId id="2147475904"/>
            <p14:sldId id="2147475905"/>
            <p14:sldId id="2147475906"/>
            <p14:sldId id="2147475907"/>
            <p14:sldId id="2147475908"/>
            <p14:sldId id="2147475909"/>
            <p14:sldId id="2147475910"/>
            <p14:sldId id="2147475911"/>
            <p14:sldId id="2147475912"/>
            <p14:sldId id="2147475913"/>
            <p14:sldId id="2147475914"/>
            <p14:sldId id="2147475915"/>
            <p14:sldId id="2147475916"/>
            <p14:sldId id="2147475917"/>
            <p14:sldId id="2147475918"/>
            <p14:sldId id="2147475919"/>
            <p14:sldId id="2147475920"/>
            <p14:sldId id="2147475921"/>
            <p14:sldId id="2147475922"/>
            <p14:sldId id="2147475923"/>
            <p14:sldId id="2147475924"/>
            <p14:sldId id="2147475925"/>
            <p14:sldId id="2147475926"/>
            <p14:sldId id="2147475927"/>
            <p14:sldId id="2147475928"/>
            <p14:sldId id="2147475929"/>
            <p14:sldId id="2147475930"/>
            <p14:sldId id="2147475931"/>
            <p14:sldId id="2147475932"/>
            <p14:sldId id="2147475933"/>
            <p14:sldId id="2147475934"/>
            <p14:sldId id="2147475935"/>
            <p14:sldId id="2147475936"/>
            <p14:sldId id="2147475937"/>
            <p14:sldId id="2147475938"/>
            <p14:sldId id="2147475939"/>
            <p14:sldId id="2147475940"/>
            <p14:sldId id="2147475941"/>
            <p14:sldId id="2147475942"/>
            <p14:sldId id="2147475943"/>
            <p14:sldId id="2147475944"/>
            <p14:sldId id="2147475945"/>
            <p14:sldId id="2147475946"/>
            <p14:sldId id="2147475947"/>
            <p14:sldId id="2147475948"/>
            <p14:sldId id="2147475949"/>
            <p14:sldId id="2147475950"/>
            <p14:sldId id="2147475951"/>
            <p14:sldId id="2147475952"/>
            <p14:sldId id="2147475953"/>
            <p14:sldId id="2147475954"/>
            <p14:sldId id="2147475955"/>
            <p14:sldId id="2147475956"/>
            <p14:sldId id="2147475957"/>
            <p14:sldId id="2147475958"/>
            <p14:sldId id="2147475959"/>
            <p14:sldId id="2147475960"/>
            <p14:sldId id="2147475961"/>
            <p14:sldId id="2147475962"/>
            <p14:sldId id="2147475963"/>
            <p14:sldId id="2147475964"/>
            <p14:sldId id="2147475965"/>
            <p14:sldId id="2147475966"/>
            <p14:sldId id="2147475967"/>
            <p14:sldId id="2147475968"/>
            <p14:sldId id="2147475969"/>
            <p14:sldId id="2147475970"/>
            <p14:sldId id="2147475971"/>
            <p14:sldId id="2147475972"/>
            <p14:sldId id="2147475973"/>
            <p14:sldId id="2147475974"/>
            <p14:sldId id="2147475975"/>
            <p14:sldId id="2147475976"/>
            <p14:sldId id="2147475977"/>
            <p14:sldId id="2147475978"/>
            <p14:sldId id="2147475979"/>
            <p14:sldId id="2147475980"/>
            <p14:sldId id="2147475981"/>
            <p14:sldId id="2147475982"/>
            <p14:sldId id="2147475983"/>
            <p14:sldId id="2147475984"/>
            <p14:sldId id="2147475985"/>
            <p14:sldId id="2147475986"/>
            <p14:sldId id="2147475987"/>
            <p14:sldId id="2147475988"/>
            <p14:sldId id="2147475989"/>
            <p14:sldId id="2147475990"/>
            <p14:sldId id="2147475991"/>
            <p14:sldId id="2147475992"/>
            <p14:sldId id="2147475993"/>
            <p14:sldId id="2147475994"/>
            <p14:sldId id="2147475995"/>
            <p14:sldId id="2147475996"/>
            <p14:sldId id="2147475997"/>
            <p14:sldId id="2147475998"/>
            <p14:sldId id="2147475999"/>
            <p14:sldId id="2147476000"/>
            <p14:sldId id="2147476001"/>
            <p14:sldId id="2147476002"/>
            <p14:sldId id="2147476003"/>
            <p14:sldId id="2147476004"/>
            <p14:sldId id="2147476005"/>
            <p14:sldId id="2147476006"/>
            <p14:sldId id="2147476007"/>
            <p14:sldId id="2147476008"/>
            <p14:sldId id="2147476009"/>
            <p14:sldId id="2147476010"/>
            <p14:sldId id="2147476011"/>
            <p14:sldId id="2147476012"/>
            <p14:sldId id="2147476013"/>
            <p14:sldId id="2147476014"/>
            <p14:sldId id="2147476015"/>
            <p14:sldId id="2147476016"/>
            <p14:sldId id="2147476017"/>
            <p14:sldId id="2147476018"/>
            <p14:sldId id="2147476019"/>
            <p14:sldId id="2147476020"/>
            <p14:sldId id="2147476021"/>
            <p14:sldId id="2147476022"/>
            <p14:sldId id="2147476023"/>
            <p14:sldId id="2147476024"/>
            <p14:sldId id="2147476025"/>
            <p14:sldId id="2147476026"/>
            <p14:sldId id="2147476027"/>
            <p14:sldId id="2147476028"/>
            <p14:sldId id="2147476029"/>
            <p14:sldId id="2147476030"/>
            <p14:sldId id="2147476031"/>
            <p14:sldId id="2147476032"/>
            <p14:sldId id="2147476033"/>
            <p14:sldId id="2147476034"/>
            <p14:sldId id="2147476035"/>
            <p14:sldId id="2147476036"/>
            <p14:sldId id="2147476037"/>
            <p14:sldId id="2147476038"/>
            <p14:sldId id="2147476039"/>
            <p14:sldId id="2147476040"/>
            <p14:sldId id="2147476041"/>
            <p14:sldId id="2147476042"/>
            <p14:sldId id="2147476043"/>
            <p14:sldId id="2147476044"/>
            <p14:sldId id="2147476045"/>
            <p14:sldId id="2147476046"/>
            <p14:sldId id="2147476047"/>
            <p14:sldId id="2147476048"/>
            <p14:sldId id="2147476049"/>
            <p14:sldId id="2147476050"/>
            <p14:sldId id="2147476051"/>
            <p14:sldId id="2147476052"/>
            <p14:sldId id="2147476053"/>
            <p14:sldId id="2147476054"/>
            <p14:sldId id="2147476055"/>
            <p14:sldId id="2147476056"/>
            <p14:sldId id="2147476057"/>
            <p14:sldId id="2147476058"/>
            <p14:sldId id="2147476059"/>
            <p14:sldId id="2147476060"/>
            <p14:sldId id="2147476061"/>
            <p14:sldId id="2147476062"/>
            <p14:sldId id="2147476063"/>
            <p14:sldId id="2147476064"/>
            <p14:sldId id="2147476065"/>
            <p14:sldId id="2147476066"/>
            <p14:sldId id="2147476067"/>
            <p14:sldId id="2147476068"/>
            <p14:sldId id="2147476069"/>
            <p14:sldId id="2147476070"/>
            <p14:sldId id="2147476071"/>
            <p14:sldId id="2147476072"/>
            <p14:sldId id="2147476073"/>
          </p14:sldIdLst>
        </p14:section>
        <p14:section name="Trade Margin Table By Sector" id="{4C012E5A-10D4-4B61-88B9-59B5D958367D}">
          <p14:sldIdLst>
            <p14:sldId id="2147476074"/>
            <p14:sldId id="2147476075"/>
            <p14:sldId id="2147476076"/>
            <p14:sldId id="2147476077"/>
            <p14:sldId id="2147476078"/>
            <p14:sldId id="2147476079"/>
            <p14:sldId id="2147476080"/>
            <p14:sldId id="2147476081"/>
            <p14:sldId id="2147476082"/>
            <p14:sldId id="2147476083"/>
            <p14:sldId id="2147476084"/>
            <p14:sldId id="2147476085"/>
            <p14:sldId id="2147476086"/>
            <p14:sldId id="2147476087"/>
            <p14:sldId id="2147476088"/>
            <p14:sldId id="2147476089"/>
          </p14:sldIdLst>
        </p14:section>
        <p14:section name="Trade Margin Table By Segment" id="{EAF398C6-4C06-47B3-9C21-DEB9BDDFA8A4}">
          <p14:sldIdLst>
            <p14:sldId id="2147476090"/>
            <p14:sldId id="2147476091"/>
            <p14:sldId id="2147476092"/>
            <p14:sldId id="2147476093"/>
            <p14:sldId id="2147476094"/>
            <p14:sldId id="2147476095"/>
            <p14:sldId id="2147476096"/>
            <p14:sldId id="2147476097"/>
            <p14:sldId id="2147476098"/>
            <p14:sldId id="2147476099"/>
            <p14:sldId id="2147476100"/>
            <p14:sldId id="2147476101"/>
            <p14:sldId id="2147476102"/>
            <p14:sldId id="2147476103"/>
            <p14:sldId id="2147476104"/>
            <p14:sldId id="2147476105"/>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Lst>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671" Type="http://schemas.openxmlformats.org/officeDocument/2006/relationships/slide" Target="slides/slide667.xml"/><Relationship Id="rId769" Type="http://schemas.openxmlformats.org/officeDocument/2006/relationships/slide" Target="slides/slide765.xml"/><Relationship Id="rId21" Type="http://schemas.openxmlformats.org/officeDocument/2006/relationships/slide" Target="slides/slide17.xml"/><Relationship Id="rId324" Type="http://schemas.openxmlformats.org/officeDocument/2006/relationships/slide" Target="slides/slide320.xml"/><Relationship Id="rId531" Type="http://schemas.openxmlformats.org/officeDocument/2006/relationships/slide" Target="slides/slide527.xml"/><Relationship Id="rId629" Type="http://schemas.openxmlformats.org/officeDocument/2006/relationships/slide" Target="slides/slide625.xml"/><Relationship Id="rId170" Type="http://schemas.openxmlformats.org/officeDocument/2006/relationships/slide" Target="slides/slide166.xml"/><Relationship Id="rId836" Type="http://schemas.openxmlformats.org/officeDocument/2006/relationships/slide" Target="slides/slide832.xml"/><Relationship Id="rId268" Type="http://schemas.openxmlformats.org/officeDocument/2006/relationships/slide" Target="slides/slide264.xml"/><Relationship Id="rId475" Type="http://schemas.openxmlformats.org/officeDocument/2006/relationships/slide" Target="slides/slide471.xml"/><Relationship Id="rId682" Type="http://schemas.openxmlformats.org/officeDocument/2006/relationships/slide" Target="slides/slide678.xml"/><Relationship Id="rId903" Type="http://schemas.openxmlformats.org/officeDocument/2006/relationships/slide" Target="slides/slide899.xml"/><Relationship Id="rId32" Type="http://schemas.openxmlformats.org/officeDocument/2006/relationships/slide" Target="slides/slide28.xml"/><Relationship Id="rId128" Type="http://schemas.openxmlformats.org/officeDocument/2006/relationships/slide" Target="slides/slide124.xml"/><Relationship Id="rId335" Type="http://schemas.openxmlformats.org/officeDocument/2006/relationships/slide" Target="slides/slide331.xml"/><Relationship Id="rId542" Type="http://schemas.openxmlformats.org/officeDocument/2006/relationships/slide" Target="slides/slide538.xml"/><Relationship Id="rId181" Type="http://schemas.openxmlformats.org/officeDocument/2006/relationships/slide" Target="slides/slide177.xml"/><Relationship Id="rId402" Type="http://schemas.openxmlformats.org/officeDocument/2006/relationships/slide" Target="slides/slide398.xml"/><Relationship Id="rId847" Type="http://schemas.openxmlformats.org/officeDocument/2006/relationships/slide" Target="slides/slide843.xml"/><Relationship Id="rId279" Type="http://schemas.openxmlformats.org/officeDocument/2006/relationships/slide" Target="slides/slide275.xml"/><Relationship Id="rId486" Type="http://schemas.openxmlformats.org/officeDocument/2006/relationships/slide" Target="slides/slide482.xml"/><Relationship Id="rId693" Type="http://schemas.openxmlformats.org/officeDocument/2006/relationships/slide" Target="slides/slide689.xml"/><Relationship Id="rId707" Type="http://schemas.openxmlformats.org/officeDocument/2006/relationships/slide" Target="slides/slide703.xml"/><Relationship Id="rId914" Type="http://schemas.openxmlformats.org/officeDocument/2006/relationships/slide" Target="slides/slide910.xml"/><Relationship Id="rId43" Type="http://schemas.openxmlformats.org/officeDocument/2006/relationships/slide" Target="slides/slide39.xml"/><Relationship Id="rId139" Type="http://schemas.openxmlformats.org/officeDocument/2006/relationships/slide" Target="slides/slide135.xml"/><Relationship Id="rId346" Type="http://schemas.openxmlformats.org/officeDocument/2006/relationships/slide" Target="slides/slide342.xml"/><Relationship Id="rId553" Type="http://schemas.openxmlformats.org/officeDocument/2006/relationships/slide" Target="slides/slide549.xml"/><Relationship Id="rId760" Type="http://schemas.openxmlformats.org/officeDocument/2006/relationships/slide" Target="slides/slide756.xml"/><Relationship Id="rId192" Type="http://schemas.openxmlformats.org/officeDocument/2006/relationships/slide" Target="slides/slide188.xml"/><Relationship Id="rId206" Type="http://schemas.openxmlformats.org/officeDocument/2006/relationships/slide" Target="slides/slide202.xml"/><Relationship Id="rId413" Type="http://schemas.openxmlformats.org/officeDocument/2006/relationships/slide" Target="slides/slide409.xml"/><Relationship Id="rId858" Type="http://schemas.openxmlformats.org/officeDocument/2006/relationships/slide" Target="slides/slide854.xml"/><Relationship Id="rId497" Type="http://schemas.openxmlformats.org/officeDocument/2006/relationships/slide" Target="slides/slide493.xml"/><Relationship Id="rId620" Type="http://schemas.openxmlformats.org/officeDocument/2006/relationships/slide" Target="slides/slide616.xml"/><Relationship Id="rId718" Type="http://schemas.openxmlformats.org/officeDocument/2006/relationships/slide" Target="slides/slide714.xml"/><Relationship Id="rId925" Type="http://schemas.openxmlformats.org/officeDocument/2006/relationships/slide" Target="slides/slide921.xml"/><Relationship Id="rId357" Type="http://schemas.openxmlformats.org/officeDocument/2006/relationships/slide" Target="slides/slide353.xml"/><Relationship Id="rId54" Type="http://schemas.openxmlformats.org/officeDocument/2006/relationships/slide" Target="slides/slide50.xml"/><Relationship Id="rId217" Type="http://schemas.openxmlformats.org/officeDocument/2006/relationships/slide" Target="slides/slide213.xml"/><Relationship Id="rId564" Type="http://schemas.openxmlformats.org/officeDocument/2006/relationships/slide" Target="slides/slide560.xml"/><Relationship Id="rId771" Type="http://schemas.openxmlformats.org/officeDocument/2006/relationships/slide" Target="slides/slide767.xml"/><Relationship Id="rId869" Type="http://schemas.openxmlformats.org/officeDocument/2006/relationships/slide" Target="slides/slide865.xml"/><Relationship Id="rId424" Type="http://schemas.openxmlformats.org/officeDocument/2006/relationships/slide" Target="slides/slide420.xml"/><Relationship Id="rId631" Type="http://schemas.openxmlformats.org/officeDocument/2006/relationships/slide" Target="slides/slide627.xml"/><Relationship Id="rId729" Type="http://schemas.openxmlformats.org/officeDocument/2006/relationships/slide" Target="slides/slide725.xml"/><Relationship Id="rId270" Type="http://schemas.openxmlformats.org/officeDocument/2006/relationships/slide" Target="slides/slide266.xml"/><Relationship Id="rId936" Type="http://schemas.openxmlformats.org/officeDocument/2006/relationships/slide" Target="slides/slide932.xml"/><Relationship Id="rId65" Type="http://schemas.openxmlformats.org/officeDocument/2006/relationships/slide" Target="slides/slide61.xml"/><Relationship Id="rId130" Type="http://schemas.openxmlformats.org/officeDocument/2006/relationships/slide" Target="slides/slide126.xml"/><Relationship Id="rId368" Type="http://schemas.openxmlformats.org/officeDocument/2006/relationships/slide" Target="slides/slide364.xml"/><Relationship Id="rId575" Type="http://schemas.openxmlformats.org/officeDocument/2006/relationships/slide" Target="slides/slide571.xml"/><Relationship Id="rId782" Type="http://schemas.openxmlformats.org/officeDocument/2006/relationships/slide" Target="slides/slide778.xml"/><Relationship Id="rId228" Type="http://schemas.openxmlformats.org/officeDocument/2006/relationships/slide" Target="slides/slide224.xml"/><Relationship Id="rId435" Type="http://schemas.openxmlformats.org/officeDocument/2006/relationships/slide" Target="slides/slide431.xml"/><Relationship Id="rId642" Type="http://schemas.openxmlformats.org/officeDocument/2006/relationships/slide" Target="slides/slide638.xml"/><Relationship Id="rId281" Type="http://schemas.openxmlformats.org/officeDocument/2006/relationships/slide" Target="slides/slide277.xml"/><Relationship Id="rId502" Type="http://schemas.openxmlformats.org/officeDocument/2006/relationships/slide" Target="slides/slide498.xml"/><Relationship Id="rId947" Type="http://schemas.microsoft.com/office/2015/10/relationships/revisionInfo" Target="revisionInfo.xml"/><Relationship Id="rId76" Type="http://schemas.openxmlformats.org/officeDocument/2006/relationships/slide" Target="slides/slide72.xml"/><Relationship Id="rId141" Type="http://schemas.openxmlformats.org/officeDocument/2006/relationships/slide" Target="slides/slide137.xml"/><Relationship Id="rId379" Type="http://schemas.openxmlformats.org/officeDocument/2006/relationships/slide" Target="slides/slide375.xml"/><Relationship Id="rId586" Type="http://schemas.openxmlformats.org/officeDocument/2006/relationships/slide" Target="slides/slide582.xml"/><Relationship Id="rId793" Type="http://schemas.openxmlformats.org/officeDocument/2006/relationships/slide" Target="slides/slide789.xml"/><Relationship Id="rId807" Type="http://schemas.openxmlformats.org/officeDocument/2006/relationships/slide" Target="slides/slide803.xml"/><Relationship Id="rId7" Type="http://schemas.openxmlformats.org/officeDocument/2006/relationships/slide" Target="slides/slide3.xml"/><Relationship Id="rId239" Type="http://schemas.openxmlformats.org/officeDocument/2006/relationships/slide" Target="slides/slide235.xml"/><Relationship Id="rId446" Type="http://schemas.openxmlformats.org/officeDocument/2006/relationships/slide" Target="slides/slide442.xml"/><Relationship Id="rId653" Type="http://schemas.openxmlformats.org/officeDocument/2006/relationships/slide" Target="slides/slide649.xml"/><Relationship Id="rId292" Type="http://schemas.openxmlformats.org/officeDocument/2006/relationships/slide" Target="slides/slide288.xml"/><Relationship Id="rId306" Type="http://schemas.openxmlformats.org/officeDocument/2006/relationships/slide" Target="slides/slide302.xml"/><Relationship Id="rId860" Type="http://schemas.openxmlformats.org/officeDocument/2006/relationships/slide" Target="slides/slide856.xml"/><Relationship Id="rId87" Type="http://schemas.openxmlformats.org/officeDocument/2006/relationships/slide" Target="slides/slide83.xml"/><Relationship Id="rId513" Type="http://schemas.openxmlformats.org/officeDocument/2006/relationships/slide" Target="slides/slide509.xml"/><Relationship Id="rId597" Type="http://schemas.openxmlformats.org/officeDocument/2006/relationships/slide" Target="slides/slide593.xml"/><Relationship Id="rId720" Type="http://schemas.openxmlformats.org/officeDocument/2006/relationships/slide" Target="slides/slide716.xml"/><Relationship Id="rId818" Type="http://schemas.openxmlformats.org/officeDocument/2006/relationships/slide" Target="slides/slide814.xml"/><Relationship Id="rId152" Type="http://schemas.openxmlformats.org/officeDocument/2006/relationships/slide" Target="slides/slide148.xml"/><Relationship Id="rId457" Type="http://schemas.openxmlformats.org/officeDocument/2006/relationships/slide" Target="slides/slide453.xml"/><Relationship Id="rId664" Type="http://schemas.openxmlformats.org/officeDocument/2006/relationships/slide" Target="slides/slide660.xml"/><Relationship Id="rId871" Type="http://schemas.openxmlformats.org/officeDocument/2006/relationships/slide" Target="slides/slide867.xml"/><Relationship Id="rId14" Type="http://schemas.openxmlformats.org/officeDocument/2006/relationships/slide" Target="slides/slide10.xml"/><Relationship Id="rId317" Type="http://schemas.openxmlformats.org/officeDocument/2006/relationships/slide" Target="slides/slide313.xml"/><Relationship Id="rId524" Type="http://schemas.openxmlformats.org/officeDocument/2006/relationships/slide" Target="slides/slide520.xml"/><Relationship Id="rId731" Type="http://schemas.openxmlformats.org/officeDocument/2006/relationships/slide" Target="slides/slide727.xml"/><Relationship Id="rId98" Type="http://schemas.openxmlformats.org/officeDocument/2006/relationships/slide" Target="slides/slide94.xml"/><Relationship Id="rId163" Type="http://schemas.openxmlformats.org/officeDocument/2006/relationships/slide" Target="slides/slide159.xml"/><Relationship Id="rId370" Type="http://schemas.openxmlformats.org/officeDocument/2006/relationships/slide" Target="slides/slide366.xml"/><Relationship Id="rId829" Type="http://schemas.openxmlformats.org/officeDocument/2006/relationships/slide" Target="slides/slide825.xml"/><Relationship Id="rId230" Type="http://schemas.openxmlformats.org/officeDocument/2006/relationships/slide" Target="slides/slide226.xml"/><Relationship Id="rId468" Type="http://schemas.openxmlformats.org/officeDocument/2006/relationships/slide" Target="slides/slide464.xml"/><Relationship Id="rId675" Type="http://schemas.openxmlformats.org/officeDocument/2006/relationships/slide" Target="slides/slide671.xml"/><Relationship Id="rId882" Type="http://schemas.openxmlformats.org/officeDocument/2006/relationships/slide" Target="slides/slide878.xml"/><Relationship Id="rId25" Type="http://schemas.openxmlformats.org/officeDocument/2006/relationships/slide" Target="slides/slide21.xml"/><Relationship Id="rId328" Type="http://schemas.openxmlformats.org/officeDocument/2006/relationships/slide" Target="slides/slide324.xml"/><Relationship Id="rId535" Type="http://schemas.openxmlformats.org/officeDocument/2006/relationships/slide" Target="slides/slide531.xml"/><Relationship Id="rId742" Type="http://schemas.openxmlformats.org/officeDocument/2006/relationships/slide" Target="slides/slide738.xml"/><Relationship Id="rId174" Type="http://schemas.openxmlformats.org/officeDocument/2006/relationships/slide" Target="slides/slide170.xml"/><Relationship Id="rId381" Type="http://schemas.openxmlformats.org/officeDocument/2006/relationships/slide" Target="slides/slide377.xml"/><Relationship Id="rId602" Type="http://schemas.openxmlformats.org/officeDocument/2006/relationships/slide" Target="slides/slide598.xml"/><Relationship Id="rId241" Type="http://schemas.openxmlformats.org/officeDocument/2006/relationships/slide" Target="slides/slide237.xml"/><Relationship Id="rId479" Type="http://schemas.openxmlformats.org/officeDocument/2006/relationships/slide" Target="slides/slide475.xml"/><Relationship Id="rId686" Type="http://schemas.openxmlformats.org/officeDocument/2006/relationships/slide" Target="slides/slide682.xml"/><Relationship Id="rId893" Type="http://schemas.openxmlformats.org/officeDocument/2006/relationships/slide" Target="slides/slide889.xml"/><Relationship Id="rId907" Type="http://schemas.openxmlformats.org/officeDocument/2006/relationships/slide" Target="slides/slide903.xml"/><Relationship Id="rId36" Type="http://schemas.openxmlformats.org/officeDocument/2006/relationships/slide" Target="slides/slide32.xml"/><Relationship Id="rId339" Type="http://schemas.openxmlformats.org/officeDocument/2006/relationships/slide" Target="slides/slide335.xml"/><Relationship Id="rId546" Type="http://schemas.openxmlformats.org/officeDocument/2006/relationships/slide" Target="slides/slide542.xml"/><Relationship Id="rId753" Type="http://schemas.openxmlformats.org/officeDocument/2006/relationships/slide" Target="slides/slide749.xml"/><Relationship Id="rId101" Type="http://schemas.openxmlformats.org/officeDocument/2006/relationships/slide" Target="slides/slide97.xml"/><Relationship Id="rId185" Type="http://schemas.openxmlformats.org/officeDocument/2006/relationships/slide" Target="slides/slide181.xml"/><Relationship Id="rId406" Type="http://schemas.openxmlformats.org/officeDocument/2006/relationships/slide" Target="slides/slide402.xml"/><Relationship Id="rId392" Type="http://schemas.openxmlformats.org/officeDocument/2006/relationships/slide" Target="slides/slide388.xml"/><Relationship Id="rId613" Type="http://schemas.openxmlformats.org/officeDocument/2006/relationships/slide" Target="slides/slide609.xml"/><Relationship Id="rId697" Type="http://schemas.openxmlformats.org/officeDocument/2006/relationships/slide" Target="slides/slide693.xml"/><Relationship Id="rId820" Type="http://schemas.openxmlformats.org/officeDocument/2006/relationships/slide" Target="slides/slide816.xml"/><Relationship Id="rId918" Type="http://schemas.openxmlformats.org/officeDocument/2006/relationships/slide" Target="slides/slide914.xml"/><Relationship Id="rId252" Type="http://schemas.openxmlformats.org/officeDocument/2006/relationships/slide" Target="slides/slide248.xml"/><Relationship Id="rId47" Type="http://schemas.openxmlformats.org/officeDocument/2006/relationships/slide" Target="slides/slide43.xml"/><Relationship Id="rId112" Type="http://schemas.openxmlformats.org/officeDocument/2006/relationships/slide" Target="slides/slide108.xml"/><Relationship Id="rId557" Type="http://schemas.openxmlformats.org/officeDocument/2006/relationships/slide" Target="slides/slide553.xml"/><Relationship Id="rId764" Type="http://schemas.openxmlformats.org/officeDocument/2006/relationships/slide" Target="slides/slide760.xml"/><Relationship Id="rId196" Type="http://schemas.openxmlformats.org/officeDocument/2006/relationships/slide" Target="slides/slide192.xml"/><Relationship Id="rId417" Type="http://schemas.openxmlformats.org/officeDocument/2006/relationships/slide" Target="slides/slide413.xml"/><Relationship Id="rId624" Type="http://schemas.openxmlformats.org/officeDocument/2006/relationships/slide" Target="slides/slide620.xml"/><Relationship Id="rId831" Type="http://schemas.openxmlformats.org/officeDocument/2006/relationships/slide" Target="slides/slide827.xml"/><Relationship Id="rId263" Type="http://schemas.openxmlformats.org/officeDocument/2006/relationships/slide" Target="slides/slide259.xml"/><Relationship Id="rId470" Type="http://schemas.openxmlformats.org/officeDocument/2006/relationships/slide" Target="slides/slide466.xml"/><Relationship Id="rId929" Type="http://schemas.openxmlformats.org/officeDocument/2006/relationships/slide" Target="slides/slide925.xml"/><Relationship Id="rId58" Type="http://schemas.openxmlformats.org/officeDocument/2006/relationships/slide" Target="slides/slide54.xml"/><Relationship Id="rId123" Type="http://schemas.openxmlformats.org/officeDocument/2006/relationships/slide" Target="slides/slide119.xml"/><Relationship Id="rId330" Type="http://schemas.openxmlformats.org/officeDocument/2006/relationships/slide" Target="slides/slide326.xml"/><Relationship Id="rId568" Type="http://schemas.openxmlformats.org/officeDocument/2006/relationships/slide" Target="slides/slide564.xml"/><Relationship Id="rId775" Type="http://schemas.openxmlformats.org/officeDocument/2006/relationships/slide" Target="slides/slide771.xml"/><Relationship Id="rId428" Type="http://schemas.openxmlformats.org/officeDocument/2006/relationships/slide" Target="slides/slide424.xml"/><Relationship Id="rId635" Type="http://schemas.openxmlformats.org/officeDocument/2006/relationships/slide" Target="slides/slide631.xml"/><Relationship Id="rId842" Type="http://schemas.openxmlformats.org/officeDocument/2006/relationships/slide" Target="slides/slide838.xml"/><Relationship Id="rId274" Type="http://schemas.openxmlformats.org/officeDocument/2006/relationships/slide" Target="slides/slide270.xml"/><Relationship Id="rId481" Type="http://schemas.openxmlformats.org/officeDocument/2006/relationships/slide" Target="slides/slide477.xml"/><Relationship Id="rId702" Type="http://schemas.openxmlformats.org/officeDocument/2006/relationships/slide" Target="slides/slide698.xml"/><Relationship Id="rId69" Type="http://schemas.openxmlformats.org/officeDocument/2006/relationships/slide" Target="slides/slide65.xml"/><Relationship Id="rId134" Type="http://schemas.openxmlformats.org/officeDocument/2006/relationships/slide" Target="slides/slide130.xml"/><Relationship Id="rId579" Type="http://schemas.openxmlformats.org/officeDocument/2006/relationships/slide" Target="slides/slide575.xml"/><Relationship Id="rId786" Type="http://schemas.openxmlformats.org/officeDocument/2006/relationships/slide" Target="slides/slide782.xml"/><Relationship Id="rId341" Type="http://schemas.openxmlformats.org/officeDocument/2006/relationships/slide" Target="slides/slide337.xml"/><Relationship Id="rId439" Type="http://schemas.openxmlformats.org/officeDocument/2006/relationships/slide" Target="slides/slide435.xml"/><Relationship Id="rId646" Type="http://schemas.openxmlformats.org/officeDocument/2006/relationships/slide" Target="slides/slide642.xml"/><Relationship Id="rId201" Type="http://schemas.openxmlformats.org/officeDocument/2006/relationships/slide" Target="slides/slide197.xml"/><Relationship Id="rId285" Type="http://schemas.openxmlformats.org/officeDocument/2006/relationships/slide" Target="slides/slide281.xml"/><Relationship Id="rId506" Type="http://schemas.openxmlformats.org/officeDocument/2006/relationships/slide" Target="slides/slide502.xml"/><Relationship Id="rId853" Type="http://schemas.openxmlformats.org/officeDocument/2006/relationships/slide" Target="slides/slide849.xml"/><Relationship Id="rId492" Type="http://schemas.openxmlformats.org/officeDocument/2006/relationships/slide" Target="slides/slide488.xml"/><Relationship Id="rId713" Type="http://schemas.openxmlformats.org/officeDocument/2006/relationships/slide" Target="slides/slide709.xml"/><Relationship Id="rId797" Type="http://schemas.openxmlformats.org/officeDocument/2006/relationships/slide" Target="slides/slide793.xml"/><Relationship Id="rId920" Type="http://schemas.openxmlformats.org/officeDocument/2006/relationships/slide" Target="slides/slide916.xml"/><Relationship Id="rId145" Type="http://schemas.openxmlformats.org/officeDocument/2006/relationships/slide" Target="slides/slide141.xml"/><Relationship Id="rId352" Type="http://schemas.openxmlformats.org/officeDocument/2006/relationships/slide" Target="slides/slide348.xml"/><Relationship Id="rId212" Type="http://schemas.openxmlformats.org/officeDocument/2006/relationships/slide" Target="slides/slide208.xml"/><Relationship Id="rId657" Type="http://schemas.openxmlformats.org/officeDocument/2006/relationships/slide" Target="slides/slide653.xml"/><Relationship Id="rId864" Type="http://schemas.openxmlformats.org/officeDocument/2006/relationships/slide" Target="slides/slide860.xml"/><Relationship Id="rId296" Type="http://schemas.openxmlformats.org/officeDocument/2006/relationships/slide" Target="slides/slide292.xml"/><Relationship Id="rId517" Type="http://schemas.openxmlformats.org/officeDocument/2006/relationships/slide" Target="slides/slide513.xml"/><Relationship Id="rId724" Type="http://schemas.openxmlformats.org/officeDocument/2006/relationships/slide" Target="slides/slide720.xml"/><Relationship Id="rId931" Type="http://schemas.openxmlformats.org/officeDocument/2006/relationships/slide" Target="slides/slide927.xml"/><Relationship Id="rId60" Type="http://schemas.openxmlformats.org/officeDocument/2006/relationships/slide" Target="slides/slide56.xml"/><Relationship Id="rId156" Type="http://schemas.openxmlformats.org/officeDocument/2006/relationships/slide" Target="slides/slide152.xml"/><Relationship Id="rId363" Type="http://schemas.openxmlformats.org/officeDocument/2006/relationships/slide" Target="slides/slide359.xml"/><Relationship Id="rId570" Type="http://schemas.openxmlformats.org/officeDocument/2006/relationships/slide" Target="slides/slide566.xml"/><Relationship Id="rId223" Type="http://schemas.openxmlformats.org/officeDocument/2006/relationships/slide" Target="slides/slide219.xml"/><Relationship Id="rId430" Type="http://schemas.openxmlformats.org/officeDocument/2006/relationships/slide" Target="slides/slide426.xml"/><Relationship Id="rId668" Type="http://schemas.openxmlformats.org/officeDocument/2006/relationships/slide" Target="slides/slide664.xml"/><Relationship Id="rId875" Type="http://schemas.openxmlformats.org/officeDocument/2006/relationships/slide" Target="slides/slide871.xml"/><Relationship Id="rId18" Type="http://schemas.openxmlformats.org/officeDocument/2006/relationships/slide" Target="slides/slide14.xml"/><Relationship Id="rId528" Type="http://schemas.openxmlformats.org/officeDocument/2006/relationships/slide" Target="slides/slide524.xml"/><Relationship Id="rId735" Type="http://schemas.openxmlformats.org/officeDocument/2006/relationships/slide" Target="slides/slide731.xml"/><Relationship Id="rId942" Type="http://schemas.openxmlformats.org/officeDocument/2006/relationships/notesMaster" Target="notesMasters/notesMaster1.xml"/><Relationship Id="rId167" Type="http://schemas.openxmlformats.org/officeDocument/2006/relationships/slide" Target="slides/slide163.xml"/><Relationship Id="rId374" Type="http://schemas.openxmlformats.org/officeDocument/2006/relationships/slide" Target="slides/slide370.xml"/><Relationship Id="rId581" Type="http://schemas.openxmlformats.org/officeDocument/2006/relationships/slide" Target="slides/slide577.xml"/><Relationship Id="rId71" Type="http://schemas.openxmlformats.org/officeDocument/2006/relationships/slide" Target="slides/slide67.xml"/><Relationship Id="rId234" Type="http://schemas.openxmlformats.org/officeDocument/2006/relationships/slide" Target="slides/slide230.xml"/><Relationship Id="rId679" Type="http://schemas.openxmlformats.org/officeDocument/2006/relationships/slide" Target="slides/slide675.xml"/><Relationship Id="rId802" Type="http://schemas.openxmlformats.org/officeDocument/2006/relationships/slide" Target="slides/slide798.xml"/><Relationship Id="rId886" Type="http://schemas.openxmlformats.org/officeDocument/2006/relationships/slide" Target="slides/slide882.xml"/><Relationship Id="rId2" Type="http://schemas.openxmlformats.org/officeDocument/2006/relationships/customXml" Target="../customXml/item2.xml"/><Relationship Id="rId29" Type="http://schemas.openxmlformats.org/officeDocument/2006/relationships/slide" Target="slides/slide25.xml"/><Relationship Id="rId441" Type="http://schemas.openxmlformats.org/officeDocument/2006/relationships/slide" Target="slides/slide437.xml"/><Relationship Id="rId539" Type="http://schemas.openxmlformats.org/officeDocument/2006/relationships/slide" Target="slides/slide535.xml"/><Relationship Id="rId746" Type="http://schemas.openxmlformats.org/officeDocument/2006/relationships/slide" Target="slides/slide742.xml"/><Relationship Id="rId178" Type="http://schemas.openxmlformats.org/officeDocument/2006/relationships/slide" Target="slides/slide174.xml"/><Relationship Id="rId301" Type="http://schemas.openxmlformats.org/officeDocument/2006/relationships/slide" Target="slides/slide297.xml"/><Relationship Id="rId82" Type="http://schemas.openxmlformats.org/officeDocument/2006/relationships/slide" Target="slides/slide78.xml"/><Relationship Id="rId385" Type="http://schemas.openxmlformats.org/officeDocument/2006/relationships/slide" Target="slides/slide381.xml"/><Relationship Id="rId592" Type="http://schemas.openxmlformats.org/officeDocument/2006/relationships/slide" Target="slides/slide588.xml"/><Relationship Id="rId606" Type="http://schemas.openxmlformats.org/officeDocument/2006/relationships/slide" Target="slides/slide602.xml"/><Relationship Id="rId813" Type="http://schemas.openxmlformats.org/officeDocument/2006/relationships/slide" Target="slides/slide809.xml"/><Relationship Id="rId245" Type="http://schemas.openxmlformats.org/officeDocument/2006/relationships/slide" Target="slides/slide241.xml"/><Relationship Id="rId452" Type="http://schemas.openxmlformats.org/officeDocument/2006/relationships/slide" Target="slides/slide448.xml"/><Relationship Id="rId897" Type="http://schemas.openxmlformats.org/officeDocument/2006/relationships/slide" Target="slides/slide893.xml"/><Relationship Id="rId105" Type="http://schemas.openxmlformats.org/officeDocument/2006/relationships/slide" Target="slides/slide101.xml"/><Relationship Id="rId312" Type="http://schemas.openxmlformats.org/officeDocument/2006/relationships/slide" Target="slides/slide308.xml"/><Relationship Id="rId757" Type="http://schemas.openxmlformats.org/officeDocument/2006/relationships/slide" Target="slides/slide753.xml"/><Relationship Id="rId93" Type="http://schemas.openxmlformats.org/officeDocument/2006/relationships/slide" Target="slides/slide89.xml"/><Relationship Id="rId189" Type="http://schemas.openxmlformats.org/officeDocument/2006/relationships/slide" Target="slides/slide185.xml"/><Relationship Id="rId396" Type="http://schemas.openxmlformats.org/officeDocument/2006/relationships/slide" Target="slides/slide392.xml"/><Relationship Id="rId617" Type="http://schemas.openxmlformats.org/officeDocument/2006/relationships/slide" Target="slides/slide613.xml"/><Relationship Id="rId824" Type="http://schemas.openxmlformats.org/officeDocument/2006/relationships/slide" Target="slides/slide820.xml"/><Relationship Id="rId256" Type="http://schemas.openxmlformats.org/officeDocument/2006/relationships/slide" Target="slides/slide252.xml"/><Relationship Id="rId463" Type="http://schemas.openxmlformats.org/officeDocument/2006/relationships/slide" Target="slides/slide459.xml"/><Relationship Id="rId670" Type="http://schemas.openxmlformats.org/officeDocument/2006/relationships/slide" Target="slides/slide666.xml"/><Relationship Id="rId116" Type="http://schemas.openxmlformats.org/officeDocument/2006/relationships/slide" Target="slides/slide112.xml"/><Relationship Id="rId323" Type="http://schemas.openxmlformats.org/officeDocument/2006/relationships/slide" Target="slides/slide319.xml"/><Relationship Id="rId530" Type="http://schemas.openxmlformats.org/officeDocument/2006/relationships/slide" Target="slides/slide526.xml"/><Relationship Id="rId768" Type="http://schemas.openxmlformats.org/officeDocument/2006/relationships/slide" Target="slides/slide764.xml"/><Relationship Id="rId20" Type="http://schemas.openxmlformats.org/officeDocument/2006/relationships/slide" Target="slides/slide16.xml"/><Relationship Id="rId628" Type="http://schemas.openxmlformats.org/officeDocument/2006/relationships/slide" Target="slides/slide624.xml"/><Relationship Id="rId835" Type="http://schemas.openxmlformats.org/officeDocument/2006/relationships/slide" Target="slides/slide831.xml"/><Relationship Id="rId267" Type="http://schemas.openxmlformats.org/officeDocument/2006/relationships/slide" Target="slides/slide263.xml"/><Relationship Id="rId474" Type="http://schemas.openxmlformats.org/officeDocument/2006/relationships/slide" Target="slides/slide470.xml"/><Relationship Id="rId127" Type="http://schemas.openxmlformats.org/officeDocument/2006/relationships/slide" Target="slides/slide123.xml"/><Relationship Id="rId681" Type="http://schemas.openxmlformats.org/officeDocument/2006/relationships/slide" Target="slides/slide677.xml"/><Relationship Id="rId779" Type="http://schemas.openxmlformats.org/officeDocument/2006/relationships/slide" Target="slides/slide775.xml"/><Relationship Id="rId902" Type="http://schemas.openxmlformats.org/officeDocument/2006/relationships/slide" Target="slides/slide898.xml"/><Relationship Id="rId31" Type="http://schemas.openxmlformats.org/officeDocument/2006/relationships/slide" Target="slides/slide27.xml"/><Relationship Id="rId334" Type="http://schemas.openxmlformats.org/officeDocument/2006/relationships/slide" Target="slides/slide330.xml"/><Relationship Id="rId541" Type="http://schemas.openxmlformats.org/officeDocument/2006/relationships/slide" Target="slides/slide537.xml"/><Relationship Id="rId639" Type="http://schemas.openxmlformats.org/officeDocument/2006/relationships/slide" Target="slides/slide635.xml"/><Relationship Id="rId180" Type="http://schemas.openxmlformats.org/officeDocument/2006/relationships/slide" Target="slides/slide176.xml"/><Relationship Id="rId278" Type="http://schemas.openxmlformats.org/officeDocument/2006/relationships/slide" Target="slides/slide274.xml"/><Relationship Id="rId401" Type="http://schemas.openxmlformats.org/officeDocument/2006/relationships/slide" Target="slides/slide397.xml"/><Relationship Id="rId846" Type="http://schemas.openxmlformats.org/officeDocument/2006/relationships/slide" Target="slides/slide842.xml"/><Relationship Id="rId485" Type="http://schemas.openxmlformats.org/officeDocument/2006/relationships/slide" Target="slides/slide481.xml"/><Relationship Id="rId692" Type="http://schemas.openxmlformats.org/officeDocument/2006/relationships/slide" Target="slides/slide688.xml"/><Relationship Id="rId706" Type="http://schemas.openxmlformats.org/officeDocument/2006/relationships/slide" Target="slides/slide702.xml"/><Relationship Id="rId913" Type="http://schemas.openxmlformats.org/officeDocument/2006/relationships/slide" Target="slides/slide909.xml"/><Relationship Id="rId42" Type="http://schemas.openxmlformats.org/officeDocument/2006/relationships/slide" Target="slides/slide38.xml"/><Relationship Id="rId138" Type="http://schemas.openxmlformats.org/officeDocument/2006/relationships/slide" Target="slides/slide134.xml"/><Relationship Id="rId345" Type="http://schemas.openxmlformats.org/officeDocument/2006/relationships/slide" Target="slides/slide341.xml"/><Relationship Id="rId552" Type="http://schemas.openxmlformats.org/officeDocument/2006/relationships/slide" Target="slides/slide548.xml"/><Relationship Id="rId191" Type="http://schemas.openxmlformats.org/officeDocument/2006/relationships/slide" Target="slides/slide187.xml"/><Relationship Id="rId205" Type="http://schemas.openxmlformats.org/officeDocument/2006/relationships/slide" Target="slides/slide201.xml"/><Relationship Id="rId412" Type="http://schemas.openxmlformats.org/officeDocument/2006/relationships/slide" Target="slides/slide408.xml"/><Relationship Id="rId857" Type="http://schemas.openxmlformats.org/officeDocument/2006/relationships/slide" Target="slides/slide853.xml"/><Relationship Id="rId289" Type="http://schemas.openxmlformats.org/officeDocument/2006/relationships/slide" Target="slides/slide285.xml"/><Relationship Id="rId496" Type="http://schemas.openxmlformats.org/officeDocument/2006/relationships/slide" Target="slides/slide492.xml"/><Relationship Id="rId717" Type="http://schemas.openxmlformats.org/officeDocument/2006/relationships/slide" Target="slides/slide713.xml"/><Relationship Id="rId924" Type="http://schemas.openxmlformats.org/officeDocument/2006/relationships/slide" Target="slides/slide920.xml"/><Relationship Id="rId53" Type="http://schemas.openxmlformats.org/officeDocument/2006/relationships/slide" Target="slides/slide49.xml"/><Relationship Id="rId149" Type="http://schemas.openxmlformats.org/officeDocument/2006/relationships/slide" Target="slides/slide145.xml"/><Relationship Id="rId356" Type="http://schemas.openxmlformats.org/officeDocument/2006/relationships/slide" Target="slides/slide352.xml"/><Relationship Id="rId563" Type="http://schemas.openxmlformats.org/officeDocument/2006/relationships/slide" Target="slides/slide559.xml"/><Relationship Id="rId770" Type="http://schemas.openxmlformats.org/officeDocument/2006/relationships/slide" Target="slides/slide766.xml"/><Relationship Id="rId216" Type="http://schemas.openxmlformats.org/officeDocument/2006/relationships/slide" Target="slides/slide212.xml"/><Relationship Id="rId423" Type="http://schemas.openxmlformats.org/officeDocument/2006/relationships/slide" Target="slides/slide419.xml"/><Relationship Id="rId868" Type="http://schemas.openxmlformats.org/officeDocument/2006/relationships/slide" Target="slides/slide864.xml"/><Relationship Id="rId630" Type="http://schemas.openxmlformats.org/officeDocument/2006/relationships/slide" Target="slides/slide626.xml"/><Relationship Id="rId728" Type="http://schemas.openxmlformats.org/officeDocument/2006/relationships/slide" Target="slides/slide724.xml"/><Relationship Id="rId935" Type="http://schemas.openxmlformats.org/officeDocument/2006/relationships/slide" Target="slides/slide931.xml"/><Relationship Id="rId64" Type="http://schemas.openxmlformats.org/officeDocument/2006/relationships/slide" Target="slides/slide60.xml"/><Relationship Id="rId367" Type="http://schemas.openxmlformats.org/officeDocument/2006/relationships/slide" Target="slides/slide363.xml"/><Relationship Id="rId574" Type="http://schemas.openxmlformats.org/officeDocument/2006/relationships/slide" Target="slides/slide570.xml"/><Relationship Id="rId227" Type="http://schemas.openxmlformats.org/officeDocument/2006/relationships/slide" Target="slides/slide223.xml"/><Relationship Id="rId781" Type="http://schemas.openxmlformats.org/officeDocument/2006/relationships/slide" Target="slides/slide777.xml"/><Relationship Id="rId879" Type="http://schemas.openxmlformats.org/officeDocument/2006/relationships/slide" Target="slides/slide875.xml"/><Relationship Id="rId434" Type="http://schemas.openxmlformats.org/officeDocument/2006/relationships/slide" Target="slides/slide430.xml"/><Relationship Id="rId641" Type="http://schemas.openxmlformats.org/officeDocument/2006/relationships/slide" Target="slides/slide637.xml"/><Relationship Id="rId739" Type="http://schemas.openxmlformats.org/officeDocument/2006/relationships/slide" Target="slides/slide735.xml"/><Relationship Id="rId280" Type="http://schemas.openxmlformats.org/officeDocument/2006/relationships/slide" Target="slides/slide276.xml"/><Relationship Id="rId501" Type="http://schemas.openxmlformats.org/officeDocument/2006/relationships/slide" Target="slides/slide497.xml"/><Relationship Id="rId946" Type="http://schemas.openxmlformats.org/officeDocument/2006/relationships/tableStyles" Target="tableStyles.xml"/><Relationship Id="rId75" Type="http://schemas.openxmlformats.org/officeDocument/2006/relationships/slide" Target="slides/slide71.xml"/><Relationship Id="rId140" Type="http://schemas.openxmlformats.org/officeDocument/2006/relationships/slide" Target="slides/slide136.xml"/><Relationship Id="rId378" Type="http://schemas.openxmlformats.org/officeDocument/2006/relationships/slide" Target="slides/slide374.xml"/><Relationship Id="rId585" Type="http://schemas.openxmlformats.org/officeDocument/2006/relationships/slide" Target="slides/slide581.xml"/><Relationship Id="rId792" Type="http://schemas.openxmlformats.org/officeDocument/2006/relationships/slide" Target="slides/slide788.xml"/><Relationship Id="rId806" Type="http://schemas.openxmlformats.org/officeDocument/2006/relationships/slide" Target="slides/slide802.xml"/><Relationship Id="rId6" Type="http://schemas.openxmlformats.org/officeDocument/2006/relationships/slide" Target="slides/slide2.xml"/><Relationship Id="rId238" Type="http://schemas.openxmlformats.org/officeDocument/2006/relationships/slide" Target="slides/slide234.xml"/><Relationship Id="rId445" Type="http://schemas.openxmlformats.org/officeDocument/2006/relationships/slide" Target="slides/slide441.xml"/><Relationship Id="rId652" Type="http://schemas.openxmlformats.org/officeDocument/2006/relationships/slide" Target="slides/slide648.xml"/><Relationship Id="rId291" Type="http://schemas.openxmlformats.org/officeDocument/2006/relationships/slide" Target="slides/slide287.xml"/><Relationship Id="rId305" Type="http://schemas.openxmlformats.org/officeDocument/2006/relationships/slide" Target="slides/slide301.xml"/><Relationship Id="rId512" Type="http://schemas.openxmlformats.org/officeDocument/2006/relationships/slide" Target="slides/slide508.xml"/><Relationship Id="rId86" Type="http://schemas.openxmlformats.org/officeDocument/2006/relationships/slide" Target="slides/slide82.xml"/><Relationship Id="rId151" Type="http://schemas.openxmlformats.org/officeDocument/2006/relationships/slide" Target="slides/slide147.xml"/><Relationship Id="rId389" Type="http://schemas.openxmlformats.org/officeDocument/2006/relationships/slide" Target="slides/slide385.xml"/><Relationship Id="rId596" Type="http://schemas.openxmlformats.org/officeDocument/2006/relationships/slide" Target="slides/slide592.xml"/><Relationship Id="rId817" Type="http://schemas.openxmlformats.org/officeDocument/2006/relationships/slide" Target="slides/slide813.xml"/><Relationship Id="rId249" Type="http://schemas.openxmlformats.org/officeDocument/2006/relationships/slide" Target="slides/slide245.xml"/><Relationship Id="rId456" Type="http://schemas.openxmlformats.org/officeDocument/2006/relationships/slide" Target="slides/slide452.xml"/><Relationship Id="rId663" Type="http://schemas.openxmlformats.org/officeDocument/2006/relationships/slide" Target="slides/slide659.xml"/><Relationship Id="rId870" Type="http://schemas.openxmlformats.org/officeDocument/2006/relationships/slide" Target="slides/slide866.xml"/><Relationship Id="rId13" Type="http://schemas.openxmlformats.org/officeDocument/2006/relationships/slide" Target="slides/slide9.xml"/><Relationship Id="rId109" Type="http://schemas.openxmlformats.org/officeDocument/2006/relationships/slide" Target="slides/slide105.xml"/><Relationship Id="rId316" Type="http://schemas.openxmlformats.org/officeDocument/2006/relationships/slide" Target="slides/slide312.xml"/><Relationship Id="rId523" Type="http://schemas.openxmlformats.org/officeDocument/2006/relationships/slide" Target="slides/slide519.xml"/><Relationship Id="rId97" Type="http://schemas.openxmlformats.org/officeDocument/2006/relationships/slide" Target="slides/slide93.xml"/><Relationship Id="rId730" Type="http://schemas.openxmlformats.org/officeDocument/2006/relationships/slide" Target="slides/slide726.xml"/><Relationship Id="rId828" Type="http://schemas.openxmlformats.org/officeDocument/2006/relationships/slide" Target="slides/slide824.xml"/><Relationship Id="rId162" Type="http://schemas.openxmlformats.org/officeDocument/2006/relationships/slide" Target="slides/slide158.xml"/><Relationship Id="rId467" Type="http://schemas.openxmlformats.org/officeDocument/2006/relationships/slide" Target="slides/slide463.xml"/><Relationship Id="rId674" Type="http://schemas.openxmlformats.org/officeDocument/2006/relationships/slide" Target="slides/slide670.xml"/><Relationship Id="rId881" Type="http://schemas.openxmlformats.org/officeDocument/2006/relationships/slide" Target="slides/slide877.xml"/><Relationship Id="rId24" Type="http://schemas.openxmlformats.org/officeDocument/2006/relationships/slide" Target="slides/slide20.xml"/><Relationship Id="rId327" Type="http://schemas.openxmlformats.org/officeDocument/2006/relationships/slide" Target="slides/slide323.xml"/><Relationship Id="rId534" Type="http://schemas.openxmlformats.org/officeDocument/2006/relationships/slide" Target="slides/slide530.xml"/><Relationship Id="rId741" Type="http://schemas.openxmlformats.org/officeDocument/2006/relationships/slide" Target="slides/slide737.xml"/><Relationship Id="rId839" Type="http://schemas.openxmlformats.org/officeDocument/2006/relationships/slide" Target="slides/slide835.xml"/><Relationship Id="rId173" Type="http://schemas.openxmlformats.org/officeDocument/2006/relationships/slide" Target="slides/slide169.xml"/><Relationship Id="rId380" Type="http://schemas.openxmlformats.org/officeDocument/2006/relationships/slide" Target="slides/slide376.xml"/><Relationship Id="rId601" Type="http://schemas.openxmlformats.org/officeDocument/2006/relationships/slide" Target="slides/slide597.xml"/><Relationship Id="rId240" Type="http://schemas.openxmlformats.org/officeDocument/2006/relationships/slide" Target="slides/slide236.xml"/><Relationship Id="rId478" Type="http://schemas.openxmlformats.org/officeDocument/2006/relationships/slide" Target="slides/slide474.xml"/><Relationship Id="rId685" Type="http://schemas.openxmlformats.org/officeDocument/2006/relationships/slide" Target="slides/slide681.xml"/><Relationship Id="rId892" Type="http://schemas.openxmlformats.org/officeDocument/2006/relationships/slide" Target="slides/slide888.xml"/><Relationship Id="rId906" Type="http://schemas.openxmlformats.org/officeDocument/2006/relationships/slide" Target="slides/slide902.xml"/><Relationship Id="rId35" Type="http://schemas.openxmlformats.org/officeDocument/2006/relationships/slide" Target="slides/slide31.xml"/><Relationship Id="rId100" Type="http://schemas.openxmlformats.org/officeDocument/2006/relationships/slide" Target="slides/slide96.xml"/><Relationship Id="rId338" Type="http://schemas.openxmlformats.org/officeDocument/2006/relationships/slide" Target="slides/slide334.xml"/><Relationship Id="rId545" Type="http://schemas.openxmlformats.org/officeDocument/2006/relationships/slide" Target="slides/slide541.xml"/><Relationship Id="rId752" Type="http://schemas.openxmlformats.org/officeDocument/2006/relationships/slide" Target="slides/slide748.xml"/><Relationship Id="rId184" Type="http://schemas.openxmlformats.org/officeDocument/2006/relationships/slide" Target="slides/slide180.xml"/><Relationship Id="rId391" Type="http://schemas.openxmlformats.org/officeDocument/2006/relationships/slide" Target="slides/slide387.xml"/><Relationship Id="rId405" Type="http://schemas.openxmlformats.org/officeDocument/2006/relationships/slide" Target="slides/slide401.xml"/><Relationship Id="rId612" Type="http://schemas.openxmlformats.org/officeDocument/2006/relationships/slide" Target="slides/slide608.xml"/><Relationship Id="rId251" Type="http://schemas.openxmlformats.org/officeDocument/2006/relationships/slide" Target="slides/slide247.xml"/><Relationship Id="rId489" Type="http://schemas.openxmlformats.org/officeDocument/2006/relationships/slide" Target="slides/slide485.xml"/><Relationship Id="rId696" Type="http://schemas.openxmlformats.org/officeDocument/2006/relationships/slide" Target="slides/slide692.xml"/><Relationship Id="rId917" Type="http://schemas.openxmlformats.org/officeDocument/2006/relationships/slide" Target="slides/slide913.xml"/><Relationship Id="rId46" Type="http://schemas.openxmlformats.org/officeDocument/2006/relationships/slide" Target="slides/slide42.xml"/><Relationship Id="rId349" Type="http://schemas.openxmlformats.org/officeDocument/2006/relationships/slide" Target="slides/slide345.xml"/><Relationship Id="rId556" Type="http://schemas.openxmlformats.org/officeDocument/2006/relationships/slide" Target="slides/slide552.xml"/><Relationship Id="rId763" Type="http://schemas.openxmlformats.org/officeDocument/2006/relationships/slide" Target="slides/slide759.xml"/><Relationship Id="rId111" Type="http://schemas.openxmlformats.org/officeDocument/2006/relationships/slide" Target="slides/slide107.xml"/><Relationship Id="rId195" Type="http://schemas.openxmlformats.org/officeDocument/2006/relationships/slide" Target="slides/slide191.xml"/><Relationship Id="rId209" Type="http://schemas.openxmlformats.org/officeDocument/2006/relationships/slide" Target="slides/slide205.xml"/><Relationship Id="rId416" Type="http://schemas.openxmlformats.org/officeDocument/2006/relationships/slide" Target="slides/slide412.xml"/><Relationship Id="rId623" Type="http://schemas.openxmlformats.org/officeDocument/2006/relationships/slide" Target="slides/slide619.xml"/><Relationship Id="rId830" Type="http://schemas.openxmlformats.org/officeDocument/2006/relationships/slide" Target="slides/slide826.xml"/><Relationship Id="rId928" Type="http://schemas.openxmlformats.org/officeDocument/2006/relationships/slide" Target="slides/slide924.xml"/><Relationship Id="rId57" Type="http://schemas.openxmlformats.org/officeDocument/2006/relationships/slide" Target="slides/slide53.xml"/><Relationship Id="rId262" Type="http://schemas.openxmlformats.org/officeDocument/2006/relationships/slide" Target="slides/slide258.xml"/><Relationship Id="rId567" Type="http://schemas.openxmlformats.org/officeDocument/2006/relationships/slide" Target="slides/slide563.xml"/><Relationship Id="rId122" Type="http://schemas.openxmlformats.org/officeDocument/2006/relationships/slide" Target="slides/slide118.xml"/><Relationship Id="rId774" Type="http://schemas.openxmlformats.org/officeDocument/2006/relationships/slide" Target="slides/slide770.xml"/><Relationship Id="rId427" Type="http://schemas.openxmlformats.org/officeDocument/2006/relationships/slide" Target="slides/slide423.xml"/><Relationship Id="rId634" Type="http://schemas.openxmlformats.org/officeDocument/2006/relationships/slide" Target="slides/slide630.xml"/><Relationship Id="rId841" Type="http://schemas.openxmlformats.org/officeDocument/2006/relationships/slide" Target="slides/slide837.xml"/><Relationship Id="rId273" Type="http://schemas.openxmlformats.org/officeDocument/2006/relationships/slide" Target="slides/slide269.xml"/><Relationship Id="rId480" Type="http://schemas.openxmlformats.org/officeDocument/2006/relationships/slide" Target="slides/slide476.xml"/><Relationship Id="rId701" Type="http://schemas.openxmlformats.org/officeDocument/2006/relationships/slide" Target="slides/slide697.xml"/><Relationship Id="rId939" Type="http://schemas.openxmlformats.org/officeDocument/2006/relationships/slide" Target="slides/slide935.xml"/><Relationship Id="rId68" Type="http://schemas.openxmlformats.org/officeDocument/2006/relationships/slide" Target="slides/slide64.xml"/><Relationship Id="rId133" Type="http://schemas.openxmlformats.org/officeDocument/2006/relationships/slide" Target="slides/slide129.xml"/><Relationship Id="rId340" Type="http://schemas.openxmlformats.org/officeDocument/2006/relationships/slide" Target="slides/slide336.xml"/><Relationship Id="rId578" Type="http://schemas.openxmlformats.org/officeDocument/2006/relationships/slide" Target="slides/slide574.xml"/><Relationship Id="rId785" Type="http://schemas.openxmlformats.org/officeDocument/2006/relationships/slide" Target="slides/slide781.xml"/><Relationship Id="rId200" Type="http://schemas.openxmlformats.org/officeDocument/2006/relationships/slide" Target="slides/slide196.xml"/><Relationship Id="rId438" Type="http://schemas.openxmlformats.org/officeDocument/2006/relationships/slide" Target="slides/slide434.xml"/><Relationship Id="rId645" Type="http://schemas.openxmlformats.org/officeDocument/2006/relationships/slide" Target="slides/slide641.xml"/><Relationship Id="rId852" Type="http://schemas.openxmlformats.org/officeDocument/2006/relationships/slide" Target="slides/slide848.xml"/><Relationship Id="rId284" Type="http://schemas.openxmlformats.org/officeDocument/2006/relationships/slide" Target="slides/slide280.xml"/><Relationship Id="rId491" Type="http://schemas.openxmlformats.org/officeDocument/2006/relationships/slide" Target="slides/slide487.xml"/><Relationship Id="rId505" Type="http://schemas.openxmlformats.org/officeDocument/2006/relationships/slide" Target="slides/slide501.xml"/><Relationship Id="rId712" Type="http://schemas.openxmlformats.org/officeDocument/2006/relationships/slide" Target="slides/slide708.xml"/><Relationship Id="rId79" Type="http://schemas.openxmlformats.org/officeDocument/2006/relationships/slide" Target="slides/slide75.xml"/><Relationship Id="rId144" Type="http://schemas.openxmlformats.org/officeDocument/2006/relationships/slide" Target="slides/slide140.xml"/><Relationship Id="rId589" Type="http://schemas.openxmlformats.org/officeDocument/2006/relationships/slide" Target="slides/slide585.xml"/><Relationship Id="rId796" Type="http://schemas.openxmlformats.org/officeDocument/2006/relationships/slide" Target="slides/slide792.xml"/><Relationship Id="rId351" Type="http://schemas.openxmlformats.org/officeDocument/2006/relationships/slide" Target="slides/slide347.xml"/><Relationship Id="rId449" Type="http://schemas.openxmlformats.org/officeDocument/2006/relationships/slide" Target="slides/slide445.xml"/><Relationship Id="rId656" Type="http://schemas.openxmlformats.org/officeDocument/2006/relationships/slide" Target="slides/slide652.xml"/><Relationship Id="rId863" Type="http://schemas.openxmlformats.org/officeDocument/2006/relationships/slide" Target="slides/slide859.xml"/><Relationship Id="rId211" Type="http://schemas.openxmlformats.org/officeDocument/2006/relationships/slide" Target="slides/slide207.xml"/><Relationship Id="rId295" Type="http://schemas.openxmlformats.org/officeDocument/2006/relationships/slide" Target="slides/slide291.xml"/><Relationship Id="rId309" Type="http://schemas.openxmlformats.org/officeDocument/2006/relationships/slide" Target="slides/slide305.xml"/><Relationship Id="rId516" Type="http://schemas.openxmlformats.org/officeDocument/2006/relationships/slide" Target="slides/slide512.xml"/><Relationship Id="rId723" Type="http://schemas.openxmlformats.org/officeDocument/2006/relationships/slide" Target="slides/slide719.xml"/><Relationship Id="rId930" Type="http://schemas.openxmlformats.org/officeDocument/2006/relationships/slide" Target="slides/slide926.xml"/><Relationship Id="rId155" Type="http://schemas.openxmlformats.org/officeDocument/2006/relationships/slide" Target="slides/slide151.xml"/><Relationship Id="rId362" Type="http://schemas.openxmlformats.org/officeDocument/2006/relationships/slide" Target="slides/slide358.xml"/><Relationship Id="rId222" Type="http://schemas.openxmlformats.org/officeDocument/2006/relationships/slide" Target="slides/slide218.xml"/><Relationship Id="rId667" Type="http://schemas.openxmlformats.org/officeDocument/2006/relationships/slide" Target="slides/slide663.xml"/><Relationship Id="rId874" Type="http://schemas.openxmlformats.org/officeDocument/2006/relationships/slide" Target="slides/slide870.xml"/><Relationship Id="rId17" Type="http://schemas.openxmlformats.org/officeDocument/2006/relationships/slide" Target="slides/slide13.xml"/><Relationship Id="rId527" Type="http://schemas.openxmlformats.org/officeDocument/2006/relationships/slide" Target="slides/slide523.xml"/><Relationship Id="rId734" Type="http://schemas.openxmlformats.org/officeDocument/2006/relationships/slide" Target="slides/slide730.xml"/><Relationship Id="rId941" Type="http://schemas.openxmlformats.org/officeDocument/2006/relationships/slide" Target="slides/slide937.xml"/><Relationship Id="rId70" Type="http://schemas.openxmlformats.org/officeDocument/2006/relationships/slide" Target="slides/slide66.xml"/><Relationship Id="rId166" Type="http://schemas.openxmlformats.org/officeDocument/2006/relationships/slide" Target="slides/slide162.xml"/><Relationship Id="rId373" Type="http://schemas.openxmlformats.org/officeDocument/2006/relationships/slide" Target="slides/slide369.xml"/><Relationship Id="rId580" Type="http://schemas.openxmlformats.org/officeDocument/2006/relationships/slide" Target="slides/slide576.xml"/><Relationship Id="rId801" Type="http://schemas.openxmlformats.org/officeDocument/2006/relationships/slide" Target="slides/slide797.xml"/><Relationship Id="rId1" Type="http://schemas.openxmlformats.org/officeDocument/2006/relationships/customXml" Target="../customXml/item1.xml"/><Relationship Id="rId233" Type="http://schemas.openxmlformats.org/officeDocument/2006/relationships/slide" Target="slides/slide229.xml"/><Relationship Id="rId440" Type="http://schemas.openxmlformats.org/officeDocument/2006/relationships/slide" Target="slides/slide436.xml"/><Relationship Id="rId678" Type="http://schemas.openxmlformats.org/officeDocument/2006/relationships/slide" Target="slides/slide674.xml"/><Relationship Id="rId885" Type="http://schemas.openxmlformats.org/officeDocument/2006/relationships/slide" Target="slides/slide881.xml"/><Relationship Id="rId28" Type="http://schemas.openxmlformats.org/officeDocument/2006/relationships/slide" Target="slides/slide24.xml"/><Relationship Id="rId275" Type="http://schemas.openxmlformats.org/officeDocument/2006/relationships/slide" Target="slides/slide271.xml"/><Relationship Id="rId300" Type="http://schemas.openxmlformats.org/officeDocument/2006/relationships/slide" Target="slides/slide296.xml"/><Relationship Id="rId482" Type="http://schemas.openxmlformats.org/officeDocument/2006/relationships/slide" Target="slides/slide478.xml"/><Relationship Id="rId538" Type="http://schemas.openxmlformats.org/officeDocument/2006/relationships/slide" Target="slides/slide534.xml"/><Relationship Id="rId703" Type="http://schemas.openxmlformats.org/officeDocument/2006/relationships/slide" Target="slides/slide699.xml"/><Relationship Id="rId745" Type="http://schemas.openxmlformats.org/officeDocument/2006/relationships/slide" Target="slides/slide741.xml"/><Relationship Id="rId910" Type="http://schemas.openxmlformats.org/officeDocument/2006/relationships/slide" Target="slides/slide906.xml"/><Relationship Id="rId81" Type="http://schemas.openxmlformats.org/officeDocument/2006/relationships/slide" Target="slides/slide77.xml"/><Relationship Id="rId135" Type="http://schemas.openxmlformats.org/officeDocument/2006/relationships/slide" Target="slides/slide131.xml"/><Relationship Id="rId177" Type="http://schemas.openxmlformats.org/officeDocument/2006/relationships/slide" Target="slides/slide173.xml"/><Relationship Id="rId342" Type="http://schemas.openxmlformats.org/officeDocument/2006/relationships/slide" Target="slides/slide338.xml"/><Relationship Id="rId384" Type="http://schemas.openxmlformats.org/officeDocument/2006/relationships/slide" Target="slides/slide380.xml"/><Relationship Id="rId591" Type="http://schemas.openxmlformats.org/officeDocument/2006/relationships/slide" Target="slides/slide587.xml"/><Relationship Id="rId605" Type="http://schemas.openxmlformats.org/officeDocument/2006/relationships/slide" Target="slides/slide601.xml"/><Relationship Id="rId787" Type="http://schemas.openxmlformats.org/officeDocument/2006/relationships/slide" Target="slides/slide783.xml"/><Relationship Id="rId812" Type="http://schemas.openxmlformats.org/officeDocument/2006/relationships/slide" Target="slides/slide808.xml"/><Relationship Id="rId202" Type="http://schemas.openxmlformats.org/officeDocument/2006/relationships/slide" Target="slides/slide198.xml"/><Relationship Id="rId244" Type="http://schemas.openxmlformats.org/officeDocument/2006/relationships/slide" Target="slides/slide240.xml"/><Relationship Id="rId647" Type="http://schemas.openxmlformats.org/officeDocument/2006/relationships/slide" Target="slides/slide643.xml"/><Relationship Id="rId689" Type="http://schemas.openxmlformats.org/officeDocument/2006/relationships/slide" Target="slides/slide685.xml"/><Relationship Id="rId854" Type="http://schemas.openxmlformats.org/officeDocument/2006/relationships/slide" Target="slides/slide850.xml"/><Relationship Id="rId896" Type="http://schemas.openxmlformats.org/officeDocument/2006/relationships/slide" Target="slides/slide892.xml"/><Relationship Id="rId39" Type="http://schemas.openxmlformats.org/officeDocument/2006/relationships/slide" Target="slides/slide35.xml"/><Relationship Id="rId286" Type="http://schemas.openxmlformats.org/officeDocument/2006/relationships/slide" Target="slides/slide282.xml"/><Relationship Id="rId451" Type="http://schemas.openxmlformats.org/officeDocument/2006/relationships/slide" Target="slides/slide447.xml"/><Relationship Id="rId493" Type="http://schemas.openxmlformats.org/officeDocument/2006/relationships/slide" Target="slides/slide489.xml"/><Relationship Id="rId507" Type="http://schemas.openxmlformats.org/officeDocument/2006/relationships/slide" Target="slides/slide503.xml"/><Relationship Id="rId549" Type="http://schemas.openxmlformats.org/officeDocument/2006/relationships/slide" Target="slides/slide545.xml"/><Relationship Id="rId714" Type="http://schemas.openxmlformats.org/officeDocument/2006/relationships/slide" Target="slides/slide710.xml"/><Relationship Id="rId756" Type="http://schemas.openxmlformats.org/officeDocument/2006/relationships/slide" Target="slides/slide752.xml"/><Relationship Id="rId921" Type="http://schemas.openxmlformats.org/officeDocument/2006/relationships/slide" Target="slides/slide917.xml"/><Relationship Id="rId50" Type="http://schemas.openxmlformats.org/officeDocument/2006/relationships/slide" Target="slides/slide46.xml"/><Relationship Id="rId104" Type="http://schemas.openxmlformats.org/officeDocument/2006/relationships/slide" Target="slides/slide100.xml"/><Relationship Id="rId146" Type="http://schemas.openxmlformats.org/officeDocument/2006/relationships/slide" Target="slides/slide142.xml"/><Relationship Id="rId188" Type="http://schemas.openxmlformats.org/officeDocument/2006/relationships/slide" Target="slides/slide184.xml"/><Relationship Id="rId311" Type="http://schemas.openxmlformats.org/officeDocument/2006/relationships/slide" Target="slides/slide307.xml"/><Relationship Id="rId353" Type="http://schemas.openxmlformats.org/officeDocument/2006/relationships/slide" Target="slides/slide349.xml"/><Relationship Id="rId395" Type="http://schemas.openxmlformats.org/officeDocument/2006/relationships/slide" Target="slides/slide391.xml"/><Relationship Id="rId409" Type="http://schemas.openxmlformats.org/officeDocument/2006/relationships/slide" Target="slides/slide405.xml"/><Relationship Id="rId560" Type="http://schemas.openxmlformats.org/officeDocument/2006/relationships/slide" Target="slides/slide556.xml"/><Relationship Id="rId798" Type="http://schemas.openxmlformats.org/officeDocument/2006/relationships/slide" Target="slides/slide794.xml"/><Relationship Id="rId92" Type="http://schemas.openxmlformats.org/officeDocument/2006/relationships/slide" Target="slides/slide88.xml"/><Relationship Id="rId213" Type="http://schemas.openxmlformats.org/officeDocument/2006/relationships/slide" Target="slides/slide209.xml"/><Relationship Id="rId420" Type="http://schemas.openxmlformats.org/officeDocument/2006/relationships/slide" Target="slides/slide416.xml"/><Relationship Id="rId616" Type="http://schemas.openxmlformats.org/officeDocument/2006/relationships/slide" Target="slides/slide612.xml"/><Relationship Id="rId658" Type="http://schemas.openxmlformats.org/officeDocument/2006/relationships/slide" Target="slides/slide654.xml"/><Relationship Id="rId823" Type="http://schemas.openxmlformats.org/officeDocument/2006/relationships/slide" Target="slides/slide819.xml"/><Relationship Id="rId865" Type="http://schemas.openxmlformats.org/officeDocument/2006/relationships/slide" Target="slides/slide861.xml"/><Relationship Id="rId255" Type="http://schemas.openxmlformats.org/officeDocument/2006/relationships/slide" Target="slides/slide251.xml"/><Relationship Id="rId297" Type="http://schemas.openxmlformats.org/officeDocument/2006/relationships/slide" Target="slides/slide293.xml"/><Relationship Id="rId462" Type="http://schemas.openxmlformats.org/officeDocument/2006/relationships/slide" Target="slides/slide458.xml"/><Relationship Id="rId518" Type="http://schemas.openxmlformats.org/officeDocument/2006/relationships/slide" Target="slides/slide514.xml"/><Relationship Id="rId725" Type="http://schemas.openxmlformats.org/officeDocument/2006/relationships/slide" Target="slides/slide721.xml"/><Relationship Id="rId932" Type="http://schemas.openxmlformats.org/officeDocument/2006/relationships/slide" Target="slides/slide928.xml"/><Relationship Id="rId115" Type="http://schemas.openxmlformats.org/officeDocument/2006/relationships/slide" Target="slides/slide111.xml"/><Relationship Id="rId157" Type="http://schemas.openxmlformats.org/officeDocument/2006/relationships/slide" Target="slides/slide153.xml"/><Relationship Id="rId322" Type="http://schemas.openxmlformats.org/officeDocument/2006/relationships/slide" Target="slides/slide318.xml"/><Relationship Id="rId364" Type="http://schemas.openxmlformats.org/officeDocument/2006/relationships/slide" Target="slides/slide360.xml"/><Relationship Id="rId767" Type="http://schemas.openxmlformats.org/officeDocument/2006/relationships/slide" Target="slides/slide763.xml"/><Relationship Id="rId61" Type="http://schemas.openxmlformats.org/officeDocument/2006/relationships/slide" Target="slides/slide57.xml"/><Relationship Id="rId199" Type="http://schemas.openxmlformats.org/officeDocument/2006/relationships/slide" Target="slides/slide195.xml"/><Relationship Id="rId571" Type="http://schemas.openxmlformats.org/officeDocument/2006/relationships/slide" Target="slides/slide567.xml"/><Relationship Id="rId627" Type="http://schemas.openxmlformats.org/officeDocument/2006/relationships/slide" Target="slides/slide623.xml"/><Relationship Id="rId669" Type="http://schemas.openxmlformats.org/officeDocument/2006/relationships/slide" Target="slides/slide665.xml"/><Relationship Id="rId834" Type="http://schemas.openxmlformats.org/officeDocument/2006/relationships/slide" Target="slides/slide830.xml"/><Relationship Id="rId876" Type="http://schemas.openxmlformats.org/officeDocument/2006/relationships/slide" Target="slides/slide872.xml"/><Relationship Id="rId19" Type="http://schemas.openxmlformats.org/officeDocument/2006/relationships/slide" Target="slides/slide15.xml"/><Relationship Id="rId224" Type="http://schemas.openxmlformats.org/officeDocument/2006/relationships/slide" Target="slides/slide220.xml"/><Relationship Id="rId266" Type="http://schemas.openxmlformats.org/officeDocument/2006/relationships/slide" Target="slides/slide262.xml"/><Relationship Id="rId431" Type="http://schemas.openxmlformats.org/officeDocument/2006/relationships/slide" Target="slides/slide427.xml"/><Relationship Id="rId473" Type="http://schemas.openxmlformats.org/officeDocument/2006/relationships/slide" Target="slides/slide469.xml"/><Relationship Id="rId529" Type="http://schemas.openxmlformats.org/officeDocument/2006/relationships/slide" Target="slides/slide525.xml"/><Relationship Id="rId680" Type="http://schemas.openxmlformats.org/officeDocument/2006/relationships/slide" Target="slides/slide676.xml"/><Relationship Id="rId736" Type="http://schemas.openxmlformats.org/officeDocument/2006/relationships/slide" Target="slides/slide732.xml"/><Relationship Id="rId901" Type="http://schemas.openxmlformats.org/officeDocument/2006/relationships/slide" Target="slides/slide897.xml"/><Relationship Id="rId30" Type="http://schemas.openxmlformats.org/officeDocument/2006/relationships/slide" Target="slides/slide26.xml"/><Relationship Id="rId126" Type="http://schemas.openxmlformats.org/officeDocument/2006/relationships/slide" Target="slides/slide122.xml"/><Relationship Id="rId168" Type="http://schemas.openxmlformats.org/officeDocument/2006/relationships/slide" Target="slides/slide164.xml"/><Relationship Id="rId333" Type="http://schemas.openxmlformats.org/officeDocument/2006/relationships/slide" Target="slides/slide329.xml"/><Relationship Id="rId540" Type="http://schemas.openxmlformats.org/officeDocument/2006/relationships/slide" Target="slides/slide536.xml"/><Relationship Id="rId778" Type="http://schemas.openxmlformats.org/officeDocument/2006/relationships/slide" Target="slides/slide774.xml"/><Relationship Id="rId943" Type="http://schemas.openxmlformats.org/officeDocument/2006/relationships/presProps" Target="presProps.xml"/><Relationship Id="rId72" Type="http://schemas.openxmlformats.org/officeDocument/2006/relationships/slide" Target="slides/slide68.xml"/><Relationship Id="rId375" Type="http://schemas.openxmlformats.org/officeDocument/2006/relationships/slide" Target="slides/slide371.xml"/><Relationship Id="rId582" Type="http://schemas.openxmlformats.org/officeDocument/2006/relationships/slide" Target="slides/slide578.xml"/><Relationship Id="rId638" Type="http://schemas.openxmlformats.org/officeDocument/2006/relationships/slide" Target="slides/slide634.xml"/><Relationship Id="rId803" Type="http://schemas.openxmlformats.org/officeDocument/2006/relationships/slide" Target="slides/slide799.xml"/><Relationship Id="rId845" Type="http://schemas.openxmlformats.org/officeDocument/2006/relationships/slide" Target="slides/slide841.xml"/><Relationship Id="rId3" Type="http://schemas.openxmlformats.org/officeDocument/2006/relationships/customXml" Target="../customXml/item3.xml"/><Relationship Id="rId235" Type="http://schemas.openxmlformats.org/officeDocument/2006/relationships/slide" Target="slides/slide231.xml"/><Relationship Id="rId277" Type="http://schemas.openxmlformats.org/officeDocument/2006/relationships/slide" Target="slides/slide273.xml"/><Relationship Id="rId400" Type="http://schemas.openxmlformats.org/officeDocument/2006/relationships/slide" Target="slides/slide396.xml"/><Relationship Id="rId442" Type="http://schemas.openxmlformats.org/officeDocument/2006/relationships/slide" Target="slides/slide438.xml"/><Relationship Id="rId484" Type="http://schemas.openxmlformats.org/officeDocument/2006/relationships/slide" Target="slides/slide480.xml"/><Relationship Id="rId705" Type="http://schemas.openxmlformats.org/officeDocument/2006/relationships/slide" Target="slides/slide701.xml"/><Relationship Id="rId887" Type="http://schemas.openxmlformats.org/officeDocument/2006/relationships/slide" Target="slides/slide883.xml"/><Relationship Id="rId137" Type="http://schemas.openxmlformats.org/officeDocument/2006/relationships/slide" Target="slides/slide133.xml"/><Relationship Id="rId302" Type="http://schemas.openxmlformats.org/officeDocument/2006/relationships/slide" Target="slides/slide298.xml"/><Relationship Id="rId344" Type="http://schemas.openxmlformats.org/officeDocument/2006/relationships/slide" Target="slides/slide340.xml"/><Relationship Id="rId691" Type="http://schemas.openxmlformats.org/officeDocument/2006/relationships/slide" Target="slides/slide687.xml"/><Relationship Id="rId747" Type="http://schemas.openxmlformats.org/officeDocument/2006/relationships/slide" Target="slides/slide743.xml"/><Relationship Id="rId789" Type="http://schemas.openxmlformats.org/officeDocument/2006/relationships/slide" Target="slides/slide785.xml"/><Relationship Id="rId912" Type="http://schemas.openxmlformats.org/officeDocument/2006/relationships/slide" Target="slides/slide908.xml"/><Relationship Id="rId41" Type="http://schemas.openxmlformats.org/officeDocument/2006/relationships/slide" Target="slides/slide37.xml"/><Relationship Id="rId83" Type="http://schemas.openxmlformats.org/officeDocument/2006/relationships/slide" Target="slides/slide79.xml"/><Relationship Id="rId179" Type="http://schemas.openxmlformats.org/officeDocument/2006/relationships/slide" Target="slides/slide175.xml"/><Relationship Id="rId386" Type="http://schemas.openxmlformats.org/officeDocument/2006/relationships/slide" Target="slides/slide382.xml"/><Relationship Id="rId551" Type="http://schemas.openxmlformats.org/officeDocument/2006/relationships/slide" Target="slides/slide547.xml"/><Relationship Id="rId593" Type="http://schemas.openxmlformats.org/officeDocument/2006/relationships/slide" Target="slides/slide589.xml"/><Relationship Id="rId607" Type="http://schemas.openxmlformats.org/officeDocument/2006/relationships/slide" Target="slides/slide603.xml"/><Relationship Id="rId649" Type="http://schemas.openxmlformats.org/officeDocument/2006/relationships/slide" Target="slides/slide645.xml"/><Relationship Id="rId814" Type="http://schemas.openxmlformats.org/officeDocument/2006/relationships/slide" Target="slides/slide810.xml"/><Relationship Id="rId856" Type="http://schemas.openxmlformats.org/officeDocument/2006/relationships/slide" Target="slides/slide852.xml"/><Relationship Id="rId190" Type="http://schemas.openxmlformats.org/officeDocument/2006/relationships/slide" Target="slides/slide186.xml"/><Relationship Id="rId204" Type="http://schemas.openxmlformats.org/officeDocument/2006/relationships/slide" Target="slides/slide200.xml"/><Relationship Id="rId246" Type="http://schemas.openxmlformats.org/officeDocument/2006/relationships/slide" Target="slides/slide242.xml"/><Relationship Id="rId288" Type="http://schemas.openxmlformats.org/officeDocument/2006/relationships/slide" Target="slides/slide284.xml"/><Relationship Id="rId411" Type="http://schemas.openxmlformats.org/officeDocument/2006/relationships/slide" Target="slides/slide407.xml"/><Relationship Id="rId453" Type="http://schemas.openxmlformats.org/officeDocument/2006/relationships/slide" Target="slides/slide449.xml"/><Relationship Id="rId509" Type="http://schemas.openxmlformats.org/officeDocument/2006/relationships/slide" Target="slides/slide505.xml"/><Relationship Id="rId660" Type="http://schemas.openxmlformats.org/officeDocument/2006/relationships/slide" Target="slides/slide656.xml"/><Relationship Id="rId898" Type="http://schemas.openxmlformats.org/officeDocument/2006/relationships/slide" Target="slides/slide894.xml"/><Relationship Id="rId106" Type="http://schemas.openxmlformats.org/officeDocument/2006/relationships/slide" Target="slides/slide102.xml"/><Relationship Id="rId313" Type="http://schemas.openxmlformats.org/officeDocument/2006/relationships/slide" Target="slides/slide309.xml"/><Relationship Id="rId495" Type="http://schemas.openxmlformats.org/officeDocument/2006/relationships/slide" Target="slides/slide491.xml"/><Relationship Id="rId716" Type="http://schemas.openxmlformats.org/officeDocument/2006/relationships/slide" Target="slides/slide712.xml"/><Relationship Id="rId758" Type="http://schemas.openxmlformats.org/officeDocument/2006/relationships/slide" Target="slides/slide754.xml"/><Relationship Id="rId923" Type="http://schemas.openxmlformats.org/officeDocument/2006/relationships/slide" Target="slides/slide919.xml"/><Relationship Id="rId10" Type="http://schemas.openxmlformats.org/officeDocument/2006/relationships/slide" Target="slides/slide6.xml"/><Relationship Id="rId52" Type="http://schemas.openxmlformats.org/officeDocument/2006/relationships/slide" Target="slides/slide48.xml"/><Relationship Id="rId94" Type="http://schemas.openxmlformats.org/officeDocument/2006/relationships/slide" Target="slides/slide90.xml"/><Relationship Id="rId148" Type="http://schemas.openxmlformats.org/officeDocument/2006/relationships/slide" Target="slides/slide144.xml"/><Relationship Id="rId355" Type="http://schemas.openxmlformats.org/officeDocument/2006/relationships/slide" Target="slides/slide351.xml"/><Relationship Id="rId397" Type="http://schemas.openxmlformats.org/officeDocument/2006/relationships/slide" Target="slides/slide393.xml"/><Relationship Id="rId520" Type="http://schemas.openxmlformats.org/officeDocument/2006/relationships/slide" Target="slides/slide516.xml"/><Relationship Id="rId562" Type="http://schemas.openxmlformats.org/officeDocument/2006/relationships/slide" Target="slides/slide558.xml"/><Relationship Id="rId618" Type="http://schemas.openxmlformats.org/officeDocument/2006/relationships/slide" Target="slides/slide614.xml"/><Relationship Id="rId825" Type="http://schemas.openxmlformats.org/officeDocument/2006/relationships/slide" Target="slides/slide821.xml"/><Relationship Id="rId215" Type="http://schemas.openxmlformats.org/officeDocument/2006/relationships/slide" Target="slides/slide211.xml"/><Relationship Id="rId257" Type="http://schemas.openxmlformats.org/officeDocument/2006/relationships/slide" Target="slides/slide253.xml"/><Relationship Id="rId422" Type="http://schemas.openxmlformats.org/officeDocument/2006/relationships/slide" Target="slides/slide418.xml"/><Relationship Id="rId464" Type="http://schemas.openxmlformats.org/officeDocument/2006/relationships/slide" Target="slides/slide460.xml"/><Relationship Id="rId867" Type="http://schemas.openxmlformats.org/officeDocument/2006/relationships/slide" Target="slides/slide863.xml"/><Relationship Id="rId299" Type="http://schemas.openxmlformats.org/officeDocument/2006/relationships/slide" Target="slides/slide295.xml"/><Relationship Id="rId727" Type="http://schemas.openxmlformats.org/officeDocument/2006/relationships/slide" Target="slides/slide723.xml"/><Relationship Id="rId934" Type="http://schemas.openxmlformats.org/officeDocument/2006/relationships/slide" Target="slides/slide930.xml"/><Relationship Id="rId63" Type="http://schemas.openxmlformats.org/officeDocument/2006/relationships/slide" Target="slides/slide59.xml"/><Relationship Id="rId159" Type="http://schemas.openxmlformats.org/officeDocument/2006/relationships/slide" Target="slides/slide155.xml"/><Relationship Id="rId366" Type="http://schemas.openxmlformats.org/officeDocument/2006/relationships/slide" Target="slides/slide362.xml"/><Relationship Id="rId573" Type="http://schemas.openxmlformats.org/officeDocument/2006/relationships/slide" Target="slides/slide569.xml"/><Relationship Id="rId780" Type="http://schemas.openxmlformats.org/officeDocument/2006/relationships/slide" Target="slides/slide776.xml"/><Relationship Id="rId226" Type="http://schemas.openxmlformats.org/officeDocument/2006/relationships/slide" Target="slides/slide222.xml"/><Relationship Id="rId433" Type="http://schemas.openxmlformats.org/officeDocument/2006/relationships/slide" Target="slides/slide429.xml"/><Relationship Id="rId878" Type="http://schemas.openxmlformats.org/officeDocument/2006/relationships/slide" Target="slides/slide874.xml"/><Relationship Id="rId640" Type="http://schemas.openxmlformats.org/officeDocument/2006/relationships/slide" Target="slides/slide636.xml"/><Relationship Id="rId738" Type="http://schemas.openxmlformats.org/officeDocument/2006/relationships/slide" Target="slides/slide734.xml"/><Relationship Id="rId945" Type="http://schemas.openxmlformats.org/officeDocument/2006/relationships/theme" Target="theme/theme1.xml"/><Relationship Id="rId74" Type="http://schemas.openxmlformats.org/officeDocument/2006/relationships/slide" Target="slides/slide70.xml"/><Relationship Id="rId377" Type="http://schemas.openxmlformats.org/officeDocument/2006/relationships/slide" Target="slides/slide373.xml"/><Relationship Id="rId500" Type="http://schemas.openxmlformats.org/officeDocument/2006/relationships/slide" Target="slides/slide496.xml"/><Relationship Id="rId584" Type="http://schemas.openxmlformats.org/officeDocument/2006/relationships/slide" Target="slides/slide580.xml"/><Relationship Id="rId805" Type="http://schemas.openxmlformats.org/officeDocument/2006/relationships/slide" Target="slides/slide801.xml"/><Relationship Id="rId5" Type="http://schemas.openxmlformats.org/officeDocument/2006/relationships/slide" Target="slides/slide1.xml"/><Relationship Id="rId237" Type="http://schemas.openxmlformats.org/officeDocument/2006/relationships/slide" Target="slides/slide233.xml"/><Relationship Id="rId791" Type="http://schemas.openxmlformats.org/officeDocument/2006/relationships/slide" Target="slides/slide787.xml"/><Relationship Id="rId889" Type="http://schemas.openxmlformats.org/officeDocument/2006/relationships/slide" Target="slides/slide885.xml"/><Relationship Id="rId444" Type="http://schemas.openxmlformats.org/officeDocument/2006/relationships/slide" Target="slides/slide440.xml"/><Relationship Id="rId651" Type="http://schemas.openxmlformats.org/officeDocument/2006/relationships/slide" Target="slides/slide647.xml"/><Relationship Id="rId749" Type="http://schemas.openxmlformats.org/officeDocument/2006/relationships/slide" Target="slides/slide745.xml"/><Relationship Id="rId290" Type="http://schemas.openxmlformats.org/officeDocument/2006/relationships/slide" Target="slides/slide286.xml"/><Relationship Id="rId304" Type="http://schemas.openxmlformats.org/officeDocument/2006/relationships/slide" Target="slides/slide300.xml"/><Relationship Id="rId388" Type="http://schemas.openxmlformats.org/officeDocument/2006/relationships/slide" Target="slides/slide384.xml"/><Relationship Id="rId511" Type="http://schemas.openxmlformats.org/officeDocument/2006/relationships/slide" Target="slides/slide507.xml"/><Relationship Id="rId609" Type="http://schemas.openxmlformats.org/officeDocument/2006/relationships/slide" Target="slides/slide605.xml"/><Relationship Id="rId85" Type="http://schemas.openxmlformats.org/officeDocument/2006/relationships/slide" Target="slides/slide81.xml"/><Relationship Id="rId150" Type="http://schemas.openxmlformats.org/officeDocument/2006/relationships/slide" Target="slides/slide146.xml"/><Relationship Id="rId595" Type="http://schemas.openxmlformats.org/officeDocument/2006/relationships/slide" Target="slides/slide591.xml"/><Relationship Id="rId816" Type="http://schemas.openxmlformats.org/officeDocument/2006/relationships/slide" Target="slides/slide812.xml"/><Relationship Id="rId248" Type="http://schemas.openxmlformats.org/officeDocument/2006/relationships/slide" Target="slides/slide244.xml"/><Relationship Id="rId455" Type="http://schemas.openxmlformats.org/officeDocument/2006/relationships/slide" Target="slides/slide451.xml"/><Relationship Id="rId662" Type="http://schemas.openxmlformats.org/officeDocument/2006/relationships/slide" Target="slides/slide658.xml"/><Relationship Id="rId12" Type="http://schemas.openxmlformats.org/officeDocument/2006/relationships/slide" Target="slides/slide8.xml"/><Relationship Id="rId108" Type="http://schemas.openxmlformats.org/officeDocument/2006/relationships/slide" Target="slides/slide104.xml"/><Relationship Id="rId315" Type="http://schemas.openxmlformats.org/officeDocument/2006/relationships/slide" Target="slides/slide311.xml"/><Relationship Id="rId522" Type="http://schemas.openxmlformats.org/officeDocument/2006/relationships/slide" Target="slides/slide518.xml"/><Relationship Id="rId96" Type="http://schemas.openxmlformats.org/officeDocument/2006/relationships/slide" Target="slides/slide92.xml"/><Relationship Id="rId161" Type="http://schemas.openxmlformats.org/officeDocument/2006/relationships/slide" Target="slides/slide157.xml"/><Relationship Id="rId399" Type="http://schemas.openxmlformats.org/officeDocument/2006/relationships/slide" Target="slides/slide395.xml"/><Relationship Id="rId827" Type="http://schemas.openxmlformats.org/officeDocument/2006/relationships/slide" Target="slides/slide823.xml"/><Relationship Id="rId259" Type="http://schemas.openxmlformats.org/officeDocument/2006/relationships/slide" Target="slides/slide255.xml"/><Relationship Id="rId466" Type="http://schemas.openxmlformats.org/officeDocument/2006/relationships/slide" Target="slides/slide462.xml"/><Relationship Id="rId673" Type="http://schemas.openxmlformats.org/officeDocument/2006/relationships/slide" Target="slides/slide669.xml"/><Relationship Id="rId880" Type="http://schemas.openxmlformats.org/officeDocument/2006/relationships/slide" Target="slides/slide876.xml"/><Relationship Id="rId23" Type="http://schemas.openxmlformats.org/officeDocument/2006/relationships/slide" Target="slides/slide19.xml"/><Relationship Id="rId119" Type="http://schemas.openxmlformats.org/officeDocument/2006/relationships/slide" Target="slides/slide115.xml"/><Relationship Id="rId326" Type="http://schemas.openxmlformats.org/officeDocument/2006/relationships/slide" Target="slides/slide322.xml"/><Relationship Id="rId533" Type="http://schemas.openxmlformats.org/officeDocument/2006/relationships/slide" Target="slides/slide529.xml"/><Relationship Id="rId740" Type="http://schemas.openxmlformats.org/officeDocument/2006/relationships/slide" Target="slides/slide736.xml"/><Relationship Id="rId838" Type="http://schemas.openxmlformats.org/officeDocument/2006/relationships/slide" Target="slides/slide834.xml"/><Relationship Id="rId172" Type="http://schemas.openxmlformats.org/officeDocument/2006/relationships/slide" Target="slides/slide168.xml"/><Relationship Id="rId477" Type="http://schemas.openxmlformats.org/officeDocument/2006/relationships/slide" Target="slides/slide473.xml"/><Relationship Id="rId600" Type="http://schemas.openxmlformats.org/officeDocument/2006/relationships/slide" Target="slides/slide596.xml"/><Relationship Id="rId684" Type="http://schemas.openxmlformats.org/officeDocument/2006/relationships/slide" Target="slides/slide680.xml"/><Relationship Id="rId337" Type="http://schemas.openxmlformats.org/officeDocument/2006/relationships/slide" Target="slides/slide333.xml"/><Relationship Id="rId891" Type="http://schemas.openxmlformats.org/officeDocument/2006/relationships/slide" Target="slides/slide887.xml"/><Relationship Id="rId905" Type="http://schemas.openxmlformats.org/officeDocument/2006/relationships/slide" Target="slides/slide901.xml"/><Relationship Id="rId34" Type="http://schemas.openxmlformats.org/officeDocument/2006/relationships/slide" Target="slides/slide30.xml"/><Relationship Id="rId544" Type="http://schemas.openxmlformats.org/officeDocument/2006/relationships/slide" Target="slides/slide540.xml"/><Relationship Id="rId751" Type="http://schemas.openxmlformats.org/officeDocument/2006/relationships/slide" Target="slides/slide747.xml"/><Relationship Id="rId849" Type="http://schemas.openxmlformats.org/officeDocument/2006/relationships/slide" Target="slides/slide845.xml"/><Relationship Id="rId183" Type="http://schemas.openxmlformats.org/officeDocument/2006/relationships/slide" Target="slides/slide179.xml"/><Relationship Id="rId390" Type="http://schemas.openxmlformats.org/officeDocument/2006/relationships/slide" Target="slides/slide386.xml"/><Relationship Id="rId404" Type="http://schemas.openxmlformats.org/officeDocument/2006/relationships/slide" Target="slides/slide400.xml"/><Relationship Id="rId611" Type="http://schemas.openxmlformats.org/officeDocument/2006/relationships/slide" Target="slides/slide607.xml"/><Relationship Id="rId250" Type="http://schemas.openxmlformats.org/officeDocument/2006/relationships/slide" Target="slides/slide246.xml"/><Relationship Id="rId488" Type="http://schemas.openxmlformats.org/officeDocument/2006/relationships/slide" Target="slides/slide484.xml"/><Relationship Id="rId695" Type="http://schemas.openxmlformats.org/officeDocument/2006/relationships/slide" Target="slides/slide691.xml"/><Relationship Id="rId709" Type="http://schemas.openxmlformats.org/officeDocument/2006/relationships/slide" Target="slides/slide705.xml"/><Relationship Id="rId916" Type="http://schemas.openxmlformats.org/officeDocument/2006/relationships/slide" Target="slides/slide912.xml"/><Relationship Id="rId45" Type="http://schemas.openxmlformats.org/officeDocument/2006/relationships/slide" Target="slides/slide41.xml"/><Relationship Id="rId110" Type="http://schemas.openxmlformats.org/officeDocument/2006/relationships/slide" Target="slides/slide106.xml"/><Relationship Id="rId348" Type="http://schemas.openxmlformats.org/officeDocument/2006/relationships/slide" Target="slides/slide344.xml"/><Relationship Id="rId555" Type="http://schemas.openxmlformats.org/officeDocument/2006/relationships/slide" Target="slides/slide551.xml"/><Relationship Id="rId762" Type="http://schemas.openxmlformats.org/officeDocument/2006/relationships/slide" Target="slides/slide758.xml"/><Relationship Id="rId194" Type="http://schemas.openxmlformats.org/officeDocument/2006/relationships/slide" Target="slides/slide190.xml"/><Relationship Id="rId208" Type="http://schemas.openxmlformats.org/officeDocument/2006/relationships/slide" Target="slides/slide204.xml"/><Relationship Id="rId415" Type="http://schemas.openxmlformats.org/officeDocument/2006/relationships/slide" Target="slides/slide411.xml"/><Relationship Id="rId622" Type="http://schemas.openxmlformats.org/officeDocument/2006/relationships/slide" Target="slides/slide618.xml"/><Relationship Id="rId261" Type="http://schemas.openxmlformats.org/officeDocument/2006/relationships/slide" Target="slides/slide257.xml"/><Relationship Id="rId499" Type="http://schemas.openxmlformats.org/officeDocument/2006/relationships/slide" Target="slides/slide495.xml"/><Relationship Id="rId927" Type="http://schemas.openxmlformats.org/officeDocument/2006/relationships/slide" Target="slides/slide923.xml"/><Relationship Id="rId56" Type="http://schemas.openxmlformats.org/officeDocument/2006/relationships/slide" Target="slides/slide52.xml"/><Relationship Id="rId359" Type="http://schemas.openxmlformats.org/officeDocument/2006/relationships/slide" Target="slides/slide355.xml"/><Relationship Id="rId566" Type="http://schemas.openxmlformats.org/officeDocument/2006/relationships/slide" Target="slides/slide562.xml"/><Relationship Id="rId773" Type="http://schemas.openxmlformats.org/officeDocument/2006/relationships/slide" Target="slides/slide769.xml"/><Relationship Id="rId121" Type="http://schemas.openxmlformats.org/officeDocument/2006/relationships/slide" Target="slides/slide117.xml"/><Relationship Id="rId219" Type="http://schemas.openxmlformats.org/officeDocument/2006/relationships/slide" Target="slides/slide215.xml"/><Relationship Id="rId426" Type="http://schemas.openxmlformats.org/officeDocument/2006/relationships/slide" Target="slides/slide422.xml"/><Relationship Id="rId633" Type="http://schemas.openxmlformats.org/officeDocument/2006/relationships/slide" Target="slides/slide629.xml"/><Relationship Id="rId840" Type="http://schemas.openxmlformats.org/officeDocument/2006/relationships/slide" Target="slides/slide836.xml"/><Relationship Id="rId938" Type="http://schemas.openxmlformats.org/officeDocument/2006/relationships/slide" Target="slides/slide934.xml"/><Relationship Id="rId67" Type="http://schemas.openxmlformats.org/officeDocument/2006/relationships/slide" Target="slides/slide63.xml"/><Relationship Id="rId272" Type="http://schemas.openxmlformats.org/officeDocument/2006/relationships/slide" Target="slides/slide268.xml"/><Relationship Id="rId577" Type="http://schemas.openxmlformats.org/officeDocument/2006/relationships/slide" Target="slides/slide573.xml"/><Relationship Id="rId700" Type="http://schemas.openxmlformats.org/officeDocument/2006/relationships/slide" Target="slides/slide696.xml"/><Relationship Id="rId132" Type="http://schemas.openxmlformats.org/officeDocument/2006/relationships/slide" Target="slides/slide128.xml"/><Relationship Id="rId784" Type="http://schemas.openxmlformats.org/officeDocument/2006/relationships/slide" Target="slides/slide780.xml"/><Relationship Id="rId437" Type="http://schemas.openxmlformats.org/officeDocument/2006/relationships/slide" Target="slides/slide433.xml"/><Relationship Id="rId644" Type="http://schemas.openxmlformats.org/officeDocument/2006/relationships/slide" Target="slides/slide640.xml"/><Relationship Id="rId851" Type="http://schemas.openxmlformats.org/officeDocument/2006/relationships/slide" Target="slides/slide847.xml"/><Relationship Id="rId283" Type="http://schemas.openxmlformats.org/officeDocument/2006/relationships/slide" Target="slides/slide279.xml"/><Relationship Id="rId490" Type="http://schemas.openxmlformats.org/officeDocument/2006/relationships/slide" Target="slides/slide486.xml"/><Relationship Id="rId504" Type="http://schemas.openxmlformats.org/officeDocument/2006/relationships/slide" Target="slides/slide500.xml"/><Relationship Id="rId711" Type="http://schemas.openxmlformats.org/officeDocument/2006/relationships/slide" Target="slides/slide707.xml"/><Relationship Id="rId78" Type="http://schemas.openxmlformats.org/officeDocument/2006/relationships/slide" Target="slides/slide74.xml"/><Relationship Id="rId143" Type="http://schemas.openxmlformats.org/officeDocument/2006/relationships/slide" Target="slides/slide139.xml"/><Relationship Id="rId350" Type="http://schemas.openxmlformats.org/officeDocument/2006/relationships/slide" Target="slides/slide346.xml"/><Relationship Id="rId588" Type="http://schemas.openxmlformats.org/officeDocument/2006/relationships/slide" Target="slides/slide584.xml"/><Relationship Id="rId795" Type="http://schemas.openxmlformats.org/officeDocument/2006/relationships/slide" Target="slides/slide791.xml"/><Relationship Id="rId809" Type="http://schemas.openxmlformats.org/officeDocument/2006/relationships/slide" Target="slides/slide805.xml"/><Relationship Id="rId9" Type="http://schemas.openxmlformats.org/officeDocument/2006/relationships/slide" Target="slides/slide5.xml"/><Relationship Id="rId210" Type="http://schemas.openxmlformats.org/officeDocument/2006/relationships/slide" Target="slides/slide206.xml"/><Relationship Id="rId448" Type="http://schemas.openxmlformats.org/officeDocument/2006/relationships/slide" Target="slides/slide444.xml"/><Relationship Id="rId655" Type="http://schemas.openxmlformats.org/officeDocument/2006/relationships/slide" Target="slides/slide651.xml"/><Relationship Id="rId862" Type="http://schemas.openxmlformats.org/officeDocument/2006/relationships/slide" Target="slides/slide858.xml"/><Relationship Id="rId294" Type="http://schemas.openxmlformats.org/officeDocument/2006/relationships/slide" Target="slides/slide290.xml"/><Relationship Id="rId308" Type="http://schemas.openxmlformats.org/officeDocument/2006/relationships/slide" Target="slides/slide304.xml"/><Relationship Id="rId515" Type="http://schemas.openxmlformats.org/officeDocument/2006/relationships/slide" Target="slides/slide511.xml"/><Relationship Id="rId722" Type="http://schemas.openxmlformats.org/officeDocument/2006/relationships/slide" Target="slides/slide718.xml"/><Relationship Id="rId89" Type="http://schemas.openxmlformats.org/officeDocument/2006/relationships/slide" Target="slides/slide85.xml"/><Relationship Id="rId154" Type="http://schemas.openxmlformats.org/officeDocument/2006/relationships/slide" Target="slides/slide150.xml"/><Relationship Id="rId361" Type="http://schemas.openxmlformats.org/officeDocument/2006/relationships/slide" Target="slides/slide357.xml"/><Relationship Id="rId599" Type="http://schemas.openxmlformats.org/officeDocument/2006/relationships/slide" Target="slides/slide595.xml"/><Relationship Id="rId459" Type="http://schemas.openxmlformats.org/officeDocument/2006/relationships/slide" Target="slides/slide455.xml"/><Relationship Id="rId666" Type="http://schemas.openxmlformats.org/officeDocument/2006/relationships/slide" Target="slides/slide662.xml"/><Relationship Id="rId873" Type="http://schemas.openxmlformats.org/officeDocument/2006/relationships/slide" Target="slides/slide869.xml"/><Relationship Id="rId16" Type="http://schemas.openxmlformats.org/officeDocument/2006/relationships/slide" Target="slides/slide12.xml"/><Relationship Id="rId221" Type="http://schemas.openxmlformats.org/officeDocument/2006/relationships/slide" Target="slides/slide217.xml"/><Relationship Id="rId319" Type="http://schemas.openxmlformats.org/officeDocument/2006/relationships/slide" Target="slides/slide315.xml"/><Relationship Id="rId526" Type="http://schemas.openxmlformats.org/officeDocument/2006/relationships/slide" Target="slides/slide522.xml"/><Relationship Id="rId733" Type="http://schemas.openxmlformats.org/officeDocument/2006/relationships/slide" Target="slides/slide729.xml"/><Relationship Id="rId940" Type="http://schemas.openxmlformats.org/officeDocument/2006/relationships/slide" Target="slides/slide936.xml"/><Relationship Id="rId165" Type="http://schemas.openxmlformats.org/officeDocument/2006/relationships/slide" Target="slides/slide161.xml"/><Relationship Id="rId372" Type="http://schemas.openxmlformats.org/officeDocument/2006/relationships/slide" Target="slides/slide368.xml"/><Relationship Id="rId677" Type="http://schemas.openxmlformats.org/officeDocument/2006/relationships/slide" Target="slides/slide673.xml"/><Relationship Id="rId800" Type="http://schemas.openxmlformats.org/officeDocument/2006/relationships/slide" Target="slides/slide796.xml"/><Relationship Id="rId232" Type="http://schemas.openxmlformats.org/officeDocument/2006/relationships/slide" Target="slides/slide228.xml"/><Relationship Id="rId884" Type="http://schemas.openxmlformats.org/officeDocument/2006/relationships/slide" Target="slides/slide880.xml"/><Relationship Id="rId27" Type="http://schemas.openxmlformats.org/officeDocument/2006/relationships/slide" Target="slides/slide23.xml"/><Relationship Id="rId537" Type="http://schemas.openxmlformats.org/officeDocument/2006/relationships/slide" Target="slides/slide533.xml"/><Relationship Id="rId744" Type="http://schemas.openxmlformats.org/officeDocument/2006/relationships/slide" Target="slides/slide740.xml"/><Relationship Id="rId80" Type="http://schemas.openxmlformats.org/officeDocument/2006/relationships/slide" Target="slides/slide76.xml"/><Relationship Id="rId176" Type="http://schemas.openxmlformats.org/officeDocument/2006/relationships/slide" Target="slides/slide172.xml"/><Relationship Id="rId383" Type="http://schemas.openxmlformats.org/officeDocument/2006/relationships/slide" Target="slides/slide379.xml"/><Relationship Id="rId590" Type="http://schemas.openxmlformats.org/officeDocument/2006/relationships/slide" Target="slides/slide586.xml"/><Relationship Id="rId604" Type="http://schemas.openxmlformats.org/officeDocument/2006/relationships/slide" Target="slides/slide600.xml"/><Relationship Id="rId811" Type="http://schemas.openxmlformats.org/officeDocument/2006/relationships/slide" Target="slides/slide807.xml"/><Relationship Id="rId243" Type="http://schemas.openxmlformats.org/officeDocument/2006/relationships/slide" Target="slides/slide239.xml"/><Relationship Id="rId450" Type="http://schemas.openxmlformats.org/officeDocument/2006/relationships/slide" Target="slides/slide446.xml"/><Relationship Id="rId688" Type="http://schemas.openxmlformats.org/officeDocument/2006/relationships/slide" Target="slides/slide684.xml"/><Relationship Id="rId895" Type="http://schemas.openxmlformats.org/officeDocument/2006/relationships/slide" Target="slides/slide891.xml"/><Relationship Id="rId909" Type="http://schemas.openxmlformats.org/officeDocument/2006/relationships/slide" Target="slides/slide905.xml"/><Relationship Id="rId38" Type="http://schemas.openxmlformats.org/officeDocument/2006/relationships/slide" Target="slides/slide34.xml"/><Relationship Id="rId103" Type="http://schemas.openxmlformats.org/officeDocument/2006/relationships/slide" Target="slides/slide99.xml"/><Relationship Id="rId310" Type="http://schemas.openxmlformats.org/officeDocument/2006/relationships/slide" Target="slides/slide306.xml"/><Relationship Id="rId548" Type="http://schemas.openxmlformats.org/officeDocument/2006/relationships/slide" Target="slides/slide544.xml"/><Relationship Id="rId755" Type="http://schemas.openxmlformats.org/officeDocument/2006/relationships/slide" Target="slides/slide751.xml"/><Relationship Id="rId91" Type="http://schemas.openxmlformats.org/officeDocument/2006/relationships/slide" Target="slides/slide87.xml"/><Relationship Id="rId187" Type="http://schemas.openxmlformats.org/officeDocument/2006/relationships/slide" Target="slides/slide183.xml"/><Relationship Id="rId394" Type="http://schemas.openxmlformats.org/officeDocument/2006/relationships/slide" Target="slides/slide390.xml"/><Relationship Id="rId408" Type="http://schemas.openxmlformats.org/officeDocument/2006/relationships/slide" Target="slides/slide404.xml"/><Relationship Id="rId615" Type="http://schemas.openxmlformats.org/officeDocument/2006/relationships/slide" Target="slides/slide611.xml"/><Relationship Id="rId822" Type="http://schemas.openxmlformats.org/officeDocument/2006/relationships/slide" Target="slides/slide818.xml"/><Relationship Id="rId254" Type="http://schemas.openxmlformats.org/officeDocument/2006/relationships/slide" Target="slides/slide250.xml"/><Relationship Id="rId699" Type="http://schemas.openxmlformats.org/officeDocument/2006/relationships/slide" Target="slides/slide695.xml"/><Relationship Id="rId49" Type="http://schemas.openxmlformats.org/officeDocument/2006/relationships/slide" Target="slides/slide45.xml"/><Relationship Id="rId114" Type="http://schemas.openxmlformats.org/officeDocument/2006/relationships/slide" Target="slides/slide110.xml"/><Relationship Id="rId461" Type="http://schemas.openxmlformats.org/officeDocument/2006/relationships/slide" Target="slides/slide457.xml"/><Relationship Id="rId559" Type="http://schemas.openxmlformats.org/officeDocument/2006/relationships/slide" Target="slides/slide555.xml"/><Relationship Id="rId766" Type="http://schemas.openxmlformats.org/officeDocument/2006/relationships/slide" Target="slides/slide762.xml"/><Relationship Id="rId198" Type="http://schemas.openxmlformats.org/officeDocument/2006/relationships/slide" Target="slides/slide194.xml"/><Relationship Id="rId321" Type="http://schemas.openxmlformats.org/officeDocument/2006/relationships/slide" Target="slides/slide317.xml"/><Relationship Id="rId419" Type="http://schemas.openxmlformats.org/officeDocument/2006/relationships/slide" Target="slides/slide415.xml"/><Relationship Id="rId626" Type="http://schemas.openxmlformats.org/officeDocument/2006/relationships/slide" Target="slides/slide622.xml"/><Relationship Id="rId833" Type="http://schemas.openxmlformats.org/officeDocument/2006/relationships/slide" Target="slides/slide829.xml"/><Relationship Id="rId265" Type="http://schemas.openxmlformats.org/officeDocument/2006/relationships/slide" Target="slides/slide261.xml"/><Relationship Id="rId472" Type="http://schemas.openxmlformats.org/officeDocument/2006/relationships/slide" Target="slides/slide468.xml"/><Relationship Id="rId900" Type="http://schemas.openxmlformats.org/officeDocument/2006/relationships/slide" Target="slides/slide896.xml"/><Relationship Id="rId125" Type="http://schemas.openxmlformats.org/officeDocument/2006/relationships/slide" Target="slides/slide121.xml"/><Relationship Id="rId332" Type="http://schemas.openxmlformats.org/officeDocument/2006/relationships/slide" Target="slides/slide328.xml"/><Relationship Id="rId777" Type="http://schemas.openxmlformats.org/officeDocument/2006/relationships/slide" Target="slides/slide773.xml"/><Relationship Id="rId637" Type="http://schemas.openxmlformats.org/officeDocument/2006/relationships/slide" Target="slides/slide633.xml"/><Relationship Id="rId844" Type="http://schemas.openxmlformats.org/officeDocument/2006/relationships/slide" Target="slides/slide840.xml"/><Relationship Id="rId276" Type="http://schemas.openxmlformats.org/officeDocument/2006/relationships/slide" Target="slides/slide272.xml"/><Relationship Id="rId483" Type="http://schemas.openxmlformats.org/officeDocument/2006/relationships/slide" Target="slides/slide479.xml"/><Relationship Id="rId690" Type="http://schemas.openxmlformats.org/officeDocument/2006/relationships/slide" Target="slides/slide686.xml"/><Relationship Id="rId704" Type="http://schemas.openxmlformats.org/officeDocument/2006/relationships/slide" Target="slides/slide700.xml"/><Relationship Id="rId911" Type="http://schemas.openxmlformats.org/officeDocument/2006/relationships/slide" Target="slides/slide907.xml"/><Relationship Id="rId40" Type="http://schemas.openxmlformats.org/officeDocument/2006/relationships/slide" Target="slides/slide36.xml"/><Relationship Id="rId136" Type="http://schemas.openxmlformats.org/officeDocument/2006/relationships/slide" Target="slides/slide132.xml"/><Relationship Id="rId343" Type="http://schemas.openxmlformats.org/officeDocument/2006/relationships/slide" Target="slides/slide339.xml"/><Relationship Id="rId550" Type="http://schemas.openxmlformats.org/officeDocument/2006/relationships/slide" Target="slides/slide546.xml"/><Relationship Id="rId788" Type="http://schemas.openxmlformats.org/officeDocument/2006/relationships/slide" Target="slides/slide784.xml"/><Relationship Id="rId203" Type="http://schemas.openxmlformats.org/officeDocument/2006/relationships/slide" Target="slides/slide199.xml"/><Relationship Id="rId648" Type="http://schemas.openxmlformats.org/officeDocument/2006/relationships/slide" Target="slides/slide644.xml"/><Relationship Id="rId855" Type="http://schemas.openxmlformats.org/officeDocument/2006/relationships/slide" Target="slides/slide851.xml"/><Relationship Id="rId287" Type="http://schemas.openxmlformats.org/officeDocument/2006/relationships/slide" Target="slides/slide283.xml"/><Relationship Id="rId410" Type="http://schemas.openxmlformats.org/officeDocument/2006/relationships/slide" Target="slides/slide406.xml"/><Relationship Id="rId494" Type="http://schemas.openxmlformats.org/officeDocument/2006/relationships/slide" Target="slides/slide490.xml"/><Relationship Id="rId508" Type="http://schemas.openxmlformats.org/officeDocument/2006/relationships/slide" Target="slides/slide504.xml"/><Relationship Id="rId715" Type="http://schemas.openxmlformats.org/officeDocument/2006/relationships/slide" Target="slides/slide711.xml"/><Relationship Id="rId922" Type="http://schemas.openxmlformats.org/officeDocument/2006/relationships/slide" Target="slides/slide918.xml"/><Relationship Id="rId147" Type="http://schemas.openxmlformats.org/officeDocument/2006/relationships/slide" Target="slides/slide143.xml"/><Relationship Id="rId354" Type="http://schemas.openxmlformats.org/officeDocument/2006/relationships/slide" Target="slides/slide350.xml"/><Relationship Id="rId799" Type="http://schemas.openxmlformats.org/officeDocument/2006/relationships/slide" Target="slides/slide795.xml"/><Relationship Id="rId51" Type="http://schemas.openxmlformats.org/officeDocument/2006/relationships/slide" Target="slides/slide47.xml"/><Relationship Id="rId561" Type="http://schemas.openxmlformats.org/officeDocument/2006/relationships/slide" Target="slides/slide557.xml"/><Relationship Id="rId659" Type="http://schemas.openxmlformats.org/officeDocument/2006/relationships/slide" Target="slides/slide655.xml"/><Relationship Id="rId866" Type="http://schemas.openxmlformats.org/officeDocument/2006/relationships/slide" Target="slides/slide862.xml"/><Relationship Id="rId214" Type="http://schemas.openxmlformats.org/officeDocument/2006/relationships/slide" Target="slides/slide210.xml"/><Relationship Id="rId298" Type="http://schemas.openxmlformats.org/officeDocument/2006/relationships/slide" Target="slides/slide294.xml"/><Relationship Id="rId421" Type="http://schemas.openxmlformats.org/officeDocument/2006/relationships/slide" Target="slides/slide417.xml"/><Relationship Id="rId519" Type="http://schemas.openxmlformats.org/officeDocument/2006/relationships/slide" Target="slides/slide515.xml"/><Relationship Id="rId158" Type="http://schemas.openxmlformats.org/officeDocument/2006/relationships/slide" Target="slides/slide154.xml"/><Relationship Id="rId726" Type="http://schemas.openxmlformats.org/officeDocument/2006/relationships/slide" Target="slides/slide722.xml"/><Relationship Id="rId933" Type="http://schemas.openxmlformats.org/officeDocument/2006/relationships/slide" Target="slides/slide929.xml"/><Relationship Id="rId62" Type="http://schemas.openxmlformats.org/officeDocument/2006/relationships/slide" Target="slides/slide58.xml"/><Relationship Id="rId365" Type="http://schemas.openxmlformats.org/officeDocument/2006/relationships/slide" Target="slides/slide361.xml"/><Relationship Id="rId572" Type="http://schemas.openxmlformats.org/officeDocument/2006/relationships/slide" Target="slides/slide568.xml"/><Relationship Id="rId225" Type="http://schemas.openxmlformats.org/officeDocument/2006/relationships/slide" Target="slides/slide221.xml"/><Relationship Id="rId432" Type="http://schemas.openxmlformats.org/officeDocument/2006/relationships/slide" Target="slides/slide428.xml"/><Relationship Id="rId877" Type="http://schemas.openxmlformats.org/officeDocument/2006/relationships/slide" Target="slides/slide873.xml"/><Relationship Id="rId737" Type="http://schemas.openxmlformats.org/officeDocument/2006/relationships/slide" Target="slides/slide733.xml"/><Relationship Id="rId944" Type="http://schemas.openxmlformats.org/officeDocument/2006/relationships/viewProps" Target="viewProps.xml"/><Relationship Id="rId73" Type="http://schemas.openxmlformats.org/officeDocument/2006/relationships/slide" Target="slides/slide69.xml"/><Relationship Id="rId169" Type="http://schemas.openxmlformats.org/officeDocument/2006/relationships/slide" Target="slides/slide165.xml"/><Relationship Id="rId376" Type="http://schemas.openxmlformats.org/officeDocument/2006/relationships/slide" Target="slides/slide372.xml"/><Relationship Id="rId583" Type="http://schemas.openxmlformats.org/officeDocument/2006/relationships/slide" Target="slides/slide579.xml"/><Relationship Id="rId790" Type="http://schemas.openxmlformats.org/officeDocument/2006/relationships/slide" Target="slides/slide786.xml"/><Relationship Id="rId804" Type="http://schemas.openxmlformats.org/officeDocument/2006/relationships/slide" Target="slides/slide800.xml"/><Relationship Id="rId4" Type="http://schemas.openxmlformats.org/officeDocument/2006/relationships/slideMaster" Target="slideMasters/slideMaster1.xml"/><Relationship Id="rId236" Type="http://schemas.openxmlformats.org/officeDocument/2006/relationships/slide" Target="slides/slide232.xml"/><Relationship Id="rId443" Type="http://schemas.openxmlformats.org/officeDocument/2006/relationships/slide" Target="slides/slide439.xml"/><Relationship Id="rId650" Type="http://schemas.openxmlformats.org/officeDocument/2006/relationships/slide" Target="slides/slide646.xml"/><Relationship Id="rId888" Type="http://schemas.openxmlformats.org/officeDocument/2006/relationships/slide" Target="slides/slide884.xml"/><Relationship Id="rId303" Type="http://schemas.openxmlformats.org/officeDocument/2006/relationships/slide" Target="slides/slide299.xml"/><Relationship Id="rId748" Type="http://schemas.openxmlformats.org/officeDocument/2006/relationships/slide" Target="slides/slide744.xml"/><Relationship Id="rId84" Type="http://schemas.openxmlformats.org/officeDocument/2006/relationships/slide" Target="slides/slide80.xml"/><Relationship Id="rId387" Type="http://schemas.openxmlformats.org/officeDocument/2006/relationships/slide" Target="slides/slide383.xml"/><Relationship Id="rId510" Type="http://schemas.openxmlformats.org/officeDocument/2006/relationships/slide" Target="slides/slide506.xml"/><Relationship Id="rId594" Type="http://schemas.openxmlformats.org/officeDocument/2006/relationships/slide" Target="slides/slide590.xml"/><Relationship Id="rId608" Type="http://schemas.openxmlformats.org/officeDocument/2006/relationships/slide" Target="slides/slide604.xml"/><Relationship Id="rId815" Type="http://schemas.openxmlformats.org/officeDocument/2006/relationships/slide" Target="slides/slide811.xml"/><Relationship Id="rId247" Type="http://schemas.openxmlformats.org/officeDocument/2006/relationships/slide" Target="slides/slide243.xml"/><Relationship Id="rId899" Type="http://schemas.openxmlformats.org/officeDocument/2006/relationships/slide" Target="slides/slide895.xml"/><Relationship Id="rId107" Type="http://schemas.openxmlformats.org/officeDocument/2006/relationships/slide" Target="slides/slide103.xml"/><Relationship Id="rId454" Type="http://schemas.openxmlformats.org/officeDocument/2006/relationships/slide" Target="slides/slide450.xml"/><Relationship Id="rId661" Type="http://schemas.openxmlformats.org/officeDocument/2006/relationships/slide" Target="slides/slide657.xml"/><Relationship Id="rId759" Type="http://schemas.openxmlformats.org/officeDocument/2006/relationships/slide" Target="slides/slide755.xml"/><Relationship Id="rId11" Type="http://schemas.openxmlformats.org/officeDocument/2006/relationships/slide" Target="slides/slide7.xml"/><Relationship Id="rId314" Type="http://schemas.openxmlformats.org/officeDocument/2006/relationships/slide" Target="slides/slide310.xml"/><Relationship Id="rId398" Type="http://schemas.openxmlformats.org/officeDocument/2006/relationships/slide" Target="slides/slide394.xml"/><Relationship Id="rId521" Type="http://schemas.openxmlformats.org/officeDocument/2006/relationships/slide" Target="slides/slide517.xml"/><Relationship Id="rId619" Type="http://schemas.openxmlformats.org/officeDocument/2006/relationships/slide" Target="slides/slide615.xml"/><Relationship Id="rId95" Type="http://schemas.openxmlformats.org/officeDocument/2006/relationships/slide" Target="slides/slide91.xml"/><Relationship Id="rId160" Type="http://schemas.openxmlformats.org/officeDocument/2006/relationships/slide" Target="slides/slide156.xml"/><Relationship Id="rId826" Type="http://schemas.openxmlformats.org/officeDocument/2006/relationships/slide" Target="slides/slide822.xml"/><Relationship Id="rId258" Type="http://schemas.openxmlformats.org/officeDocument/2006/relationships/slide" Target="slides/slide254.xml"/><Relationship Id="rId465" Type="http://schemas.openxmlformats.org/officeDocument/2006/relationships/slide" Target="slides/slide461.xml"/><Relationship Id="rId672" Type="http://schemas.openxmlformats.org/officeDocument/2006/relationships/slide" Target="slides/slide668.xml"/><Relationship Id="rId22" Type="http://schemas.openxmlformats.org/officeDocument/2006/relationships/slide" Target="slides/slide18.xml"/><Relationship Id="rId118" Type="http://schemas.openxmlformats.org/officeDocument/2006/relationships/slide" Target="slides/slide114.xml"/><Relationship Id="rId325" Type="http://schemas.openxmlformats.org/officeDocument/2006/relationships/slide" Target="slides/slide321.xml"/><Relationship Id="rId532" Type="http://schemas.openxmlformats.org/officeDocument/2006/relationships/slide" Target="slides/slide528.xml"/><Relationship Id="rId171" Type="http://schemas.openxmlformats.org/officeDocument/2006/relationships/slide" Target="slides/slide167.xml"/><Relationship Id="rId837" Type="http://schemas.openxmlformats.org/officeDocument/2006/relationships/slide" Target="slides/slide833.xml"/><Relationship Id="rId269" Type="http://schemas.openxmlformats.org/officeDocument/2006/relationships/slide" Target="slides/slide265.xml"/><Relationship Id="rId476" Type="http://schemas.openxmlformats.org/officeDocument/2006/relationships/slide" Target="slides/slide472.xml"/><Relationship Id="rId683" Type="http://schemas.openxmlformats.org/officeDocument/2006/relationships/slide" Target="slides/slide679.xml"/><Relationship Id="rId890" Type="http://schemas.openxmlformats.org/officeDocument/2006/relationships/slide" Target="slides/slide886.xml"/><Relationship Id="rId904" Type="http://schemas.openxmlformats.org/officeDocument/2006/relationships/slide" Target="slides/slide900.xml"/><Relationship Id="rId33" Type="http://schemas.openxmlformats.org/officeDocument/2006/relationships/slide" Target="slides/slide29.xml"/><Relationship Id="rId129" Type="http://schemas.openxmlformats.org/officeDocument/2006/relationships/slide" Target="slides/slide125.xml"/><Relationship Id="rId336" Type="http://schemas.openxmlformats.org/officeDocument/2006/relationships/slide" Target="slides/slide332.xml"/><Relationship Id="rId543" Type="http://schemas.openxmlformats.org/officeDocument/2006/relationships/slide" Target="slides/slide539.xml"/><Relationship Id="rId182" Type="http://schemas.openxmlformats.org/officeDocument/2006/relationships/slide" Target="slides/slide178.xml"/><Relationship Id="rId403" Type="http://schemas.openxmlformats.org/officeDocument/2006/relationships/slide" Target="slides/slide399.xml"/><Relationship Id="rId750" Type="http://schemas.openxmlformats.org/officeDocument/2006/relationships/slide" Target="slides/slide746.xml"/><Relationship Id="rId848" Type="http://schemas.openxmlformats.org/officeDocument/2006/relationships/slide" Target="slides/slide844.xml"/><Relationship Id="rId487" Type="http://schemas.openxmlformats.org/officeDocument/2006/relationships/slide" Target="slides/slide483.xml"/><Relationship Id="rId610" Type="http://schemas.openxmlformats.org/officeDocument/2006/relationships/slide" Target="slides/slide606.xml"/><Relationship Id="rId694" Type="http://schemas.openxmlformats.org/officeDocument/2006/relationships/slide" Target="slides/slide690.xml"/><Relationship Id="rId708" Type="http://schemas.openxmlformats.org/officeDocument/2006/relationships/slide" Target="slides/slide704.xml"/><Relationship Id="rId915" Type="http://schemas.openxmlformats.org/officeDocument/2006/relationships/slide" Target="slides/slide911.xml"/><Relationship Id="rId347" Type="http://schemas.openxmlformats.org/officeDocument/2006/relationships/slide" Target="slides/slide343.xml"/><Relationship Id="rId44" Type="http://schemas.openxmlformats.org/officeDocument/2006/relationships/slide" Target="slides/slide40.xml"/><Relationship Id="rId554" Type="http://schemas.openxmlformats.org/officeDocument/2006/relationships/slide" Target="slides/slide550.xml"/><Relationship Id="rId761" Type="http://schemas.openxmlformats.org/officeDocument/2006/relationships/slide" Target="slides/slide757.xml"/><Relationship Id="rId859" Type="http://schemas.openxmlformats.org/officeDocument/2006/relationships/slide" Target="slides/slide855.xml"/><Relationship Id="rId193" Type="http://schemas.openxmlformats.org/officeDocument/2006/relationships/slide" Target="slides/slide189.xml"/><Relationship Id="rId207" Type="http://schemas.openxmlformats.org/officeDocument/2006/relationships/slide" Target="slides/slide203.xml"/><Relationship Id="rId414" Type="http://schemas.openxmlformats.org/officeDocument/2006/relationships/slide" Target="slides/slide410.xml"/><Relationship Id="rId498" Type="http://schemas.openxmlformats.org/officeDocument/2006/relationships/slide" Target="slides/slide494.xml"/><Relationship Id="rId621" Type="http://schemas.openxmlformats.org/officeDocument/2006/relationships/slide" Target="slides/slide617.xml"/><Relationship Id="rId260" Type="http://schemas.openxmlformats.org/officeDocument/2006/relationships/slide" Target="slides/slide256.xml"/><Relationship Id="rId719" Type="http://schemas.openxmlformats.org/officeDocument/2006/relationships/slide" Target="slides/slide715.xml"/><Relationship Id="rId926" Type="http://schemas.openxmlformats.org/officeDocument/2006/relationships/slide" Target="slides/slide922.xml"/><Relationship Id="rId55" Type="http://schemas.openxmlformats.org/officeDocument/2006/relationships/slide" Target="slides/slide51.xml"/><Relationship Id="rId120" Type="http://schemas.openxmlformats.org/officeDocument/2006/relationships/slide" Target="slides/slide116.xml"/><Relationship Id="rId358" Type="http://schemas.openxmlformats.org/officeDocument/2006/relationships/slide" Target="slides/slide354.xml"/><Relationship Id="rId565" Type="http://schemas.openxmlformats.org/officeDocument/2006/relationships/slide" Target="slides/slide561.xml"/><Relationship Id="rId772" Type="http://schemas.openxmlformats.org/officeDocument/2006/relationships/slide" Target="slides/slide768.xml"/><Relationship Id="rId218" Type="http://schemas.openxmlformats.org/officeDocument/2006/relationships/slide" Target="slides/slide214.xml"/><Relationship Id="rId425" Type="http://schemas.openxmlformats.org/officeDocument/2006/relationships/slide" Target="slides/slide421.xml"/><Relationship Id="rId632" Type="http://schemas.openxmlformats.org/officeDocument/2006/relationships/slide" Target="slides/slide628.xml"/><Relationship Id="rId271" Type="http://schemas.openxmlformats.org/officeDocument/2006/relationships/slide" Target="slides/slide267.xml"/><Relationship Id="rId937" Type="http://schemas.openxmlformats.org/officeDocument/2006/relationships/slide" Target="slides/slide933.xml"/><Relationship Id="rId66" Type="http://schemas.openxmlformats.org/officeDocument/2006/relationships/slide" Target="slides/slide62.xml"/><Relationship Id="rId131" Type="http://schemas.openxmlformats.org/officeDocument/2006/relationships/slide" Target="slides/slide127.xml"/><Relationship Id="rId369" Type="http://schemas.openxmlformats.org/officeDocument/2006/relationships/slide" Target="slides/slide365.xml"/><Relationship Id="rId576" Type="http://schemas.openxmlformats.org/officeDocument/2006/relationships/slide" Target="slides/slide572.xml"/><Relationship Id="rId783" Type="http://schemas.openxmlformats.org/officeDocument/2006/relationships/slide" Target="slides/slide779.xml"/><Relationship Id="rId229" Type="http://schemas.openxmlformats.org/officeDocument/2006/relationships/slide" Target="slides/slide225.xml"/><Relationship Id="rId436" Type="http://schemas.openxmlformats.org/officeDocument/2006/relationships/slide" Target="slides/slide432.xml"/><Relationship Id="rId643" Type="http://schemas.openxmlformats.org/officeDocument/2006/relationships/slide" Target="slides/slide639.xml"/><Relationship Id="rId850" Type="http://schemas.openxmlformats.org/officeDocument/2006/relationships/slide" Target="slides/slide846.xml"/><Relationship Id="rId948" Type="http://schemas.microsoft.com/office/2018/10/relationships/authors" Target="authors.xml"/><Relationship Id="rId77" Type="http://schemas.openxmlformats.org/officeDocument/2006/relationships/slide" Target="slides/slide73.xml"/><Relationship Id="rId282" Type="http://schemas.openxmlformats.org/officeDocument/2006/relationships/slide" Target="slides/slide278.xml"/><Relationship Id="rId503" Type="http://schemas.openxmlformats.org/officeDocument/2006/relationships/slide" Target="slides/slide499.xml"/><Relationship Id="rId587" Type="http://schemas.openxmlformats.org/officeDocument/2006/relationships/slide" Target="slides/slide583.xml"/><Relationship Id="rId710" Type="http://schemas.openxmlformats.org/officeDocument/2006/relationships/slide" Target="slides/slide706.xml"/><Relationship Id="rId808" Type="http://schemas.openxmlformats.org/officeDocument/2006/relationships/slide" Target="slides/slide804.xml"/><Relationship Id="rId8" Type="http://schemas.openxmlformats.org/officeDocument/2006/relationships/slide" Target="slides/slide4.xml"/><Relationship Id="rId142" Type="http://schemas.openxmlformats.org/officeDocument/2006/relationships/slide" Target="slides/slide138.xml"/><Relationship Id="rId447" Type="http://schemas.openxmlformats.org/officeDocument/2006/relationships/slide" Target="slides/slide443.xml"/><Relationship Id="rId794" Type="http://schemas.openxmlformats.org/officeDocument/2006/relationships/slide" Target="slides/slide790.xml"/><Relationship Id="rId654" Type="http://schemas.openxmlformats.org/officeDocument/2006/relationships/slide" Target="slides/slide650.xml"/><Relationship Id="rId861" Type="http://schemas.openxmlformats.org/officeDocument/2006/relationships/slide" Target="slides/slide857.xml"/><Relationship Id="rId293" Type="http://schemas.openxmlformats.org/officeDocument/2006/relationships/slide" Target="slides/slide289.xml"/><Relationship Id="rId307" Type="http://schemas.openxmlformats.org/officeDocument/2006/relationships/slide" Target="slides/slide303.xml"/><Relationship Id="rId514" Type="http://schemas.openxmlformats.org/officeDocument/2006/relationships/slide" Target="slides/slide510.xml"/><Relationship Id="rId721" Type="http://schemas.openxmlformats.org/officeDocument/2006/relationships/slide" Target="slides/slide717.xml"/><Relationship Id="rId88" Type="http://schemas.openxmlformats.org/officeDocument/2006/relationships/slide" Target="slides/slide84.xml"/><Relationship Id="rId153" Type="http://schemas.openxmlformats.org/officeDocument/2006/relationships/slide" Target="slides/slide149.xml"/><Relationship Id="rId360" Type="http://schemas.openxmlformats.org/officeDocument/2006/relationships/slide" Target="slides/slide356.xml"/><Relationship Id="rId598" Type="http://schemas.openxmlformats.org/officeDocument/2006/relationships/slide" Target="slides/slide594.xml"/><Relationship Id="rId819" Type="http://schemas.openxmlformats.org/officeDocument/2006/relationships/slide" Target="slides/slide815.xml"/><Relationship Id="rId220" Type="http://schemas.openxmlformats.org/officeDocument/2006/relationships/slide" Target="slides/slide216.xml"/><Relationship Id="rId458" Type="http://schemas.openxmlformats.org/officeDocument/2006/relationships/slide" Target="slides/slide454.xml"/><Relationship Id="rId665" Type="http://schemas.openxmlformats.org/officeDocument/2006/relationships/slide" Target="slides/slide661.xml"/><Relationship Id="rId872" Type="http://schemas.openxmlformats.org/officeDocument/2006/relationships/slide" Target="slides/slide868.xml"/><Relationship Id="rId15" Type="http://schemas.openxmlformats.org/officeDocument/2006/relationships/slide" Target="slides/slide11.xml"/><Relationship Id="rId318" Type="http://schemas.openxmlformats.org/officeDocument/2006/relationships/slide" Target="slides/slide314.xml"/><Relationship Id="rId525" Type="http://schemas.openxmlformats.org/officeDocument/2006/relationships/slide" Target="slides/slide521.xml"/><Relationship Id="rId732" Type="http://schemas.openxmlformats.org/officeDocument/2006/relationships/slide" Target="slides/slide728.xml"/><Relationship Id="rId99" Type="http://schemas.openxmlformats.org/officeDocument/2006/relationships/slide" Target="slides/slide95.xml"/><Relationship Id="rId164" Type="http://schemas.openxmlformats.org/officeDocument/2006/relationships/slide" Target="slides/slide160.xml"/><Relationship Id="rId371" Type="http://schemas.openxmlformats.org/officeDocument/2006/relationships/slide" Target="slides/slide367.xml"/><Relationship Id="rId469" Type="http://schemas.openxmlformats.org/officeDocument/2006/relationships/slide" Target="slides/slide465.xml"/><Relationship Id="rId676" Type="http://schemas.openxmlformats.org/officeDocument/2006/relationships/slide" Target="slides/slide672.xml"/><Relationship Id="rId883" Type="http://schemas.openxmlformats.org/officeDocument/2006/relationships/slide" Target="slides/slide879.xml"/><Relationship Id="rId26" Type="http://schemas.openxmlformats.org/officeDocument/2006/relationships/slide" Target="slides/slide22.xml"/><Relationship Id="rId231" Type="http://schemas.openxmlformats.org/officeDocument/2006/relationships/slide" Target="slides/slide227.xml"/><Relationship Id="rId329" Type="http://schemas.openxmlformats.org/officeDocument/2006/relationships/slide" Target="slides/slide325.xml"/><Relationship Id="rId536" Type="http://schemas.openxmlformats.org/officeDocument/2006/relationships/slide" Target="slides/slide532.xml"/><Relationship Id="rId175" Type="http://schemas.openxmlformats.org/officeDocument/2006/relationships/slide" Target="slides/slide171.xml"/><Relationship Id="rId743" Type="http://schemas.openxmlformats.org/officeDocument/2006/relationships/slide" Target="slides/slide739.xml"/><Relationship Id="rId382" Type="http://schemas.openxmlformats.org/officeDocument/2006/relationships/slide" Target="slides/slide378.xml"/><Relationship Id="rId603" Type="http://schemas.openxmlformats.org/officeDocument/2006/relationships/slide" Target="slides/slide599.xml"/><Relationship Id="rId687" Type="http://schemas.openxmlformats.org/officeDocument/2006/relationships/slide" Target="slides/slide683.xml"/><Relationship Id="rId810" Type="http://schemas.openxmlformats.org/officeDocument/2006/relationships/slide" Target="slides/slide806.xml"/><Relationship Id="rId908" Type="http://schemas.openxmlformats.org/officeDocument/2006/relationships/slide" Target="slides/slide904.xml"/><Relationship Id="rId242" Type="http://schemas.openxmlformats.org/officeDocument/2006/relationships/slide" Target="slides/slide238.xml"/><Relationship Id="rId894" Type="http://schemas.openxmlformats.org/officeDocument/2006/relationships/slide" Target="slides/slide890.xml"/><Relationship Id="rId37" Type="http://schemas.openxmlformats.org/officeDocument/2006/relationships/slide" Target="slides/slide33.xml"/><Relationship Id="rId102" Type="http://schemas.openxmlformats.org/officeDocument/2006/relationships/slide" Target="slides/slide98.xml"/><Relationship Id="rId547" Type="http://schemas.openxmlformats.org/officeDocument/2006/relationships/slide" Target="slides/slide543.xml"/><Relationship Id="rId754" Type="http://schemas.openxmlformats.org/officeDocument/2006/relationships/slide" Target="slides/slide750.xml"/><Relationship Id="rId90" Type="http://schemas.openxmlformats.org/officeDocument/2006/relationships/slide" Target="slides/slide86.xml"/><Relationship Id="rId186" Type="http://schemas.openxmlformats.org/officeDocument/2006/relationships/slide" Target="slides/slide182.xml"/><Relationship Id="rId393" Type="http://schemas.openxmlformats.org/officeDocument/2006/relationships/slide" Target="slides/slide389.xml"/><Relationship Id="rId407" Type="http://schemas.openxmlformats.org/officeDocument/2006/relationships/slide" Target="slides/slide403.xml"/><Relationship Id="rId614" Type="http://schemas.openxmlformats.org/officeDocument/2006/relationships/slide" Target="slides/slide610.xml"/><Relationship Id="rId821" Type="http://schemas.openxmlformats.org/officeDocument/2006/relationships/slide" Target="slides/slide817.xml"/><Relationship Id="rId253" Type="http://schemas.openxmlformats.org/officeDocument/2006/relationships/slide" Target="slides/slide249.xml"/><Relationship Id="rId460" Type="http://schemas.openxmlformats.org/officeDocument/2006/relationships/slide" Target="slides/slide456.xml"/><Relationship Id="rId698" Type="http://schemas.openxmlformats.org/officeDocument/2006/relationships/slide" Target="slides/slide694.xml"/><Relationship Id="rId919" Type="http://schemas.openxmlformats.org/officeDocument/2006/relationships/slide" Target="slides/slide915.xml"/><Relationship Id="rId48" Type="http://schemas.openxmlformats.org/officeDocument/2006/relationships/slide" Target="slides/slide44.xml"/><Relationship Id="rId113" Type="http://schemas.openxmlformats.org/officeDocument/2006/relationships/slide" Target="slides/slide109.xml"/><Relationship Id="rId320" Type="http://schemas.openxmlformats.org/officeDocument/2006/relationships/slide" Target="slides/slide316.xml"/><Relationship Id="rId558" Type="http://schemas.openxmlformats.org/officeDocument/2006/relationships/slide" Target="slides/slide554.xml"/><Relationship Id="rId765" Type="http://schemas.openxmlformats.org/officeDocument/2006/relationships/slide" Target="slides/slide761.xml"/><Relationship Id="rId197" Type="http://schemas.openxmlformats.org/officeDocument/2006/relationships/slide" Target="slides/slide193.xml"/><Relationship Id="rId418" Type="http://schemas.openxmlformats.org/officeDocument/2006/relationships/slide" Target="slides/slide414.xml"/><Relationship Id="rId625" Type="http://schemas.openxmlformats.org/officeDocument/2006/relationships/slide" Target="slides/slide621.xml"/><Relationship Id="rId832" Type="http://schemas.openxmlformats.org/officeDocument/2006/relationships/slide" Target="slides/slide828.xml"/><Relationship Id="rId264" Type="http://schemas.openxmlformats.org/officeDocument/2006/relationships/slide" Target="slides/slide260.xml"/><Relationship Id="rId471" Type="http://schemas.openxmlformats.org/officeDocument/2006/relationships/slide" Target="slides/slide467.xml"/><Relationship Id="rId59" Type="http://schemas.openxmlformats.org/officeDocument/2006/relationships/slide" Target="slides/slide55.xml"/><Relationship Id="rId124" Type="http://schemas.openxmlformats.org/officeDocument/2006/relationships/slide" Target="slides/slide120.xml"/><Relationship Id="rId569" Type="http://schemas.openxmlformats.org/officeDocument/2006/relationships/slide" Target="slides/slide565.xml"/><Relationship Id="rId776" Type="http://schemas.openxmlformats.org/officeDocument/2006/relationships/slide" Target="slides/slide772.xml"/><Relationship Id="rId331" Type="http://schemas.openxmlformats.org/officeDocument/2006/relationships/slide" Target="slides/slide327.xml"/><Relationship Id="rId429" Type="http://schemas.openxmlformats.org/officeDocument/2006/relationships/slide" Target="slides/slide425.xml"/><Relationship Id="rId636" Type="http://schemas.openxmlformats.org/officeDocument/2006/relationships/slide" Target="slides/slide632.xml"/><Relationship Id="rId843" Type="http://schemas.openxmlformats.org/officeDocument/2006/relationships/slide" Target="slides/slide839.xml"/></Relationships>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0F00E21D-538B-4A2F-B423-B64D8E7104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4EE254B5-6E1A-4226-AACA-F489DEA7B9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FF5-4D9B-9947-2A90D7752FBB}"/>
                </c:ext>
              </c:extLst>
            </c:dLbl>
            <c:dLbl>
              <c:idx val="2"/>
              <c:tx>
                <c:rich>
                  <a:bodyPr/>
                  <a:lstStyle/>
                  <a:p>
                    <a:fld id="{EF0D8EE4-B9A3-4D72-9950-E779F408C3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FF5-4D9B-9947-2A90D7752FBB}"/>
                </c:ext>
              </c:extLst>
            </c:dLbl>
            <c:dLbl>
              <c:idx val="3"/>
              <c:tx>
                <c:rich>
                  <a:bodyPr/>
                  <a:lstStyle/>
                  <a:p>
                    <a:fld id="{C7A3BCC7-2812-4BE4-BB2B-F985D7C4DB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38FC25BA-8C9F-415B-92BF-1B3F5C3E96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5E8B9DEF-96EC-48FA-81BA-B003A18542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3C53F256-57F4-4C9C-946F-4A890C63CB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4EB022ED-1B82-437D-AFB6-74823BA5C8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61.4544</c:v>
                </c:pt>
              </c:numCache>
            </c:numRef>
          </c:xVal>
          <c:yVal>
            <c:numRef>
              <c:f>Sheet1!$B$2:$B$2</c:f>
              <c:numCache>
                <c:formatCode>General</c:formatCode>
                <c:ptCount val="1"/>
                <c:pt idx="0">
                  <c:v>0.40570000000000001</c:v>
                </c:pt>
              </c:numCache>
            </c:numRef>
          </c:yVal>
          <c:bubbleSize>
            <c:numRef>
              <c:f>Sheet1!$C$2:$C$2</c:f>
              <c:numCache>
                <c:formatCode>General</c:formatCode>
                <c:ptCount val="1"/>
                <c:pt idx="0">
                  <c:v>3466888.5815999908</c:v>
                </c:pt>
              </c:numCache>
            </c:numRef>
          </c:bubbleSize>
          <c:bubble3D val="0"/>
          <c:extLst>
            <c:ext xmlns:c15="http://schemas.microsoft.com/office/drawing/2012/chart" uri="{02D57815-91ED-43cb-92C2-25804820EDAC}">
              <c15:datalabelsRange>
                <c15:f>Sheet1!$E$2:$E$29</c15:f>
                <c15:dlblRangeCache>
                  <c:ptCount val="28"/>
                  <c:pt idx="0">
                    <c:v>NICOLAS</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73.745279999999994"/>
          <c:min val="49.163520000000005"/>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570000000000001"/>
        <c:crossBetween val="midCat"/>
      </c:valAx>
      <c:valAx>
        <c:axId val="1011451359"/>
        <c:scaling>
          <c:orientation val="minMax"/>
          <c:max val="0.84683999999999993"/>
          <c:min val="8.4560000000000024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61.454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4.1099999999999998E-2</c:v>
                </c:pt>
                <c:pt idx="1">
                  <c:v>1.4200000000000001E-2</c:v>
                </c:pt>
                <c:pt idx="2">
                  <c:v>-0.127</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noFill/>
                    <a:round/>
                  </a:ln>
                  <a:effectLst/>
                </c14:spPr>
              </c14:invertSolidFillFmt>
            </c:ex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General"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0</c:v>
                </c:pt>
                <c:pt idx="1">
                  <c:v>8</c:v>
                </c:pt>
                <c:pt idx="2">
                  <c:v>0</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solidFill>
                      <a:schemeClr val="lt1">
                        <a:alpha val="50000"/>
                      </a:schemeClr>
                    </a:solidFill>
                    <a:round/>
                  </a:ln>
                  <a:effectLst/>
                </c14:spPr>
              </c14:invertSolidFillFmt>
            </c:ex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General"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2.6768151608675544E-3</c:v>
                </c:pt>
                <c:pt idx="1">
                  <c:v>-9.279144173776524E-3</c:v>
                </c:pt>
                <c:pt idx="2">
                  <c:v>1.2407428613510268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3.8399999999999997E-2</c:v>
                </c:pt>
                <c:pt idx="1">
                  <c:v>5.0000000000000001E-3</c:v>
                </c:pt>
                <c:pt idx="2">
                  <c:v>-0.1323</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noFill/>
                    <a:round/>
                  </a:ln>
                  <a:effectLst/>
                </c14:spPr>
              </c14:invertSolidFillFmt>
            </c:ex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General"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3</c:v>
                </c:pt>
                <c:pt idx="1">
                  <c:v>44</c:v>
                </c:pt>
                <c:pt idx="2">
                  <c:v>0</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solidFill>
                      <a:schemeClr val="lt1">
                        <a:alpha val="50000"/>
                      </a:schemeClr>
                    </a:solidFill>
                    <a:round/>
                  </a:ln>
                  <a:effectLst/>
                </c14:spPr>
              </c14:invertSolidFillFmt>
            </c:ex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General"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5.4215401802435587E-3</c:v>
                </c:pt>
                <c:pt idx="1">
                  <c:v>-1.0560260281189135E-2</c:v>
                </c:pt>
                <c:pt idx="2">
                  <c:v>1.4983343191597887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3.3099999999999997E-2</c:v>
                </c:pt>
                <c:pt idx="1">
                  <c:v>5.0000000000000001E-4</c:v>
                </c:pt>
                <c:pt idx="2">
                  <c:v>-0.12959999999999999</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noFill/>
                    <a:round/>
                  </a:ln>
                  <a:effectLst/>
                </c14:spPr>
              </c14:invertSolidFillFmt>
            </c:ex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General"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1</c:v>
                </c:pt>
                <c:pt idx="1">
                  <c:v>12</c:v>
                </c:pt>
                <c:pt idx="2">
                  <c:v>0</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solidFill>
                      <a:schemeClr val="lt1">
                        <a:alpha val="50000"/>
                      </a:schemeClr>
                    </a:solidFill>
                    <a:round/>
                  </a:ln>
                  <a:effectLst/>
                </c14:spPr>
              </c14:invertSolidFillFmt>
            </c:ex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General"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2.8150793716771039E-3</c:v>
                </c:pt>
                <c:pt idx="1">
                  <c:v>-9.2920346740404704E-3</c:v>
                </c:pt>
                <c:pt idx="2">
                  <c:v>1.3894162472488314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3.6999999999999998E-2</c:v>
                </c:pt>
                <c:pt idx="1">
                  <c:v>8.5000000000000006E-3</c:v>
                </c:pt>
                <c:pt idx="2">
                  <c:v>-0.12709999999999999</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noFill/>
                    <a:round/>
                  </a:ln>
                  <a:effectLst/>
                </c14:spPr>
              </c14:invertSolidFillFmt>
            </c:ex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General"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4ED79A6E-E467-49FF-8D37-78975B13E7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47E1DD4E-F933-41F4-A371-0BBEDD9780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FF5-4D9B-9947-2A90D7752FBB}"/>
                </c:ext>
              </c:extLst>
            </c:dLbl>
            <c:dLbl>
              <c:idx val="2"/>
              <c:tx>
                <c:rich>
                  <a:bodyPr/>
                  <a:lstStyle/>
                  <a:p>
                    <a:fld id="{17A678E9-36CC-4AC8-BAC9-3BF5392D44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FF5-4D9B-9947-2A90D7752FBB}"/>
                </c:ext>
              </c:extLst>
            </c:dLbl>
            <c:dLbl>
              <c:idx val="3"/>
              <c:tx>
                <c:rich>
                  <a:bodyPr/>
                  <a:lstStyle/>
                  <a:p>
                    <a:fld id="{E09D4EC8-BD51-4F64-BDCB-78A39EB688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0DE2DEB9-99D5-4619-8670-2D30FAFBBD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B45B0B6C-ECFE-485A-B96F-C412FEA885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4A3AE441-4269-4375-A127-39ABEA824C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EBE2BB10-7790-447B-A30C-F655C99E3A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3.5227</c:v>
                </c:pt>
              </c:numCache>
            </c:numRef>
          </c:xVal>
          <c:yVal>
            <c:numRef>
              <c:f>Sheet1!$B$2:$B$2</c:f>
              <c:numCache>
                <c:formatCode>General</c:formatCode>
                <c:ptCount val="1"/>
                <c:pt idx="0">
                  <c:v>0.50470000000000004</c:v>
                </c:pt>
              </c:numCache>
            </c:numRef>
          </c:yVal>
          <c:bubbleSize>
            <c:numRef>
              <c:f>Sheet1!$C$2:$C$2</c:f>
              <c:numCache>
                <c:formatCode>General</c:formatCode>
                <c:ptCount val="1"/>
                <c:pt idx="0">
                  <c:v>421421.68180000008</c:v>
                </c:pt>
              </c:numCache>
            </c:numRef>
          </c:bubbleSize>
          <c:bubble3D val="0"/>
          <c:extLst>
            <c:ext xmlns:c15="http://schemas.microsoft.com/office/drawing/2012/chart" uri="{02D57815-91ED-43cb-92C2-25804820EDAC}">
              <c15:datalabelsRange>
                <c15:f>Sheet1!$E$2:$E$29</c15:f>
                <c15:dlblRangeCache>
                  <c:ptCount val="28"/>
                  <c:pt idx="0">
                    <c:v>NICOLAS</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6.227239999999998"/>
          <c:min val="10.818160000000001"/>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50470000000000004"/>
        <c:crossBetween val="midCat"/>
      </c:valAx>
      <c:valAx>
        <c:axId val="1011451359"/>
        <c:scaling>
          <c:orientation val="minMax"/>
          <c:max val="0.96563999999999994"/>
          <c:min val="0.1637600000000000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3.522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4</c:v>
                </c:pt>
                <c:pt idx="1">
                  <c:v>63</c:v>
                </c:pt>
                <c:pt idx="2">
                  <c:v>1</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solidFill>
                      <a:schemeClr val="lt1">
                        <a:alpha val="50000"/>
                      </a:schemeClr>
                    </a:solidFill>
                    <a:round/>
                  </a:ln>
                  <a:effectLst/>
                </c14:spPr>
              </c14:invertSolidFillFmt>
            </c:ex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General"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1.921880122061341E-3</c:v>
                </c:pt>
                <c:pt idx="1">
                  <c:v>-8.197431539438943E-3</c:v>
                </c:pt>
                <c:pt idx="2">
                  <c:v>1.2608858207606405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3.5999999999999997E-2</c:v>
                </c:pt>
                <c:pt idx="1">
                  <c:v>5.7999999999999996E-3</c:v>
                </c:pt>
                <c:pt idx="2">
                  <c:v>-0.1313</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noFill/>
                    <a:round/>
                  </a:ln>
                  <a:effectLst/>
                </c14:spPr>
              </c14:invertSolidFillFmt>
            </c:ex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General"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2</c:v>
                </c:pt>
                <c:pt idx="1">
                  <c:v>27</c:v>
                </c:pt>
                <c:pt idx="2">
                  <c:v>0</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solidFill>
                      <a:schemeClr val="lt1">
                        <a:alpha val="50000"/>
                      </a:schemeClr>
                    </a:solidFill>
                    <a:round/>
                  </a:ln>
                  <a:effectLst/>
                </c14:spPr>
              </c14:invertSolidFillFmt>
            </c:ex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General"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1.0661651092842284E-3</c:v>
                </c:pt>
                <c:pt idx="1">
                  <c:v>-1.0387186383127894E-2</c:v>
                </c:pt>
                <c:pt idx="2">
                  <c:v>8.9777602003224544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4.6600000000000003E-2</c:v>
                </c:pt>
                <c:pt idx="1">
                  <c:v>1.3100000000000001E-2</c:v>
                </c:pt>
                <c:pt idx="2">
                  <c:v>-0.12620000000000001</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noFill/>
                    <a:round/>
                  </a:ln>
                  <a:effectLst/>
                </c14:spPr>
              </c14:invertSolidFillFmt>
            </c:ex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General"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0</c:v>
                </c:pt>
                <c:pt idx="1">
                  <c:v>5</c:v>
                </c:pt>
                <c:pt idx="2">
                  <c:v>0</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solidFill>
                      <a:schemeClr val="lt1">
                        <a:alpha val="50000"/>
                      </a:schemeClr>
                    </a:solidFill>
                    <a:round/>
                  </a:ln>
                  <a:effectLst/>
                </c14:spPr>
              </c14:invertSolidFillFmt>
            </c:ex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General"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2.4268832654745706E-3</c:v>
                </c:pt>
                <c:pt idx="1">
                  <c:v>-1.0315444981619445E-2</c:v>
                </c:pt>
                <c:pt idx="2">
                  <c:v>1.7074277105402741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3.3599999999999998E-2</c:v>
                </c:pt>
                <c:pt idx="1">
                  <c:v>1.5599999999999999E-2</c:v>
                </c:pt>
                <c:pt idx="2">
                  <c:v>-0.1158</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noFill/>
                    <a:round/>
                  </a:ln>
                  <a:effectLst/>
                </c14:spPr>
              </c14:invertSolidFillFmt>
            </c:ex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General"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0</c:v>
                </c:pt>
                <c:pt idx="1">
                  <c:v>3</c:v>
                </c:pt>
                <c:pt idx="2">
                  <c:v>0</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solidFill>
                      <a:schemeClr val="lt1">
                        <a:alpha val="50000"/>
                      </a:schemeClr>
                    </a:solidFill>
                    <a:round/>
                  </a:ln>
                  <a:effectLst/>
                </c14:spPr>
              </c14:invertSolidFillFmt>
            </c:ex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General"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9EA852A0-440B-45E0-A9B8-E357EA9331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3910A1FA-D101-48E7-93ED-4C1CB8455D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FF5-4D9B-9947-2A90D7752FBB}"/>
                </c:ext>
              </c:extLst>
            </c:dLbl>
            <c:dLbl>
              <c:idx val="2"/>
              <c:tx>
                <c:rich>
                  <a:bodyPr/>
                  <a:lstStyle/>
                  <a:p>
                    <a:fld id="{6A34159E-80C3-4A33-A2F2-7DE4A195F7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FF5-4D9B-9947-2A90D7752FBB}"/>
                </c:ext>
              </c:extLst>
            </c:dLbl>
            <c:dLbl>
              <c:idx val="3"/>
              <c:tx>
                <c:rich>
                  <a:bodyPr/>
                  <a:lstStyle/>
                  <a:p>
                    <a:fld id="{A811A2C6-CD67-4BAB-8C95-67463D429D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C395205D-A99D-4903-A35D-5EEEB12649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07198852-18D0-487A-8615-D66E2E7528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12CFD019-EDD1-4A9D-8419-B5A9FA4CE5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EC01F192-3E68-4ACC-ADB3-25CDC1074A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9.5541</c:v>
                </c:pt>
              </c:numCache>
            </c:numRef>
          </c:xVal>
          <c:yVal>
            <c:numRef>
              <c:f>Sheet1!$B$2:$B$2</c:f>
              <c:numCache>
                <c:formatCode>General</c:formatCode>
                <c:ptCount val="1"/>
                <c:pt idx="0">
                  <c:v>0.54339999999999999</c:v>
                </c:pt>
              </c:numCache>
            </c:numRef>
          </c:yVal>
          <c:bubbleSize>
            <c:numRef>
              <c:f>Sheet1!$C$2:$C$2</c:f>
              <c:numCache>
                <c:formatCode>General</c:formatCode>
                <c:ptCount val="1"/>
                <c:pt idx="0">
                  <c:v>1357968.8567000011</c:v>
                </c:pt>
              </c:numCache>
            </c:numRef>
          </c:bubbleSize>
          <c:bubble3D val="0"/>
          <c:extLst>
            <c:ext xmlns:c15="http://schemas.microsoft.com/office/drawing/2012/chart" uri="{02D57815-91ED-43cb-92C2-25804820EDAC}">
              <c15:datalabelsRange>
                <c15:f>Sheet1!$E$2:$E$29</c15:f>
                <c15:dlblRangeCache>
                  <c:ptCount val="28"/>
                  <c:pt idx="0">
                    <c:v>NICOLAS</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1.464919999999999"/>
          <c:min val="7.6432800000000007"/>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54339999999999999"/>
        <c:crossBetween val="midCat"/>
      </c:valAx>
      <c:valAx>
        <c:axId val="1011451359"/>
        <c:scaling>
          <c:orientation val="minMax"/>
          <c:max val="1.0120799999999999"/>
          <c:min val="0.1947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9.554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2.9888671992582064E-3</c:v>
                </c:pt>
                <c:pt idx="1">
                  <c:v>-8.3198466599835701E-3</c:v>
                </c:pt>
                <c:pt idx="2">
                  <c:v>3.2478507579486365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2.4E-2</c:v>
                </c:pt>
                <c:pt idx="1">
                  <c:v>7.0000000000000001E-3</c:v>
                </c:pt>
                <c:pt idx="2">
                  <c:v>-9.6199999999999994E-2</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noFill/>
                    <a:round/>
                  </a:ln>
                  <a:effectLst/>
                </c14:spPr>
              </c14:invertSolidFillFmt>
            </c:ex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General"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0</c:v>
                </c:pt>
                <c:pt idx="1">
                  <c:v>2</c:v>
                </c:pt>
                <c:pt idx="2">
                  <c:v>0</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solidFill>
                      <a:schemeClr val="lt1">
                        <a:alpha val="50000"/>
                      </a:schemeClr>
                    </a:solidFill>
                    <a:round/>
                  </a:ln>
                  <a:effectLst/>
                </c14:spPr>
              </c14:invertSolidFillFmt>
            </c:ex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General"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6.922116196782846E-3</c:v>
                </c:pt>
                <c:pt idx="1">
                  <c:v>-6.2256001273492713E-3</c:v>
                </c:pt>
                <c:pt idx="2">
                  <c:v>2.958715992134435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3.3799999999999997E-2</c:v>
                </c:pt>
                <c:pt idx="1">
                  <c:v>1.9400000000000001E-2</c:v>
                </c:pt>
                <c:pt idx="2">
                  <c:v>-0.10290000000000001</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noFill/>
                    <a:round/>
                  </a:ln>
                  <a:effectLst/>
                </c14:spPr>
              </c14:invertSolidFillFmt>
            </c:ex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General"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0</c:v>
                </c:pt>
                <c:pt idx="1">
                  <c:v>2</c:v>
                </c:pt>
                <c:pt idx="2">
                  <c:v>0</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solidFill>
                      <a:schemeClr val="lt1">
                        <a:alpha val="50000"/>
                      </a:schemeClr>
                    </a:solidFill>
                    <a:round/>
                  </a:ln>
                  <a:effectLst/>
                </c14:spPr>
              </c14:invertSolidFillFmt>
            </c:ex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General"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2.1672519163414422E-3</c:v>
                </c:pt>
                <c:pt idx="1">
                  <c:v>-8.1680298917329759E-3</c:v>
                </c:pt>
                <c:pt idx="2">
                  <c:v>1.5492593180402248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3.5099999999999999E-2</c:v>
                </c:pt>
                <c:pt idx="1">
                  <c:v>8.0000000000000002E-3</c:v>
                </c:pt>
                <c:pt idx="2">
                  <c:v>-0.1288</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noFill/>
                    <a:round/>
                  </a:ln>
                  <a:effectLst/>
                </c14:spPr>
              </c14:invertSolidFillFmt>
            </c:ex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General"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1</c:v>
                </c:pt>
                <c:pt idx="1">
                  <c:v>9</c:v>
                </c:pt>
                <c:pt idx="2">
                  <c:v>0</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solidFill>
                      <a:schemeClr val="lt1">
                        <a:alpha val="50000"/>
                      </a:schemeClr>
                    </a:solidFill>
                    <a:round/>
                  </a:ln>
                  <a:effectLst/>
                </c14:spPr>
              </c14:invertSolidFillFmt>
            </c:ex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General"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2.2167490808458409E-3</c:v>
                </c:pt>
                <c:pt idx="1">
                  <c:v>-1.1153832714247986E-2</c:v>
                </c:pt>
                <c:pt idx="2">
                  <c:v>1.2790165641073742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2BFAFDD-4900-4D6D-9713-E4428E5FAB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7FA04C47-33E5-4211-A868-BAA0E8E668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FF5-4D9B-9947-2A90D7752FBB}"/>
                </c:ext>
              </c:extLst>
            </c:dLbl>
            <c:dLbl>
              <c:idx val="2"/>
              <c:tx>
                <c:rich>
                  <a:bodyPr/>
                  <a:lstStyle/>
                  <a:p>
                    <a:fld id="{F4A89EA7-420C-4375-9BD1-54E9CCB314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FF5-4D9B-9947-2A90D7752FBB}"/>
                </c:ext>
              </c:extLst>
            </c:dLbl>
            <c:dLbl>
              <c:idx val="3"/>
              <c:tx>
                <c:rich>
                  <a:bodyPr/>
                  <a:lstStyle/>
                  <a:p>
                    <a:fld id="{C9FAF3B2-8EF8-45E9-99D4-85A0123770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CA519E5C-14A9-4D0A-9D2F-73403D3B97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FDBA66D2-FE1E-419C-AA70-E3274EC52A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6CE3973F-B65F-45B3-A8F3-919AC05FCE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2EA77F5B-C1E4-4FC3-9368-C6C7A02E5E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5326</c:v>
                </c:pt>
              </c:numCache>
            </c:numRef>
          </c:xVal>
          <c:yVal>
            <c:numRef>
              <c:f>Sheet1!$B$2:$B$2</c:f>
              <c:numCache>
                <c:formatCode>General</c:formatCode>
                <c:ptCount val="1"/>
                <c:pt idx="0">
                  <c:v>0.48980000000000001</c:v>
                </c:pt>
              </c:numCache>
            </c:numRef>
          </c:yVal>
          <c:bubbleSize>
            <c:numRef>
              <c:f>Sheet1!$C$2:$C$2</c:f>
              <c:numCache>
                <c:formatCode>General</c:formatCode>
                <c:ptCount val="1"/>
                <c:pt idx="0">
                  <c:v>867896.46050000098</c:v>
                </c:pt>
              </c:numCache>
            </c:numRef>
          </c:bubbleSize>
          <c:bubble3D val="0"/>
          <c:extLst>
            <c:ext xmlns:c15="http://schemas.microsoft.com/office/drawing/2012/chart" uri="{02D57815-91ED-43cb-92C2-25804820EDAC}">
              <c15:datalabelsRange>
                <c15:f>Sheet1!$E$2:$E$29</c15:f>
                <c15:dlblRangeCache>
                  <c:ptCount val="28"/>
                  <c:pt idx="0">
                    <c:v>NICOLAS</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5.03912"/>
          <c:min val="10.026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8980000000000001"/>
        <c:crossBetween val="midCat"/>
      </c:valAx>
      <c:valAx>
        <c:axId val="1011451359"/>
        <c:scaling>
          <c:orientation val="minMax"/>
          <c:max val="0.94776000000000005"/>
          <c:min val="0.15184000000000003"/>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2.532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3.5700000000000003E-2</c:v>
                </c:pt>
                <c:pt idx="1">
                  <c:v>4.3E-3</c:v>
                </c:pt>
                <c:pt idx="2">
                  <c:v>-0.13539999999999999</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noFill/>
                    <a:round/>
                  </a:ln>
                  <a:effectLst/>
                </c14:spPr>
              </c14:invertSolidFillFmt>
            </c:ex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General"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1</c:v>
                </c:pt>
                <c:pt idx="1">
                  <c:v>19</c:v>
                </c:pt>
                <c:pt idx="2">
                  <c:v>0</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solidFill>
                      <a:schemeClr val="lt1">
                        <a:alpha val="50000"/>
                      </a:schemeClr>
                    </a:solidFill>
                    <a:round/>
                  </a:ln>
                  <a:effectLst/>
                </c14:spPr>
              </c14:invertSolidFillFmt>
            </c:ex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General"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3.2474949461557476E-3</c:v>
                </c:pt>
                <c:pt idx="1">
                  <c:v>-9.7907064773630845E-3</c:v>
                </c:pt>
                <c:pt idx="2">
                  <c:v>1.2565410089379919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3.6499999999999998E-2</c:v>
                </c:pt>
                <c:pt idx="1">
                  <c:v>8.5000000000000006E-3</c:v>
                </c:pt>
                <c:pt idx="2">
                  <c:v>-0.1273</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noFill/>
                    <a:round/>
                  </a:ln>
                  <a:effectLst/>
                </c14:spPr>
              </c14:invertSolidFillFmt>
            </c:ex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General"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1</c:v>
                </c:pt>
                <c:pt idx="1">
                  <c:v>11</c:v>
                </c:pt>
                <c:pt idx="2">
                  <c:v>0</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solidFill>
                      <a:schemeClr val="lt1">
                        <a:alpha val="50000"/>
                      </a:schemeClr>
                    </a:solidFill>
                    <a:round/>
                  </a:ln>
                  <a:effectLst/>
                </c14:spPr>
              </c14:invertSolidFillFmt>
            </c:ex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General"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4.1311962086931775E-3</c:v>
                </c:pt>
                <c:pt idx="1">
                  <c:v>-8.0564339369200485E-3</c:v>
                </c:pt>
                <c:pt idx="2">
                  <c:v>1.2855325003839665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3.3599999999999998E-2</c:v>
                </c:pt>
                <c:pt idx="1">
                  <c:v>9.1999999999999998E-3</c:v>
                </c:pt>
                <c:pt idx="2">
                  <c:v>-0.1229</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noFill/>
                    <a:round/>
                  </a:ln>
                  <a:effectLst/>
                </c14:spPr>
              </c14:invertSolidFillFmt>
            </c:ex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General"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1</c:v>
                </c:pt>
                <c:pt idx="1">
                  <c:v>10</c:v>
                </c:pt>
                <c:pt idx="2">
                  <c:v>0</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solidFill>
                      <a:schemeClr val="lt1">
                        <a:alpha val="50000"/>
                      </a:schemeClr>
                    </a:solidFill>
                    <a:round/>
                  </a:ln>
                  <a:effectLst/>
                </c14:spPr>
              </c14:invertSolidFillFmt>
            </c:ex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General"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3.1486813896233479E-3</c:v>
                </c:pt>
                <c:pt idx="1">
                  <c:v>-8.5390861209690139E-3</c:v>
                </c:pt>
                <c:pt idx="2">
                  <c:v>1.3040364366248475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3.6700000000000003E-2</c:v>
                </c:pt>
                <c:pt idx="1">
                  <c:v>6.6E-3</c:v>
                </c:pt>
                <c:pt idx="2">
                  <c:v>-0.1275</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noFill/>
                    <a:round/>
                  </a:ln>
                  <a:effectLst/>
                </c14:spPr>
              </c14:invertSolidFillFmt>
            </c:ex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General"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5CCB44CD-CEA1-4973-9CFA-2845FEFB15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3C7AFCAB-2563-4846-A576-FF8148021D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FF5-4D9B-9947-2A90D7752FBB}"/>
                </c:ext>
              </c:extLst>
            </c:dLbl>
            <c:dLbl>
              <c:idx val="2"/>
              <c:tx>
                <c:rich>
                  <a:bodyPr/>
                  <a:lstStyle/>
                  <a:p>
                    <a:fld id="{3C6BC0A3-A1BA-4364-A1A3-9FD351F4C7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FF5-4D9B-9947-2A90D7752FBB}"/>
                </c:ext>
              </c:extLst>
            </c:dLbl>
            <c:dLbl>
              <c:idx val="3"/>
              <c:tx>
                <c:rich>
                  <a:bodyPr/>
                  <a:lstStyle/>
                  <a:p>
                    <a:fld id="{071E1EDE-26FE-4ADA-9F4C-682EC337BD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DB1EF98F-AFE3-4646-8FE4-CBB19C5A2E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F8FD74DF-3C9D-4386-9329-FCCEEF9C82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AB5E86C4-F0AB-496E-B5AA-847A02D9C5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423CF2A3-3A9E-4C27-AEFA-D745C5F78A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0.9373</c:v>
                </c:pt>
              </c:numCache>
            </c:numRef>
          </c:xVal>
          <c:yVal>
            <c:numRef>
              <c:f>Sheet1!$B$2:$B$2</c:f>
              <c:numCache>
                <c:formatCode>General</c:formatCode>
                <c:ptCount val="1"/>
                <c:pt idx="0">
                  <c:v>0.46689999999999998</c:v>
                </c:pt>
              </c:numCache>
            </c:numRef>
          </c:yVal>
          <c:bubbleSize>
            <c:numRef>
              <c:f>Sheet1!$C$2:$C$2</c:f>
              <c:numCache>
                <c:formatCode>General</c:formatCode>
                <c:ptCount val="1"/>
                <c:pt idx="0">
                  <c:v>56163.06599999997</c:v>
                </c:pt>
              </c:numCache>
            </c:numRef>
          </c:bubbleSize>
          <c:bubble3D val="0"/>
          <c:extLst>
            <c:ext xmlns:c15="http://schemas.microsoft.com/office/drawing/2012/chart" uri="{02D57815-91ED-43cb-92C2-25804820EDAC}">
              <c15:datalabelsRange>
                <c15:f>Sheet1!$E$2:$E$29</c15:f>
                <c15:dlblRangeCache>
                  <c:ptCount val="28"/>
                  <c:pt idx="0">
                    <c:v>NICOLAS</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3.12476"/>
          <c:min val="8.7498400000000007"/>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6689999999999998"/>
        <c:crossBetween val="midCat"/>
      </c:valAx>
      <c:valAx>
        <c:axId val="1011451359"/>
        <c:scaling>
          <c:orientation val="minMax"/>
          <c:max val="0.92027999999999988"/>
          <c:min val="0.1335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0.937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1</c:v>
                </c:pt>
                <c:pt idx="1">
                  <c:v>14</c:v>
                </c:pt>
                <c:pt idx="2">
                  <c:v>0</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solidFill>
                      <a:schemeClr val="lt1">
                        <a:alpha val="50000"/>
                      </a:schemeClr>
                    </a:solidFill>
                    <a:round/>
                  </a:ln>
                  <a:effectLst/>
                </c14:spPr>
              </c14:invertSolidFillFmt>
            </c:ex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General"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3.229669383470609E-2</c:v>
                </c:pt>
                <c:pt idx="1">
                  <c:v>4.1806078233435212E-3</c:v>
                </c:pt>
                <c:pt idx="2">
                  <c:v>-3.9242173201174887E-3</c:v>
                </c:pt>
                <c:pt idx="3">
                  <c:v>4.9798371261607313E-2</c:v>
                </c:pt>
                <c:pt idx="4">
                  <c:v>-3.8755819999412883E-2</c:v>
                </c:pt>
                <c:pt idx="5">
                  <c:v>-3.2313265201369873E-2</c:v>
                </c:pt>
                <c:pt idx="6">
                  <c:v>0</c:v>
                </c:pt>
                <c:pt idx="7">
                  <c:v>-2.8493886499436842E-2</c:v>
                </c:pt>
                <c:pt idx="8">
                  <c:v>5.0779747580842471E-3</c:v>
                </c:pt>
                <c:pt idx="9">
                  <c:v>-1.0567227699276267E-2</c:v>
                </c:pt>
                <c:pt idx="10">
                  <c:v>-1.1945635399278629E-2</c:v>
                </c:pt>
                <c:pt idx="11">
                  <c:v>-1.3135710720165802E-2</c:v>
                </c:pt>
                <c:pt idx="12">
                  <c:v>-1.1234348688471125E-2</c:v>
                </c:pt>
                <c:pt idx="13">
                  <c:v>-1.3582378279744539E-2</c:v>
                </c:pt>
                <c:pt idx="14">
                  <c:v>1.0032239377697292E-2</c:v>
                </c:pt>
                <c:pt idx="15">
                  <c:v>-9.7548380281940756E-3</c:v>
                </c:pt>
                <c:pt idx="16">
                  <c:v>-2.5679742732308809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1.17E-2</c:v>
                </c:pt>
                <c:pt idx="1">
                  <c:v>3.5799999999999998E-2</c:v>
                </c:pt>
                <c:pt idx="2">
                  <c:v>3.8899999999999997E-2</c:v>
                </c:pt>
                <c:pt idx="3">
                  <c:v>7.6899999999999996E-2</c:v>
                </c:pt>
                <c:pt idx="4">
                  <c:v>6.08E-2</c:v>
                </c:pt>
                <c:pt idx="5">
                  <c:v>3.5299999999999998E-2</c:v>
                </c:pt>
                <c:pt idx="6">
                  <c:v>0.01</c:v>
                </c:pt>
                <c:pt idx="7">
                  <c:v>3.8300000000000001E-2</c:v>
                </c:pt>
                <c:pt idx="8">
                  <c:v>-0.1318</c:v>
                </c:pt>
                <c:pt idx="9">
                  <c:v>3.1300000000000001E-2</c:v>
                </c:pt>
                <c:pt idx="10">
                  <c:v>7.1000000000000004E-3</c:v>
                </c:pt>
                <c:pt idx="11">
                  <c:v>1.35E-2</c:v>
                </c:pt>
                <c:pt idx="12">
                  <c:v>4.6699999999999998E-2</c:v>
                </c:pt>
                <c:pt idx="13">
                  <c:v>3.7400000000000003E-2</c:v>
                </c:pt>
                <c:pt idx="14">
                  <c:v>5.1999999999999998E-3</c:v>
                </c:pt>
                <c:pt idx="15">
                  <c:v>-7.3000000000000001E-3</c:v>
                </c:pt>
                <c:pt idx="16">
                  <c:v>3.5200000000000002E-2</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noFill/>
                    <a:round/>
                  </a:ln>
                  <a:effectLst/>
                </c14:spPr>
              </c14:invertSolidFillFmt>
            </c:ex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General"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0</c:v>
                </c:pt>
                <c:pt idx="1">
                  <c:v>0</c:v>
                </c:pt>
                <c:pt idx="2">
                  <c:v>0</c:v>
                </c:pt>
                <c:pt idx="3">
                  <c:v>0</c:v>
                </c:pt>
                <c:pt idx="4">
                  <c:v>0</c:v>
                </c:pt>
                <c:pt idx="5">
                  <c:v>0</c:v>
                </c:pt>
                <c:pt idx="6">
                  <c:v>0</c:v>
                </c:pt>
                <c:pt idx="7">
                  <c:v>0</c:v>
                </c:pt>
                <c:pt idx="8">
                  <c:v>0</c:v>
                </c:pt>
                <c:pt idx="9">
                  <c:v>0</c:v>
                </c:pt>
                <c:pt idx="10">
                  <c:v>4</c:v>
                </c:pt>
                <c:pt idx="11">
                  <c:v>1</c:v>
                </c:pt>
                <c:pt idx="12">
                  <c:v>0</c:v>
                </c:pt>
                <c:pt idx="13">
                  <c:v>0</c:v>
                </c:pt>
                <c:pt idx="14">
                  <c:v>0</c:v>
                </c:pt>
                <c:pt idx="15">
                  <c:v>0</c:v>
                </c:pt>
                <c:pt idx="16">
                  <c:v>0</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solidFill>
                      <a:schemeClr val="lt1">
                        <a:alpha val="50000"/>
                      </a:schemeClr>
                    </a:solidFill>
                    <a:round/>
                  </a:ln>
                  <a:effectLst/>
                </c14:spPr>
              </c14:invertSolidFillFmt>
            </c:ex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General"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2.9565509265256588E-2</c:v>
                </c:pt>
                <c:pt idx="1">
                  <c:v>-5.8428857774154574E-3</c:v>
                </c:pt>
                <c:pt idx="2">
                  <c:v>-4.1614986521010394E-3</c:v>
                </c:pt>
                <c:pt idx="3">
                  <c:v>6.908330780719682E-2</c:v>
                </c:pt>
                <c:pt idx="4">
                  <c:v>-6.8672373538606363E-2</c:v>
                </c:pt>
                <c:pt idx="5">
                  <c:v>-1.7991839086226147E-2</c:v>
                </c:pt>
                <c:pt idx="6">
                  <c:v>-0.98999999999999988</c:v>
                </c:pt>
                <c:pt idx="7">
                  <c:v>-2.8060193288857935E-3</c:v>
                </c:pt>
                <c:pt idx="8">
                  <c:v>1.1108215789135345E-2</c:v>
                </c:pt>
                <c:pt idx="9">
                  <c:v>-1.1360638397639872E-2</c:v>
                </c:pt>
                <c:pt idx="10">
                  <c:v>-1.4052776930278376E-2</c:v>
                </c:pt>
                <c:pt idx="11">
                  <c:v>-1.7788762676959696E-2</c:v>
                </c:pt>
                <c:pt idx="12">
                  <c:v>-1.6201739111378261E-2</c:v>
                </c:pt>
                <c:pt idx="13">
                  <c:v>1.4515664183079292E-2</c:v>
                </c:pt>
                <c:pt idx="14">
                  <c:v>8.4083782287772066E-3</c:v>
                </c:pt>
                <c:pt idx="15">
                  <c:v>-5.6866301043346388E-3</c:v>
                </c:pt>
                <c:pt idx="16">
                  <c:v>-2.1938030976601307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2.9399999999999999E-2</c:v>
                </c:pt>
                <c:pt idx="1">
                  <c:v>3.1699999999999999E-2</c:v>
                </c:pt>
                <c:pt idx="2">
                  <c:v>3.8199999999999998E-2</c:v>
                </c:pt>
                <c:pt idx="3">
                  <c:v>0.1041</c:v>
                </c:pt>
                <c:pt idx="4">
                  <c:v>3.8899999999999997E-2</c:v>
                </c:pt>
                <c:pt idx="5">
                  <c:v>3.2599999999999997E-2</c:v>
                </c:pt>
                <c:pt idx="6">
                  <c:v>0.01</c:v>
                </c:pt>
                <c:pt idx="7">
                  <c:v>4.02E-2</c:v>
                </c:pt>
                <c:pt idx="8">
                  <c:v>-0.1211</c:v>
                </c:pt>
                <c:pt idx="9">
                  <c:v>4.0899999999999999E-2</c:v>
                </c:pt>
                <c:pt idx="10">
                  <c:v>8.2000000000000007E-3</c:v>
                </c:pt>
                <c:pt idx="11">
                  <c:v>1.78E-2</c:v>
                </c:pt>
                <c:pt idx="12">
                  <c:v>5.8599999999999999E-2</c:v>
                </c:pt>
                <c:pt idx="13">
                  <c:v>4.5499999999999999E-2</c:v>
                </c:pt>
                <c:pt idx="14">
                  <c:v>5.4000000000000003E-3</c:v>
                </c:pt>
                <c:pt idx="15">
                  <c:v>-3.0999999999999999E-3</c:v>
                </c:pt>
                <c:pt idx="16">
                  <c:v>3.09E-2</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noFill/>
                    <a:round/>
                  </a:ln>
                  <a:effectLst/>
                </c14:spPr>
              </c14:invertSolidFillFmt>
            </c:ex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General"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0</c:v>
                </c:pt>
                <c:pt idx="1">
                  <c:v>0</c:v>
                </c:pt>
                <c:pt idx="2">
                  <c:v>0</c:v>
                </c:pt>
                <c:pt idx="3">
                  <c:v>0</c:v>
                </c:pt>
                <c:pt idx="4">
                  <c:v>0</c:v>
                </c:pt>
                <c:pt idx="5">
                  <c:v>0</c:v>
                </c:pt>
                <c:pt idx="6">
                  <c:v>0</c:v>
                </c:pt>
                <c:pt idx="7">
                  <c:v>0</c:v>
                </c:pt>
                <c:pt idx="8">
                  <c:v>0</c:v>
                </c:pt>
                <c:pt idx="9">
                  <c:v>0</c:v>
                </c:pt>
                <c:pt idx="10">
                  <c:v>2</c:v>
                </c:pt>
                <c:pt idx="11">
                  <c:v>1</c:v>
                </c:pt>
                <c:pt idx="12">
                  <c:v>0</c:v>
                </c:pt>
                <c:pt idx="13">
                  <c:v>0</c:v>
                </c:pt>
                <c:pt idx="14">
                  <c:v>0</c:v>
                </c:pt>
                <c:pt idx="15">
                  <c:v>0</c:v>
                </c:pt>
                <c:pt idx="16">
                  <c:v>0</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solidFill>
                      <a:schemeClr val="lt1">
                        <a:alpha val="50000"/>
                      </a:schemeClr>
                    </a:solidFill>
                    <a:round/>
                  </a:ln>
                  <a:effectLst/>
                </c14:spPr>
              </c14:invertSolidFillFmt>
            </c:ex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General"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4.2849589992617849E-2</c:v>
                </c:pt>
                <c:pt idx="1">
                  <c:v>7.5525118160928786E-3</c:v>
                </c:pt>
                <c:pt idx="2">
                  <c:v>-1.3971020958530436E-2</c:v>
                </c:pt>
                <c:pt idx="3">
                  <c:v>6.0611933737199059E-2</c:v>
                </c:pt>
                <c:pt idx="4">
                  <c:v>-3.1254193370245043E-2</c:v>
                </c:pt>
                <c:pt idx="5">
                  <c:v>-1.9368169012759614E-2</c:v>
                </c:pt>
                <c:pt idx="6">
                  <c:v>0</c:v>
                </c:pt>
                <c:pt idx="7">
                  <c:v>4.7917332552089437E-4</c:v>
                </c:pt>
                <c:pt idx="8">
                  <c:v>1.4519272749888901E-2</c:v>
                </c:pt>
                <c:pt idx="9">
                  <c:v>-1.9284204055541088E-2</c:v>
                </c:pt>
                <c:pt idx="10">
                  <c:v>-8.9309454173848359E-3</c:v>
                </c:pt>
                <c:pt idx="11">
                  <c:v>-1.0382644648427164E-2</c:v>
                </c:pt>
                <c:pt idx="12">
                  <c:v>-1.303655594035006E-2</c:v>
                </c:pt>
                <c:pt idx="13">
                  <c:v>3.2967851079564431E-2</c:v>
                </c:pt>
                <c:pt idx="14">
                  <c:v>5.6535779724894535E-3</c:v>
                </c:pt>
                <c:pt idx="15">
                  <c:v>2.4468740683205783E-3</c:v>
                </c:pt>
                <c:pt idx="16">
                  <c:v>-2.0384112298314876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4.1500000000000002E-2</c:v>
                </c:pt>
                <c:pt idx="1">
                  <c:v>4.0099999999999997E-2</c:v>
                </c:pt>
                <c:pt idx="2">
                  <c:v>3.6200000000000003E-2</c:v>
                </c:pt>
                <c:pt idx="3">
                  <c:v>8.09E-2</c:v>
                </c:pt>
                <c:pt idx="4">
                  <c:v>7.0099999999999996E-2</c:v>
                </c:pt>
                <c:pt idx="5">
                  <c:v>2.3199999999999998E-2</c:v>
                </c:pt>
                <c:pt idx="6">
                  <c:v>0.01</c:v>
                </c:pt>
                <c:pt idx="7">
                  <c:v>4.8800000000000003E-2</c:v>
                </c:pt>
                <c:pt idx="8">
                  <c:v>-0.127</c:v>
                </c:pt>
                <c:pt idx="9">
                  <c:v>3.0300000000000001E-2</c:v>
                </c:pt>
                <c:pt idx="10">
                  <c:v>1.17E-2</c:v>
                </c:pt>
                <c:pt idx="11">
                  <c:v>1.43E-2</c:v>
                </c:pt>
                <c:pt idx="12">
                  <c:v>3.73E-2</c:v>
                </c:pt>
                <c:pt idx="13">
                  <c:v>2.4799999999999999E-2</c:v>
                </c:pt>
                <c:pt idx="14">
                  <c:v>6.1000000000000004E-3</c:v>
                </c:pt>
                <c:pt idx="15">
                  <c:v>3.5000000000000001E-3</c:v>
                </c:pt>
                <c:pt idx="16">
                  <c:v>2.5499999999999998E-2</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noFill/>
                    <a:round/>
                  </a:ln>
                  <a:effectLst/>
                </c14:spPr>
              </c14:invertSolidFillFmt>
            </c:ex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General"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0</c:v>
                </c:pt>
                <c:pt idx="1">
                  <c:v>0</c:v>
                </c:pt>
                <c:pt idx="2">
                  <c:v>0</c:v>
                </c:pt>
                <c:pt idx="3">
                  <c:v>0</c:v>
                </c:pt>
                <c:pt idx="4">
                  <c:v>0</c:v>
                </c:pt>
                <c:pt idx="5">
                  <c:v>0</c:v>
                </c:pt>
                <c:pt idx="6">
                  <c:v>0</c:v>
                </c:pt>
                <c:pt idx="7">
                  <c:v>0</c:v>
                </c:pt>
                <c:pt idx="8">
                  <c:v>0</c:v>
                </c:pt>
                <c:pt idx="9">
                  <c:v>0</c:v>
                </c:pt>
                <c:pt idx="10">
                  <c:v>5</c:v>
                </c:pt>
                <c:pt idx="11">
                  <c:v>1</c:v>
                </c:pt>
                <c:pt idx="12">
                  <c:v>0</c:v>
                </c:pt>
                <c:pt idx="13">
                  <c:v>0</c:v>
                </c:pt>
                <c:pt idx="14">
                  <c:v>0</c:v>
                </c:pt>
                <c:pt idx="15">
                  <c:v>0</c:v>
                </c:pt>
                <c:pt idx="16">
                  <c:v>0</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solidFill>
                      <a:schemeClr val="lt1">
                        <a:alpha val="50000"/>
                      </a:schemeClr>
                    </a:solidFill>
                    <a:round/>
                  </a:ln>
                  <a:effectLst/>
                </c14:spPr>
              </c14:invertSolidFillFmt>
            </c:ex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General"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786651A6-101E-489B-BC49-AFE15FFF33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C3B3F460-61B0-4C76-B2FC-1F5C2CFBC2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FF5-4D9B-9947-2A90D7752FBB}"/>
                </c:ext>
              </c:extLst>
            </c:dLbl>
            <c:dLbl>
              <c:idx val="2"/>
              <c:tx>
                <c:rich>
                  <a:bodyPr/>
                  <a:lstStyle/>
                  <a:p>
                    <a:fld id="{AC21C900-750C-4151-9C15-9EDEC19771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FF5-4D9B-9947-2A90D7752FBB}"/>
                </c:ext>
              </c:extLst>
            </c:dLbl>
            <c:dLbl>
              <c:idx val="3"/>
              <c:tx>
                <c:rich>
                  <a:bodyPr/>
                  <a:lstStyle/>
                  <a:p>
                    <a:fld id="{62A0642F-ACE8-4135-A13B-EE179F7D6E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92F55E37-BA65-404D-928D-367AD75584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4F65A716-81F3-486A-B213-C54F632648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D44D73A3-323C-43FD-AED7-63F34D4BDB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C0FC3470-2A62-4E59-BAE0-33D3845E87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6.501100000000001</c:v>
                </c:pt>
              </c:numCache>
            </c:numRef>
          </c:xVal>
          <c:yVal>
            <c:numRef>
              <c:f>Sheet1!$B$2:$B$2</c:f>
              <c:numCache>
                <c:formatCode>General</c:formatCode>
                <c:ptCount val="1"/>
                <c:pt idx="0">
                  <c:v>0.435</c:v>
                </c:pt>
              </c:numCache>
            </c:numRef>
          </c:yVal>
          <c:bubbleSize>
            <c:numRef>
              <c:f>Sheet1!$C$2:$C$2</c:f>
              <c:numCache>
                <c:formatCode>General</c:formatCode>
                <c:ptCount val="1"/>
                <c:pt idx="0">
                  <c:v>390317.66850000003</c:v>
                </c:pt>
              </c:numCache>
            </c:numRef>
          </c:bubbleSize>
          <c:bubble3D val="0"/>
          <c:extLst>
            <c:ext xmlns:c15="http://schemas.microsoft.com/office/drawing/2012/chart" uri="{02D57815-91ED-43cb-92C2-25804820EDAC}">
              <c15:datalabelsRange>
                <c15:f>Sheet1!$E$2:$E$29</c15:f>
                <c15:dlblRangeCache>
                  <c:ptCount val="28"/>
                  <c:pt idx="0">
                    <c:v>NICOLAS</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9.80132"/>
          <c:min val="13.20088000000000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5"/>
        <c:crossBetween val="midCat"/>
      </c:valAx>
      <c:valAx>
        <c:axId val="1011451359"/>
        <c:scaling>
          <c:orientation val="minMax"/>
          <c:max val="0.88200000000000001"/>
          <c:min val="0.10800000000000001"/>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6.50110000000000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3.9592165214105482E-2</c:v>
                </c:pt>
                <c:pt idx="1">
                  <c:v>9.8423374541651565E-3</c:v>
                </c:pt>
                <c:pt idx="2">
                  <c:v>-9.1697721277195429E-3</c:v>
                </c:pt>
                <c:pt idx="3">
                  <c:v>4.7569194931279153E-2</c:v>
                </c:pt>
                <c:pt idx="4">
                  <c:v>-3.4592923103177714E-2</c:v>
                </c:pt>
                <c:pt idx="5">
                  <c:v>-3.7688808437875372E-2</c:v>
                </c:pt>
                <c:pt idx="6">
                  <c:v>-2.3096791160220925E-2</c:v>
                </c:pt>
                <c:pt idx="7">
                  <c:v>-1.1897160338637927E-2</c:v>
                </c:pt>
                <c:pt idx="8">
                  <c:v>1.2407428613510268E-2</c:v>
                </c:pt>
                <c:pt idx="9">
                  <c:v>-9.8348121953639178E-3</c:v>
                </c:pt>
                <c:pt idx="10">
                  <c:v>-1.0115706540569498E-2</c:v>
                </c:pt>
                <c:pt idx="11">
                  <c:v>-1.2465888685978593E-2</c:v>
                </c:pt>
                <c:pt idx="12">
                  <c:v>-1.4584893462844141E-2</c:v>
                </c:pt>
                <c:pt idx="13">
                  <c:v>7.6447381384523319E-3</c:v>
                </c:pt>
                <c:pt idx="14">
                  <c:v>1.416868595865238E-2</c:v>
                </c:pt>
                <c:pt idx="15">
                  <c:v>1.4104302953443742E-3</c:v>
                </c:pt>
                <c:pt idx="16">
                  <c:v>-2.176147166713556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2.4500000000000001E-2</c:v>
                </c:pt>
                <c:pt idx="1">
                  <c:v>4.1599999999999998E-2</c:v>
                </c:pt>
                <c:pt idx="2">
                  <c:v>3.2199999999999999E-2</c:v>
                </c:pt>
                <c:pt idx="3">
                  <c:v>6.1899999999999997E-2</c:v>
                </c:pt>
                <c:pt idx="4">
                  <c:v>5.3400000000000003E-2</c:v>
                </c:pt>
                <c:pt idx="5">
                  <c:v>2.58E-2</c:v>
                </c:pt>
                <c:pt idx="6">
                  <c:v>5.6899999999999999E-2</c:v>
                </c:pt>
                <c:pt idx="7">
                  <c:v>1.5699999999999999E-2</c:v>
                </c:pt>
                <c:pt idx="8">
                  <c:v>-0.1323</c:v>
                </c:pt>
                <c:pt idx="9">
                  <c:v>1.7100000000000001E-2</c:v>
                </c:pt>
                <c:pt idx="10">
                  <c:v>3.2000000000000002E-3</c:v>
                </c:pt>
                <c:pt idx="11">
                  <c:v>7.9000000000000008E-3</c:v>
                </c:pt>
                <c:pt idx="12">
                  <c:v>1.3299999999999999E-2</c:v>
                </c:pt>
                <c:pt idx="13">
                  <c:v>1.18E-2</c:v>
                </c:pt>
                <c:pt idx="14">
                  <c:v>2.5999999999999999E-3</c:v>
                </c:pt>
                <c:pt idx="15">
                  <c:v>-2.2000000000000001E-3</c:v>
                </c:pt>
                <c:pt idx="16">
                  <c:v>1.44E-2</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noFill/>
                    <a:round/>
                  </a:ln>
                  <a:effectLst/>
                </c14:spPr>
              </c14:invertSolidFillFmt>
            </c:ex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General"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0</c:v>
                </c:pt>
                <c:pt idx="1">
                  <c:v>1</c:v>
                </c:pt>
                <c:pt idx="2">
                  <c:v>1</c:v>
                </c:pt>
                <c:pt idx="3">
                  <c:v>0</c:v>
                </c:pt>
                <c:pt idx="4">
                  <c:v>0</c:v>
                </c:pt>
                <c:pt idx="5">
                  <c:v>0</c:v>
                </c:pt>
                <c:pt idx="6">
                  <c:v>0</c:v>
                </c:pt>
                <c:pt idx="7">
                  <c:v>0</c:v>
                </c:pt>
                <c:pt idx="8">
                  <c:v>0</c:v>
                </c:pt>
                <c:pt idx="9">
                  <c:v>3</c:v>
                </c:pt>
                <c:pt idx="10">
                  <c:v>29</c:v>
                </c:pt>
                <c:pt idx="11">
                  <c:v>6</c:v>
                </c:pt>
                <c:pt idx="12">
                  <c:v>2</c:v>
                </c:pt>
                <c:pt idx="13">
                  <c:v>0</c:v>
                </c:pt>
                <c:pt idx="14">
                  <c:v>2</c:v>
                </c:pt>
                <c:pt idx="15">
                  <c:v>2</c:v>
                </c:pt>
                <c:pt idx="16">
                  <c:v>0</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solidFill>
                      <a:schemeClr val="lt1">
                        <a:alpha val="50000"/>
                      </a:schemeClr>
                    </a:solidFill>
                    <a:round/>
                  </a:ln>
                  <a:effectLst/>
                </c14:spPr>
              </c14:invertSolidFillFmt>
            </c:ex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General"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2.5987365485983793E-2</c:v>
                </c:pt>
                <c:pt idx="1">
                  <c:v>4.3969578982626864E-3</c:v>
                </c:pt>
                <c:pt idx="2">
                  <c:v>-8.9561014758948281E-3</c:v>
                </c:pt>
                <c:pt idx="3">
                  <c:v>4.887163589130232E-2</c:v>
                </c:pt>
                <c:pt idx="4">
                  <c:v>-3.456095220312267E-2</c:v>
                </c:pt>
                <c:pt idx="5">
                  <c:v>-3.3697879958767774E-2</c:v>
                </c:pt>
                <c:pt idx="6">
                  <c:v>8.0171939495798095E-2</c:v>
                </c:pt>
                <c:pt idx="7">
                  <c:v>-4.1516244292156695E-3</c:v>
                </c:pt>
                <c:pt idx="8">
                  <c:v>1.4983343191597887E-2</c:v>
                </c:pt>
                <c:pt idx="9">
                  <c:v>-1.3188017547323024E-2</c:v>
                </c:pt>
                <c:pt idx="10">
                  <c:v>-9.7070214754200537E-3</c:v>
                </c:pt>
                <c:pt idx="11">
                  <c:v>-1.6641962770962873E-2</c:v>
                </c:pt>
                <c:pt idx="12">
                  <c:v>-1.8223712622104479E-2</c:v>
                </c:pt>
                <c:pt idx="13">
                  <c:v>-2.1184020391280464E-3</c:v>
                </c:pt>
                <c:pt idx="14">
                  <c:v>1.9021636785276862E-2</c:v>
                </c:pt>
                <c:pt idx="15">
                  <c:v>-6.2027738705954854E-3</c:v>
                </c:pt>
                <c:pt idx="16">
                  <c:v>-3.49195623068305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2.0299999999999999E-2</c:v>
                </c:pt>
                <c:pt idx="1">
                  <c:v>3.5200000000000002E-2</c:v>
                </c:pt>
                <c:pt idx="2">
                  <c:v>2.53E-2</c:v>
                </c:pt>
                <c:pt idx="3">
                  <c:v>6.2899999999999998E-2</c:v>
                </c:pt>
                <c:pt idx="4">
                  <c:v>4.9000000000000002E-2</c:v>
                </c:pt>
                <c:pt idx="5">
                  <c:v>2.9499999999999998E-2</c:v>
                </c:pt>
                <c:pt idx="6">
                  <c:v>2.0199999999999999E-2</c:v>
                </c:pt>
                <c:pt idx="7">
                  <c:v>2.2700000000000001E-2</c:v>
                </c:pt>
                <c:pt idx="8">
                  <c:v>-0.12959999999999999</c:v>
                </c:pt>
                <c:pt idx="9">
                  <c:v>1.7000000000000001E-2</c:v>
                </c:pt>
                <c:pt idx="10">
                  <c:v>-2.8999999999999998E-3</c:v>
                </c:pt>
                <c:pt idx="11">
                  <c:v>4.1999999999999997E-3</c:v>
                </c:pt>
                <c:pt idx="12">
                  <c:v>2.6599999999999999E-2</c:v>
                </c:pt>
                <c:pt idx="13">
                  <c:v>8.8000000000000005E-3</c:v>
                </c:pt>
                <c:pt idx="14">
                  <c:v>-3.0999999999999999E-3</c:v>
                </c:pt>
                <c:pt idx="15">
                  <c:v>-9.5999999999999992E-3</c:v>
                </c:pt>
                <c:pt idx="16">
                  <c:v>1.2200000000000001E-2</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noFill/>
                    <a:round/>
                  </a:ln>
                  <a:effectLst/>
                </c14:spPr>
              </c14:invertSolidFillFmt>
            </c:ex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General"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0</c:v>
                </c:pt>
                <c:pt idx="1">
                  <c:v>0</c:v>
                </c:pt>
                <c:pt idx="2">
                  <c:v>0</c:v>
                </c:pt>
                <c:pt idx="3">
                  <c:v>0</c:v>
                </c:pt>
                <c:pt idx="4">
                  <c:v>0</c:v>
                </c:pt>
                <c:pt idx="5">
                  <c:v>0</c:v>
                </c:pt>
                <c:pt idx="6">
                  <c:v>0</c:v>
                </c:pt>
                <c:pt idx="7">
                  <c:v>0</c:v>
                </c:pt>
                <c:pt idx="8">
                  <c:v>0</c:v>
                </c:pt>
                <c:pt idx="9">
                  <c:v>1</c:v>
                </c:pt>
                <c:pt idx="10">
                  <c:v>8</c:v>
                </c:pt>
                <c:pt idx="11">
                  <c:v>2</c:v>
                </c:pt>
                <c:pt idx="12">
                  <c:v>0</c:v>
                </c:pt>
                <c:pt idx="13">
                  <c:v>0</c:v>
                </c:pt>
                <c:pt idx="14">
                  <c:v>0</c:v>
                </c:pt>
                <c:pt idx="15">
                  <c:v>1</c:v>
                </c:pt>
                <c:pt idx="16">
                  <c:v>0</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solidFill>
                      <a:schemeClr val="lt1">
                        <a:alpha val="50000"/>
                      </a:schemeClr>
                    </a:solidFill>
                    <a:round/>
                  </a:ln>
                  <a:effectLst/>
                </c14:spPr>
              </c14:invertSolidFillFmt>
            </c:ex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General"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3.1690242994197412E-2</c:v>
                </c:pt>
                <c:pt idx="1">
                  <c:v>6.8004685413978472E-3</c:v>
                </c:pt>
                <c:pt idx="2">
                  <c:v>-8.0134531579927615E-3</c:v>
                </c:pt>
                <c:pt idx="3">
                  <c:v>4.9851741127730609E-2</c:v>
                </c:pt>
                <c:pt idx="4">
                  <c:v>-3.6358057301611568E-2</c:v>
                </c:pt>
                <c:pt idx="5">
                  <c:v>-2.6408187310391244E-2</c:v>
                </c:pt>
                <c:pt idx="6">
                  <c:v>-4.9349096538687194E-2</c:v>
                </c:pt>
                <c:pt idx="7">
                  <c:v>-6.6417157757443709E-3</c:v>
                </c:pt>
                <c:pt idx="8">
                  <c:v>1.3894162472488314E-2</c:v>
                </c:pt>
                <c:pt idx="9">
                  <c:v>-9.8973260925698456E-3</c:v>
                </c:pt>
                <c:pt idx="10">
                  <c:v>-9.9803097916035984E-3</c:v>
                </c:pt>
                <c:pt idx="11">
                  <c:v>-1.2209773409427258E-2</c:v>
                </c:pt>
                <c:pt idx="12">
                  <c:v>-1.2443445061467794E-2</c:v>
                </c:pt>
                <c:pt idx="13">
                  <c:v>4.9716160083269016E-3</c:v>
                </c:pt>
                <c:pt idx="14">
                  <c:v>1.452301334636027E-2</c:v>
                </c:pt>
                <c:pt idx="15">
                  <c:v>-7.5448541338840841E-4</c:v>
                </c:pt>
                <c:pt idx="16">
                  <c:v>-2.3922275107307597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2.7900000000000001E-2</c:v>
                </c:pt>
                <c:pt idx="1">
                  <c:v>3.9899999999999998E-2</c:v>
                </c:pt>
                <c:pt idx="2">
                  <c:v>3.0599999999999999E-2</c:v>
                </c:pt>
                <c:pt idx="3">
                  <c:v>6.9000000000000006E-2</c:v>
                </c:pt>
                <c:pt idx="4">
                  <c:v>5.21E-2</c:v>
                </c:pt>
                <c:pt idx="5">
                  <c:v>2.7099999999999999E-2</c:v>
                </c:pt>
                <c:pt idx="6">
                  <c:v>5.8400000000000001E-2</c:v>
                </c:pt>
                <c:pt idx="7">
                  <c:v>3.2899999999999999E-2</c:v>
                </c:pt>
                <c:pt idx="8">
                  <c:v>-0.12709999999999999</c:v>
                </c:pt>
                <c:pt idx="9">
                  <c:v>2.5700000000000001E-2</c:v>
                </c:pt>
                <c:pt idx="10">
                  <c:v>5.1000000000000004E-3</c:v>
                </c:pt>
                <c:pt idx="11">
                  <c:v>1.3100000000000001E-2</c:v>
                </c:pt>
                <c:pt idx="12">
                  <c:v>3.5000000000000003E-2</c:v>
                </c:pt>
                <c:pt idx="13">
                  <c:v>1.83E-2</c:v>
                </c:pt>
                <c:pt idx="14">
                  <c:v>4.4000000000000003E-3</c:v>
                </c:pt>
                <c:pt idx="15">
                  <c:v>-2.7000000000000001E-3</c:v>
                </c:pt>
                <c:pt idx="16">
                  <c:v>2.3199999999999998E-2</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noFill/>
                    <a:round/>
                  </a:ln>
                  <a:effectLst/>
                </c14:spPr>
              </c14:invertSolidFillFmt>
            </c:ex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General"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0</c:v>
                </c:pt>
                <c:pt idx="1">
                  <c:v>2</c:v>
                </c:pt>
                <c:pt idx="2">
                  <c:v>1</c:v>
                </c:pt>
                <c:pt idx="3">
                  <c:v>0</c:v>
                </c:pt>
                <c:pt idx="4">
                  <c:v>1</c:v>
                </c:pt>
                <c:pt idx="5">
                  <c:v>0</c:v>
                </c:pt>
                <c:pt idx="6">
                  <c:v>0</c:v>
                </c:pt>
                <c:pt idx="7">
                  <c:v>0</c:v>
                </c:pt>
                <c:pt idx="8">
                  <c:v>1</c:v>
                </c:pt>
                <c:pt idx="9">
                  <c:v>4</c:v>
                </c:pt>
                <c:pt idx="10">
                  <c:v>42</c:v>
                </c:pt>
                <c:pt idx="11">
                  <c:v>8</c:v>
                </c:pt>
                <c:pt idx="12">
                  <c:v>3</c:v>
                </c:pt>
                <c:pt idx="13">
                  <c:v>0</c:v>
                </c:pt>
                <c:pt idx="14">
                  <c:v>2</c:v>
                </c:pt>
                <c:pt idx="15">
                  <c:v>3</c:v>
                </c:pt>
                <c:pt idx="16">
                  <c:v>0</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solidFill>
                      <a:schemeClr val="lt1">
                        <a:alpha val="50000"/>
                      </a:schemeClr>
                    </a:solidFill>
                    <a:round/>
                  </a:ln>
                  <a:effectLst/>
                </c14:spPr>
              </c14:invertSolidFillFmt>
            </c:ex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General"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3.5724060537355488E-2</c:v>
                </c:pt>
                <c:pt idx="1">
                  <c:v>9.3449147745629027E-3</c:v>
                </c:pt>
                <c:pt idx="2">
                  <c:v>-7.2937189165162807E-3</c:v>
                </c:pt>
                <c:pt idx="3">
                  <c:v>4.7496825293427046E-2</c:v>
                </c:pt>
                <c:pt idx="4">
                  <c:v>-3.5944025714097466E-2</c:v>
                </c:pt>
                <c:pt idx="5">
                  <c:v>-2.9891745420324169E-2</c:v>
                </c:pt>
                <c:pt idx="6">
                  <c:v>-2.5789018810371198E-2</c:v>
                </c:pt>
                <c:pt idx="7">
                  <c:v>-1.2294289369033509E-2</c:v>
                </c:pt>
                <c:pt idx="8">
                  <c:v>1.2608858207606405E-2</c:v>
                </c:pt>
                <c:pt idx="9">
                  <c:v>-7.7428742881998081E-3</c:v>
                </c:pt>
                <c:pt idx="10">
                  <c:v>-9.2534041406095394E-3</c:v>
                </c:pt>
                <c:pt idx="11">
                  <c:v>-1.1150161287311531E-2</c:v>
                </c:pt>
                <c:pt idx="12">
                  <c:v>-1.5437840319770284E-2</c:v>
                </c:pt>
                <c:pt idx="13">
                  <c:v>6.6871126518082587E-4</c:v>
                </c:pt>
                <c:pt idx="14">
                  <c:v>1.7217419445685403E-2</c:v>
                </c:pt>
                <c:pt idx="15">
                  <c:v>1.2657056614013519E-3</c:v>
                </c:pt>
                <c:pt idx="16">
                  <c:v>-2.3629979520501429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006C6D"/>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FCFF4306-B889-498E-ACEA-45CE1DDE66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C7CAC96F-7A83-44B6-AE93-937CDCFDE5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20C61A1B-A03B-424E-AFB9-51206606E0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6A82D51E-8B97-4C6B-A5D3-05F5AF5738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20DE29F0-D4A1-4F14-ABBD-8A77513FE8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23B2A1D5-38B1-4CC3-997D-6AACE79E44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53C8C3B0-F7BD-4527-8E9F-9351FEED20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417C7A92-0584-4F15-AC50-BD244B2137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8.77</c:v>
                </c:pt>
                <c:pt idx="1">
                  <c:v>24.166399999999999</c:v>
                </c:pt>
                <c:pt idx="2">
                  <c:v>24.3825</c:v>
                </c:pt>
                <c:pt idx="3">
                  <c:v>24.756900000000002</c:v>
                </c:pt>
                <c:pt idx="4">
                  <c:v>22.4331</c:v>
                </c:pt>
              </c:numCache>
            </c:numRef>
          </c:xVal>
          <c:yVal>
            <c:numRef>
              <c:f>Sheet1!$B$2:$B$6</c:f>
              <c:numCache>
                <c:formatCode>General</c:formatCode>
                <c:ptCount val="5"/>
                <c:pt idx="0">
                  <c:v>0.54310000000000003</c:v>
                </c:pt>
                <c:pt idx="1">
                  <c:v>0.52839999999999998</c:v>
                </c:pt>
                <c:pt idx="2">
                  <c:v>0.52969999999999995</c:v>
                </c:pt>
                <c:pt idx="3">
                  <c:v>0.53159999999999996</c:v>
                </c:pt>
                <c:pt idx="4">
                  <c:v>0.52410000000000001</c:v>
                </c:pt>
              </c:numCache>
            </c:numRef>
          </c:yVal>
          <c:bubbleSize>
            <c:numRef>
              <c:f>Sheet1!$C$2:$C$6</c:f>
              <c:numCache>
                <c:formatCode>General</c:formatCode>
                <c:ptCount val="5"/>
                <c:pt idx="0">
                  <c:v>44277.063399999999</c:v>
                </c:pt>
                <c:pt idx="1">
                  <c:v>25616.334900000002</c:v>
                </c:pt>
                <c:pt idx="2">
                  <c:v>258039.53330000001</c:v>
                </c:pt>
                <c:pt idx="3">
                  <c:v>53920.483600000007</c:v>
                </c:pt>
                <c:pt idx="4">
                  <c:v>97987.694500000056</c:v>
                </c:pt>
              </c:numCache>
            </c:numRef>
          </c:bubbleSize>
          <c:bubble3D val="0"/>
          <c:extLst>
            <c:ext xmlns:c15="http://schemas.microsoft.com/office/drawing/2012/chart" uri="{02D57815-91ED-43cb-92C2-25804820EDAC}">
              <c15:datalabelsRange>
                <c15:f>Sheet1!$E$2:$E$29</c15:f>
                <c15:dlblRangeCache>
                  <c:ptCount val="28"/>
                  <c:pt idx="0">
                    <c:v>NICOLAS QCA</c:v>
                  </c:pt>
                  <c:pt idx="1">
                    <c:v>NICOLAS CCP</c:v>
                  </c:pt>
                  <c:pt idx="2">
                    <c:v>NICOLAS QCN</c:v>
                  </c:pt>
                  <c:pt idx="3">
                    <c:v>NICOLAS QCT</c:v>
                  </c:pt>
                  <c:pt idx="4">
                    <c:v>NICOLAS VCN</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4.524000000000001"/>
          <c:min val="17.946480000000001"/>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52993701438149199"/>
        <c:crossBetween val="midCat"/>
      </c:valAx>
      <c:valAx>
        <c:axId val="1011451359"/>
        <c:scaling>
          <c:orientation val="minMax"/>
          <c:max val="1.01172"/>
          <c:min val="0.17928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4.41980514692320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2.1100000000000001E-2</c:v>
                </c:pt>
                <c:pt idx="1">
                  <c:v>4.0800000000000003E-2</c:v>
                </c:pt>
                <c:pt idx="2">
                  <c:v>2.93E-2</c:v>
                </c:pt>
                <c:pt idx="3">
                  <c:v>6.25E-2</c:v>
                </c:pt>
                <c:pt idx="4">
                  <c:v>5.1900000000000002E-2</c:v>
                </c:pt>
                <c:pt idx="5">
                  <c:v>2.4400000000000002E-2</c:v>
                </c:pt>
                <c:pt idx="6">
                  <c:v>6.5100000000000005E-2</c:v>
                </c:pt>
                <c:pt idx="7">
                  <c:v>1.77E-2</c:v>
                </c:pt>
                <c:pt idx="8">
                  <c:v>-0.1313</c:v>
                </c:pt>
                <c:pt idx="9">
                  <c:v>1.6899999999999998E-2</c:v>
                </c:pt>
                <c:pt idx="10">
                  <c:v>3.8E-3</c:v>
                </c:pt>
                <c:pt idx="11">
                  <c:v>1.0999999999999999E-2</c:v>
                </c:pt>
                <c:pt idx="12">
                  <c:v>2.0299999999999999E-2</c:v>
                </c:pt>
                <c:pt idx="13">
                  <c:v>1.29E-2</c:v>
                </c:pt>
                <c:pt idx="14">
                  <c:v>4.7999999999999996E-3</c:v>
                </c:pt>
                <c:pt idx="15">
                  <c:v>-2.5999999999999999E-3</c:v>
                </c:pt>
                <c:pt idx="16">
                  <c:v>1.54E-2</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noFill/>
                    <a:round/>
                  </a:ln>
                  <a:effectLst/>
                </c14:spPr>
              </c14:invertSolidFillFmt>
            </c:ex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General"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0</c:v>
                </c:pt>
                <c:pt idx="1">
                  <c:v>1</c:v>
                </c:pt>
                <c:pt idx="2">
                  <c:v>1</c:v>
                </c:pt>
                <c:pt idx="3">
                  <c:v>0</c:v>
                </c:pt>
                <c:pt idx="4">
                  <c:v>0</c:v>
                </c:pt>
                <c:pt idx="5">
                  <c:v>0</c:v>
                </c:pt>
                <c:pt idx="6">
                  <c:v>0</c:v>
                </c:pt>
                <c:pt idx="7">
                  <c:v>0</c:v>
                </c:pt>
                <c:pt idx="8">
                  <c:v>0</c:v>
                </c:pt>
                <c:pt idx="9">
                  <c:v>2</c:v>
                </c:pt>
                <c:pt idx="10">
                  <c:v>19</c:v>
                </c:pt>
                <c:pt idx="11">
                  <c:v>3</c:v>
                </c:pt>
                <c:pt idx="12">
                  <c:v>1</c:v>
                </c:pt>
                <c:pt idx="13">
                  <c:v>0</c:v>
                </c:pt>
                <c:pt idx="14">
                  <c:v>1</c:v>
                </c:pt>
                <c:pt idx="15">
                  <c:v>1</c:v>
                </c:pt>
                <c:pt idx="16">
                  <c:v>0</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solidFill>
                      <a:schemeClr val="lt1">
                        <a:alpha val="50000"/>
                      </a:schemeClr>
                    </a:solidFill>
                    <a:round/>
                  </a:ln>
                  <a:effectLst/>
                </c14:spPr>
              </c14:invertSolidFillFmt>
            </c:ex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General"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6.2493635083208265E-2</c:v>
                </c:pt>
                <c:pt idx="1">
                  <c:v>1.0336291620399875E-2</c:v>
                </c:pt>
                <c:pt idx="2">
                  <c:v>-1.3229129971210958E-2</c:v>
                </c:pt>
                <c:pt idx="3">
                  <c:v>6.0587615776405618E-2</c:v>
                </c:pt>
                <c:pt idx="4">
                  <c:v>-2.1844998434509176E-2</c:v>
                </c:pt>
                <c:pt idx="5">
                  <c:v>-3.7917465882923204E-2</c:v>
                </c:pt>
                <c:pt idx="6">
                  <c:v>0</c:v>
                </c:pt>
                <c:pt idx="7">
                  <c:v>-2.6776903897525482E-2</c:v>
                </c:pt>
                <c:pt idx="8">
                  <c:v>8.9777602003224544E-3</c:v>
                </c:pt>
                <c:pt idx="9">
                  <c:v>-7.5481908610107243E-3</c:v>
                </c:pt>
                <c:pt idx="10">
                  <c:v>-1.3573127391295604E-2</c:v>
                </c:pt>
                <c:pt idx="11">
                  <c:v>-7.4858128332751638E-3</c:v>
                </c:pt>
                <c:pt idx="12">
                  <c:v>-8.3532371232743902E-3</c:v>
                </c:pt>
                <c:pt idx="13">
                  <c:v>2.8515035844809373E-2</c:v>
                </c:pt>
                <c:pt idx="14">
                  <c:v>2.003335088786003E-4</c:v>
                </c:pt>
                <c:pt idx="15">
                  <c:v>6.4481964812713507E-3</c:v>
                </c:pt>
                <c:pt idx="16">
                  <c:v>-2.1072595984676402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7.2599999999999998E-2</c:v>
                </c:pt>
                <c:pt idx="1">
                  <c:v>4.5999999999999999E-2</c:v>
                </c:pt>
                <c:pt idx="2">
                  <c:v>3.9300000000000002E-2</c:v>
                </c:pt>
                <c:pt idx="3">
                  <c:v>7.9299999999999995E-2</c:v>
                </c:pt>
                <c:pt idx="4">
                  <c:v>5.8900000000000001E-2</c:v>
                </c:pt>
                <c:pt idx="5">
                  <c:v>2.81E-2</c:v>
                </c:pt>
                <c:pt idx="6">
                  <c:v>0.01</c:v>
                </c:pt>
                <c:pt idx="7">
                  <c:v>4.9000000000000002E-2</c:v>
                </c:pt>
                <c:pt idx="8">
                  <c:v>-0.12620000000000001</c:v>
                </c:pt>
                <c:pt idx="9">
                  <c:v>3.6400000000000002E-2</c:v>
                </c:pt>
                <c:pt idx="10">
                  <c:v>8.8999999999999999E-3</c:v>
                </c:pt>
                <c:pt idx="11">
                  <c:v>1.4500000000000001E-2</c:v>
                </c:pt>
                <c:pt idx="12">
                  <c:v>3.0200000000000001E-2</c:v>
                </c:pt>
                <c:pt idx="13">
                  <c:v>3.2300000000000002E-2</c:v>
                </c:pt>
                <c:pt idx="14">
                  <c:v>4.4000000000000003E-3</c:v>
                </c:pt>
                <c:pt idx="15">
                  <c:v>6.1000000000000004E-3</c:v>
                </c:pt>
                <c:pt idx="16">
                  <c:v>2.8199999999999999E-2</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noFill/>
                    <a:round/>
                  </a:ln>
                  <a:effectLst/>
                </c14:spPr>
              </c14:invertSolidFillFmt>
            </c:ex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General"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0</c:v>
                </c:pt>
                <c:pt idx="1">
                  <c:v>0</c:v>
                </c:pt>
                <c:pt idx="2">
                  <c:v>0</c:v>
                </c:pt>
                <c:pt idx="3">
                  <c:v>0</c:v>
                </c:pt>
                <c:pt idx="4">
                  <c:v>0</c:v>
                </c:pt>
                <c:pt idx="5">
                  <c:v>0</c:v>
                </c:pt>
                <c:pt idx="6">
                  <c:v>0</c:v>
                </c:pt>
                <c:pt idx="7">
                  <c:v>0</c:v>
                </c:pt>
                <c:pt idx="8">
                  <c:v>0</c:v>
                </c:pt>
                <c:pt idx="9">
                  <c:v>0</c:v>
                </c:pt>
                <c:pt idx="10">
                  <c:v>3</c:v>
                </c:pt>
                <c:pt idx="11">
                  <c:v>1</c:v>
                </c:pt>
                <c:pt idx="12">
                  <c:v>0</c:v>
                </c:pt>
                <c:pt idx="13">
                  <c:v>0</c:v>
                </c:pt>
                <c:pt idx="14">
                  <c:v>0</c:v>
                </c:pt>
                <c:pt idx="15">
                  <c:v>0</c:v>
                </c:pt>
                <c:pt idx="16">
                  <c:v>0</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solidFill>
                      <a:schemeClr val="lt1">
                        <a:alpha val="50000"/>
                      </a:schemeClr>
                    </a:solidFill>
                    <a:round/>
                  </a:ln>
                  <a:effectLst/>
                </c14:spPr>
              </c14:invertSolidFillFmt>
            </c:ex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General"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1.9328146010274858E-2</c:v>
                </c:pt>
                <c:pt idx="1">
                  <c:v>-5.8789973819817348E-3</c:v>
                </c:pt>
                <c:pt idx="2">
                  <c:v>-3.7235878906461753E-3</c:v>
                </c:pt>
                <c:pt idx="3">
                  <c:v>7.8149935072849439E-2</c:v>
                </c:pt>
                <c:pt idx="4">
                  <c:v>-5.0165476460508104E-2</c:v>
                </c:pt>
                <c:pt idx="5">
                  <c:v>-3.1697515077893694E-2</c:v>
                </c:pt>
                <c:pt idx="6">
                  <c:v>0</c:v>
                </c:pt>
                <c:pt idx="7">
                  <c:v>-9.9197995369099956E-3</c:v>
                </c:pt>
                <c:pt idx="8">
                  <c:v>1.7074277105402741E-2</c:v>
                </c:pt>
                <c:pt idx="9">
                  <c:v>-1.0951309419676328E-2</c:v>
                </c:pt>
                <c:pt idx="10">
                  <c:v>-1.1317775146708927E-2</c:v>
                </c:pt>
                <c:pt idx="11">
                  <c:v>-9.9759108942603994E-3</c:v>
                </c:pt>
                <c:pt idx="12">
                  <c:v>-2.1617771284975655E-2</c:v>
                </c:pt>
                <c:pt idx="13">
                  <c:v>9.6162408256577209E-3</c:v>
                </c:pt>
                <c:pt idx="14">
                  <c:v>2.1461052304091635E-2</c:v>
                </c:pt>
                <c:pt idx="15">
                  <c:v>-1.6928748490569159E-3</c:v>
                </c:pt>
                <c:pt idx="16">
                  <c:v>-1.7413007068381454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1.9099999999999999E-2</c:v>
                </c:pt>
                <c:pt idx="1">
                  <c:v>3.5200000000000002E-2</c:v>
                </c:pt>
                <c:pt idx="2">
                  <c:v>3.7199999999999997E-2</c:v>
                </c:pt>
                <c:pt idx="3">
                  <c:v>0.10299999999999999</c:v>
                </c:pt>
                <c:pt idx="4">
                  <c:v>4.7500000000000001E-2</c:v>
                </c:pt>
                <c:pt idx="5">
                  <c:v>3.85E-2</c:v>
                </c:pt>
                <c:pt idx="6">
                  <c:v>0.01</c:v>
                </c:pt>
                <c:pt idx="7">
                  <c:v>3.6600000000000001E-2</c:v>
                </c:pt>
                <c:pt idx="8">
                  <c:v>-0.1158</c:v>
                </c:pt>
                <c:pt idx="9">
                  <c:v>3.15E-2</c:v>
                </c:pt>
                <c:pt idx="10">
                  <c:v>0.01</c:v>
                </c:pt>
                <c:pt idx="11">
                  <c:v>2.4899999999999999E-2</c:v>
                </c:pt>
                <c:pt idx="12">
                  <c:v>5.9200000000000003E-2</c:v>
                </c:pt>
                <c:pt idx="13">
                  <c:v>4.2299999999999997E-2</c:v>
                </c:pt>
                <c:pt idx="14">
                  <c:v>1.72E-2</c:v>
                </c:pt>
                <c:pt idx="15">
                  <c:v>-1.5E-3</c:v>
                </c:pt>
                <c:pt idx="16">
                  <c:v>4.5600000000000002E-2</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noFill/>
                    <a:round/>
                  </a:ln>
                  <a:effectLst/>
                </c14:spPr>
              </c14:invertSolidFillFmt>
            </c:ex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General"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0</c:v>
                </c:pt>
                <c:pt idx="1">
                  <c:v>0</c:v>
                </c:pt>
                <c:pt idx="2">
                  <c:v>0</c:v>
                </c:pt>
                <c:pt idx="3">
                  <c:v>0</c:v>
                </c:pt>
                <c:pt idx="4">
                  <c:v>0</c:v>
                </c:pt>
                <c:pt idx="5">
                  <c:v>0</c:v>
                </c:pt>
                <c:pt idx="6">
                  <c:v>0</c:v>
                </c:pt>
                <c:pt idx="7">
                  <c:v>0</c:v>
                </c:pt>
                <c:pt idx="8">
                  <c:v>0</c:v>
                </c:pt>
                <c:pt idx="9">
                  <c:v>0</c:v>
                </c:pt>
                <c:pt idx="10">
                  <c:v>2</c:v>
                </c:pt>
                <c:pt idx="11">
                  <c:v>0</c:v>
                </c:pt>
                <c:pt idx="12">
                  <c:v>0</c:v>
                </c:pt>
                <c:pt idx="13">
                  <c:v>0</c:v>
                </c:pt>
                <c:pt idx="14">
                  <c:v>0</c:v>
                </c:pt>
                <c:pt idx="15">
                  <c:v>0</c:v>
                </c:pt>
                <c:pt idx="16">
                  <c:v>0</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solidFill>
                      <a:schemeClr val="lt1">
                        <a:alpha val="50000"/>
                      </a:schemeClr>
                    </a:solidFill>
                    <a:round/>
                  </a:ln>
                  <a:effectLst/>
                </c14:spPr>
              </c14:invertSolidFillFmt>
            </c:ex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General"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4.0163521776353822E-2</c:v>
                </c:pt>
                <c:pt idx="1">
                  <c:v>3.8553613610298881E-3</c:v>
                </c:pt>
                <c:pt idx="2">
                  <c:v>1.4106122965366549E-2</c:v>
                </c:pt>
                <c:pt idx="3">
                  <c:v>4.0446268245486174E-2</c:v>
                </c:pt>
                <c:pt idx="4">
                  <c:v>-3.6908118782410321E-2</c:v>
                </c:pt>
                <c:pt idx="5">
                  <c:v>-5.4935977080855999E-3</c:v>
                </c:pt>
                <c:pt idx="6">
                  <c:v>0</c:v>
                </c:pt>
                <c:pt idx="7">
                  <c:v>-2.0422902793577204E-2</c:v>
                </c:pt>
                <c:pt idx="8">
                  <c:v>3.2478507579486365E-2</c:v>
                </c:pt>
                <c:pt idx="9">
                  <c:v>-1.2304496925368932E-2</c:v>
                </c:pt>
                <c:pt idx="10">
                  <c:v>-1.1258071199736489E-2</c:v>
                </c:pt>
                <c:pt idx="11">
                  <c:v>-6.9273099602053809E-3</c:v>
                </c:pt>
                <c:pt idx="12">
                  <c:v>9.8062253201310207E-3</c:v>
                </c:pt>
                <c:pt idx="13">
                  <c:v>1.0817780204308267E-2</c:v>
                </c:pt>
                <c:pt idx="14">
                  <c:v>1.1851943998192198E-2</c:v>
                </c:pt>
                <c:pt idx="15">
                  <c:v>-8.0140141710011662E-3</c:v>
                </c:pt>
                <c:pt idx="16">
                  <c:v>-3.6593730598183695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6.0900000000000003E-2</c:v>
                </c:pt>
                <c:pt idx="1">
                  <c:v>4.4499999999999998E-2</c:v>
                </c:pt>
                <c:pt idx="2">
                  <c:v>8.2799999999999999E-2</c:v>
                </c:pt>
                <c:pt idx="3">
                  <c:v>9.4500000000000001E-2</c:v>
                </c:pt>
                <c:pt idx="4">
                  <c:v>6.8199999999999997E-2</c:v>
                </c:pt>
                <c:pt idx="5">
                  <c:v>1.54E-2</c:v>
                </c:pt>
                <c:pt idx="6">
                  <c:v>5.8999999999999999E-3</c:v>
                </c:pt>
                <c:pt idx="7">
                  <c:v>9.4000000000000004E-3</c:v>
                </c:pt>
                <c:pt idx="8">
                  <c:v>-9.6199999999999994E-2</c:v>
                </c:pt>
                <c:pt idx="9">
                  <c:v>4.1300000000000003E-2</c:v>
                </c:pt>
                <c:pt idx="10">
                  <c:v>2.9999999999999997E-4</c:v>
                </c:pt>
                <c:pt idx="11">
                  <c:v>-4.8999999999999998E-3</c:v>
                </c:pt>
                <c:pt idx="12">
                  <c:v>0.1013</c:v>
                </c:pt>
                <c:pt idx="13">
                  <c:v>2.81E-2</c:v>
                </c:pt>
                <c:pt idx="14">
                  <c:v>7.3000000000000001E-3</c:v>
                </c:pt>
                <c:pt idx="15">
                  <c:v>-7.7000000000000002E-3</c:v>
                </c:pt>
                <c:pt idx="16">
                  <c:v>1.3899999999999999E-2</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noFill/>
                    <a:round/>
                  </a:ln>
                  <a:effectLst/>
                </c14:spPr>
              </c14:invertSolidFillFmt>
            </c:ex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General"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rgbClr val="E6E5E5"/>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7038E552-3B30-425C-9C1C-F4C1874203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772D7C30-41E6-4491-AF6A-2D4E884C94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78235575-F704-405C-BF24-C623305956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C06655D-09AE-4E8C-A822-F63AE9D24F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BA6F40D0-43AB-4547-BD6A-F5E753872A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7DC730DF-DBAA-4240-9877-2C1322668F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25C1C550-7B45-4D9A-9686-40CFD7D14D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28175E75-4202-4BEC-870F-B23CD6F31E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33.311700000000002</c:v>
                </c:pt>
                <c:pt idx="1">
                  <c:v>33.243200000000002</c:v>
                </c:pt>
                <c:pt idx="2">
                  <c:v>33.431899999999999</c:v>
                </c:pt>
                <c:pt idx="3">
                  <c:v>33.439300000000003</c:v>
                </c:pt>
                <c:pt idx="4">
                  <c:v>33.431600000000003</c:v>
                </c:pt>
              </c:numCache>
            </c:numRef>
          </c:xVal>
          <c:yVal>
            <c:numRef>
              <c:f>Sheet1!$B$2:$B$6</c:f>
              <c:numCache>
                <c:formatCode>General</c:formatCode>
                <c:ptCount val="5"/>
                <c:pt idx="0">
                  <c:v>0.43509999999999999</c:v>
                </c:pt>
                <c:pt idx="1">
                  <c:v>0.43859999999999999</c:v>
                </c:pt>
                <c:pt idx="2">
                  <c:v>0.43680000000000002</c:v>
                </c:pt>
                <c:pt idx="3">
                  <c:v>0.43890000000000001</c:v>
                </c:pt>
                <c:pt idx="4">
                  <c:v>0.43780000000000002</c:v>
                </c:pt>
              </c:numCache>
            </c:numRef>
          </c:yVal>
          <c:bubbleSize>
            <c:numRef>
              <c:f>Sheet1!$C$2:$C$6</c:f>
              <c:numCache>
                <c:formatCode>General</c:formatCode>
                <c:ptCount val="5"/>
                <c:pt idx="0">
                  <c:v>145772.13519999999</c:v>
                </c:pt>
                <c:pt idx="1">
                  <c:v>86332.539199999999</c:v>
                </c:pt>
                <c:pt idx="2">
                  <c:v>1189408.0181</c:v>
                </c:pt>
                <c:pt idx="3">
                  <c:v>291791.24129999988</c:v>
                </c:pt>
                <c:pt idx="4">
                  <c:v>463562.03690000012</c:v>
                </c:pt>
              </c:numCache>
            </c:numRef>
          </c:bubbleSize>
          <c:bubble3D val="0"/>
          <c:extLst>
            <c:ext xmlns:c15="http://schemas.microsoft.com/office/drawing/2012/chart" uri="{02D57815-91ED-43cb-92C2-25804820EDAC}">
              <c15:datalabelsRange>
                <c15:f>Sheet1!$E$2:$E$29</c15:f>
                <c15:dlblRangeCache>
                  <c:ptCount val="28"/>
                  <c:pt idx="0">
                    <c:v>NICOLAS QCA</c:v>
                  </c:pt>
                  <c:pt idx="1">
                    <c:v>NICOLAS CCP</c:v>
                  </c:pt>
                  <c:pt idx="2">
                    <c:v>NICOLAS QCN</c:v>
                  </c:pt>
                  <c:pt idx="3">
                    <c:v>NICOLAS QCT</c:v>
                  </c:pt>
                  <c:pt idx="4">
                    <c:v>NICOLAS VCN</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40.127160000000003"/>
          <c:min val="26.594560000000001"/>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725198445728553"/>
        <c:crossBetween val="midCat"/>
      </c:valAx>
      <c:valAx>
        <c:axId val="1011451359"/>
        <c:scaling>
          <c:orientation val="minMax"/>
          <c:max val="0.88668000000000002"/>
          <c:min val="0.10808000000000001"/>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3.41729525416288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0</c:v>
                </c:pt>
                <c:pt idx="1">
                  <c:v>0</c:v>
                </c:pt>
                <c:pt idx="2">
                  <c:v>0</c:v>
                </c:pt>
                <c:pt idx="3">
                  <c:v>0</c:v>
                </c:pt>
                <c:pt idx="4">
                  <c:v>0</c:v>
                </c:pt>
                <c:pt idx="5">
                  <c:v>0</c:v>
                </c:pt>
                <c:pt idx="6">
                  <c:v>0</c:v>
                </c:pt>
                <c:pt idx="7">
                  <c:v>0</c:v>
                </c:pt>
                <c:pt idx="8">
                  <c:v>0</c:v>
                </c:pt>
                <c:pt idx="9">
                  <c:v>0</c:v>
                </c:pt>
                <c:pt idx="10">
                  <c:v>1</c:v>
                </c:pt>
                <c:pt idx="11">
                  <c:v>0</c:v>
                </c:pt>
                <c:pt idx="12">
                  <c:v>0</c:v>
                </c:pt>
                <c:pt idx="13">
                  <c:v>0</c:v>
                </c:pt>
                <c:pt idx="14">
                  <c:v>0</c:v>
                </c:pt>
                <c:pt idx="15">
                  <c:v>0</c:v>
                </c:pt>
                <c:pt idx="16">
                  <c:v>0</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solidFill>
                      <a:schemeClr val="lt1">
                        <a:alpha val="50000"/>
                      </a:schemeClr>
                    </a:solidFill>
                    <a:round/>
                  </a:ln>
                  <a:effectLst/>
                </c14:spPr>
              </c14:invertSolidFillFmt>
            </c:ex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General"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1.7041836943857896E-2</c:v>
                </c:pt>
                <c:pt idx="1">
                  <c:v>9.96810961562275E-4</c:v>
                </c:pt>
                <c:pt idx="2">
                  <c:v>-1.4361682625559036E-2</c:v>
                </c:pt>
                <c:pt idx="3">
                  <c:v>2.6839858713318517E-2</c:v>
                </c:pt>
                <c:pt idx="4">
                  <c:v>-3.6173389990220281E-2</c:v>
                </c:pt>
                <c:pt idx="5">
                  <c:v>-4.0006594325831799E-2</c:v>
                </c:pt>
                <c:pt idx="6">
                  <c:v>0</c:v>
                </c:pt>
                <c:pt idx="7">
                  <c:v>-1.9759120570572254E-2</c:v>
                </c:pt>
                <c:pt idx="8">
                  <c:v>2.958715992134435E-2</c:v>
                </c:pt>
                <c:pt idx="9">
                  <c:v>-8.4471933955593201E-3</c:v>
                </c:pt>
                <c:pt idx="10">
                  <c:v>-5.8602407535398374E-3</c:v>
                </c:pt>
                <c:pt idx="11">
                  <c:v>-1.397946622279609E-2</c:v>
                </c:pt>
                <c:pt idx="12">
                  <c:v>3.895834649726107E-3</c:v>
                </c:pt>
                <c:pt idx="13">
                  <c:v>-1.4206391099364498E-2</c:v>
                </c:pt>
                <c:pt idx="14">
                  <c:v>4.1693771960170892E-2</c:v>
                </c:pt>
                <c:pt idx="15">
                  <c:v>-1.3060529071757546E-2</c:v>
                </c:pt>
                <c:pt idx="16">
                  <c:v>-2.7846492231421209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2.46E-2</c:v>
                </c:pt>
                <c:pt idx="1">
                  <c:v>3.2500000000000001E-2</c:v>
                </c:pt>
                <c:pt idx="2">
                  <c:v>3.0599999999999999E-2</c:v>
                </c:pt>
                <c:pt idx="3">
                  <c:v>5.33E-2</c:v>
                </c:pt>
                <c:pt idx="4">
                  <c:v>0.05</c:v>
                </c:pt>
                <c:pt idx="5">
                  <c:v>3.3099999999999997E-2</c:v>
                </c:pt>
                <c:pt idx="6">
                  <c:v>0.31719999999999998</c:v>
                </c:pt>
                <c:pt idx="7">
                  <c:v>4.41E-2</c:v>
                </c:pt>
                <c:pt idx="8">
                  <c:v>-0.10290000000000001</c:v>
                </c:pt>
                <c:pt idx="9">
                  <c:v>4.4699999999999997E-2</c:v>
                </c:pt>
                <c:pt idx="10">
                  <c:v>1.2699999999999999E-2</c:v>
                </c:pt>
                <c:pt idx="11">
                  <c:v>3.3700000000000001E-2</c:v>
                </c:pt>
                <c:pt idx="12">
                  <c:v>9.2399999999999996E-2</c:v>
                </c:pt>
                <c:pt idx="13">
                  <c:v>2.9399999999999999E-2</c:v>
                </c:pt>
                <c:pt idx="14">
                  <c:v>1.38E-2</c:v>
                </c:pt>
                <c:pt idx="15">
                  <c:v>-3.0000000000000001E-3</c:v>
                </c:pt>
                <c:pt idx="16">
                  <c:v>5.9299999999999999E-2</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noFill/>
                    <a:round/>
                  </a:ln>
                  <a:effectLst/>
                </c14:spPr>
              </c14:invertSolidFillFmt>
            </c:ex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General"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0</c:v>
                </c:pt>
                <c:pt idx="1">
                  <c:v>0</c:v>
                </c:pt>
                <c:pt idx="2">
                  <c:v>0</c:v>
                </c:pt>
                <c:pt idx="3">
                  <c:v>0</c:v>
                </c:pt>
                <c:pt idx="4">
                  <c:v>0</c:v>
                </c:pt>
                <c:pt idx="5">
                  <c:v>0</c:v>
                </c:pt>
                <c:pt idx="6">
                  <c:v>0</c:v>
                </c:pt>
                <c:pt idx="7">
                  <c:v>0</c:v>
                </c:pt>
                <c:pt idx="8">
                  <c:v>0</c:v>
                </c:pt>
                <c:pt idx="9">
                  <c:v>0</c:v>
                </c:pt>
                <c:pt idx="10">
                  <c:v>1</c:v>
                </c:pt>
                <c:pt idx="11">
                  <c:v>0</c:v>
                </c:pt>
                <c:pt idx="12">
                  <c:v>0</c:v>
                </c:pt>
                <c:pt idx="13">
                  <c:v>0</c:v>
                </c:pt>
                <c:pt idx="14">
                  <c:v>0</c:v>
                </c:pt>
                <c:pt idx="15">
                  <c:v>0</c:v>
                </c:pt>
                <c:pt idx="16">
                  <c:v>0</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solidFill>
                      <a:schemeClr val="lt1">
                        <a:alpha val="50000"/>
                      </a:schemeClr>
                    </a:solidFill>
                    <a:round/>
                  </a:ln>
                  <a:effectLst/>
                </c14:spPr>
              </c14:invertSolidFillFmt>
            </c:ex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General"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3.2491592725183649E-2</c:v>
                </c:pt>
                <c:pt idx="1">
                  <c:v>1.1960667289392476E-2</c:v>
                </c:pt>
                <c:pt idx="2">
                  <c:v>-1.0052472645537294E-2</c:v>
                </c:pt>
                <c:pt idx="3">
                  <c:v>4.8558240674888183E-2</c:v>
                </c:pt>
                <c:pt idx="4">
                  <c:v>-3.1956226283818612E-2</c:v>
                </c:pt>
                <c:pt idx="5">
                  <c:v>-2.3564653295067239E-2</c:v>
                </c:pt>
                <c:pt idx="6">
                  <c:v>9.9942857142857177E-3</c:v>
                </c:pt>
                <c:pt idx="7">
                  <c:v>-2.2605053525116235E-3</c:v>
                </c:pt>
                <c:pt idx="8">
                  <c:v>1.5492593180402248E-2</c:v>
                </c:pt>
                <c:pt idx="9">
                  <c:v>-7.8975359383177783E-3</c:v>
                </c:pt>
                <c:pt idx="10">
                  <c:v>-9.062735258857299E-3</c:v>
                </c:pt>
                <c:pt idx="11">
                  <c:v>-1.1828755749959539E-2</c:v>
                </c:pt>
                <c:pt idx="12">
                  <c:v>-4.1588204716623486E-3</c:v>
                </c:pt>
                <c:pt idx="13">
                  <c:v>7.9337696637723013E-3</c:v>
                </c:pt>
                <c:pt idx="14">
                  <c:v>1.5734777845028764E-2</c:v>
                </c:pt>
                <c:pt idx="15">
                  <c:v>1.0276780492187781E-3</c:v>
                </c:pt>
                <c:pt idx="16">
                  <c:v>-3.306331693125035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2.0299999999999999E-2</c:v>
                </c:pt>
                <c:pt idx="1">
                  <c:v>4.1700000000000001E-2</c:v>
                </c:pt>
                <c:pt idx="2">
                  <c:v>2.76E-2</c:v>
                </c:pt>
                <c:pt idx="3">
                  <c:v>6.1400000000000003E-2</c:v>
                </c:pt>
                <c:pt idx="4">
                  <c:v>5.4600000000000003E-2</c:v>
                </c:pt>
                <c:pt idx="5">
                  <c:v>2.3900000000000001E-2</c:v>
                </c:pt>
                <c:pt idx="6">
                  <c:v>0.01</c:v>
                </c:pt>
                <c:pt idx="7">
                  <c:v>2.98E-2</c:v>
                </c:pt>
                <c:pt idx="8">
                  <c:v>-0.1288</c:v>
                </c:pt>
                <c:pt idx="9">
                  <c:v>2.7199999999999998E-2</c:v>
                </c:pt>
                <c:pt idx="10">
                  <c:v>4.4000000000000003E-3</c:v>
                </c:pt>
                <c:pt idx="11">
                  <c:v>1.4500000000000001E-2</c:v>
                </c:pt>
                <c:pt idx="12">
                  <c:v>3.9699999999999999E-2</c:v>
                </c:pt>
                <c:pt idx="13">
                  <c:v>2.1399999999999999E-2</c:v>
                </c:pt>
                <c:pt idx="14">
                  <c:v>3.8E-3</c:v>
                </c:pt>
                <c:pt idx="15">
                  <c:v>-2.5999999999999999E-3</c:v>
                </c:pt>
                <c:pt idx="16">
                  <c:v>1.7299999999999999E-2</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noFill/>
                    <a:round/>
                  </a:ln>
                  <a:effectLst/>
                </c14:spPr>
              </c14:invertSolidFillFmt>
            </c:ex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General"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0</c:v>
                </c:pt>
                <c:pt idx="1">
                  <c:v>0</c:v>
                </c:pt>
                <c:pt idx="2">
                  <c:v>0</c:v>
                </c:pt>
                <c:pt idx="3">
                  <c:v>0</c:v>
                </c:pt>
                <c:pt idx="4">
                  <c:v>0</c:v>
                </c:pt>
                <c:pt idx="5">
                  <c:v>0</c:v>
                </c:pt>
                <c:pt idx="6">
                  <c:v>0</c:v>
                </c:pt>
                <c:pt idx="7">
                  <c:v>0</c:v>
                </c:pt>
                <c:pt idx="8">
                  <c:v>0</c:v>
                </c:pt>
                <c:pt idx="9">
                  <c:v>1</c:v>
                </c:pt>
                <c:pt idx="10">
                  <c:v>6</c:v>
                </c:pt>
                <c:pt idx="11">
                  <c:v>1</c:v>
                </c:pt>
                <c:pt idx="12">
                  <c:v>0</c:v>
                </c:pt>
                <c:pt idx="13">
                  <c:v>0</c:v>
                </c:pt>
                <c:pt idx="14">
                  <c:v>0</c:v>
                </c:pt>
                <c:pt idx="15">
                  <c:v>0</c:v>
                </c:pt>
                <c:pt idx="16">
                  <c:v>0</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solidFill>
                      <a:schemeClr val="lt1">
                        <a:alpha val="50000"/>
                      </a:schemeClr>
                    </a:solidFill>
                    <a:round/>
                  </a:ln>
                  <a:effectLst/>
                </c14:spPr>
              </c14:invertSolidFillFmt>
            </c:ex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General"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4.0566272432898037E-2</c:v>
                </c:pt>
                <c:pt idx="1">
                  <c:v>1.9864789480020725E-3</c:v>
                </c:pt>
                <c:pt idx="2">
                  <c:v>-1.3341202738544028E-2</c:v>
                </c:pt>
                <c:pt idx="3">
                  <c:v>5.6561745594697246E-2</c:v>
                </c:pt>
                <c:pt idx="4">
                  <c:v>-2.9029335401255428E-2</c:v>
                </c:pt>
                <c:pt idx="5">
                  <c:v>-3.6445489979494691E-2</c:v>
                </c:pt>
                <c:pt idx="6">
                  <c:v>-6.3097864485001043E-2</c:v>
                </c:pt>
                <c:pt idx="7">
                  <c:v>-1.2323476192982418E-2</c:v>
                </c:pt>
                <c:pt idx="8">
                  <c:v>1.2790165641073742E-2</c:v>
                </c:pt>
                <c:pt idx="9">
                  <c:v>-1.0201165676311866E-2</c:v>
                </c:pt>
                <c:pt idx="10">
                  <c:v>-1.2022150616980969E-2</c:v>
                </c:pt>
                <c:pt idx="11">
                  <c:v>-1.2768888065371907E-2</c:v>
                </c:pt>
                <c:pt idx="12">
                  <c:v>-1.660730450063682E-2</c:v>
                </c:pt>
                <c:pt idx="13">
                  <c:v>2.1094944980717172E-2</c:v>
                </c:pt>
                <c:pt idx="14">
                  <c:v>8.7700487542914339E-3</c:v>
                </c:pt>
                <c:pt idx="15">
                  <c:v>-2.1943930369256025E-3</c:v>
                </c:pt>
                <c:pt idx="16">
                  <c:v>-1.9838580556278067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2.23E-2</c:v>
                </c:pt>
                <c:pt idx="1">
                  <c:v>3.7199999999999997E-2</c:v>
                </c:pt>
                <c:pt idx="2">
                  <c:v>2.8299999999999999E-2</c:v>
                </c:pt>
                <c:pt idx="3">
                  <c:v>6.8599999999999994E-2</c:v>
                </c:pt>
                <c:pt idx="4">
                  <c:v>5.4699999999999999E-2</c:v>
                </c:pt>
                <c:pt idx="5">
                  <c:v>2.5700000000000001E-2</c:v>
                </c:pt>
                <c:pt idx="6">
                  <c:v>4.8000000000000001E-2</c:v>
                </c:pt>
                <c:pt idx="7">
                  <c:v>2.18E-2</c:v>
                </c:pt>
                <c:pt idx="8">
                  <c:v>-0.13539999999999999</c:v>
                </c:pt>
                <c:pt idx="9">
                  <c:v>1.66E-2</c:v>
                </c:pt>
                <c:pt idx="10">
                  <c:v>1.6999999999999999E-3</c:v>
                </c:pt>
                <c:pt idx="11">
                  <c:v>6.8999999999999999E-3</c:v>
                </c:pt>
                <c:pt idx="12">
                  <c:v>1.6500000000000001E-2</c:v>
                </c:pt>
                <c:pt idx="13">
                  <c:v>1.2999999999999999E-2</c:v>
                </c:pt>
                <c:pt idx="14">
                  <c:v>-1.6999999999999999E-3</c:v>
                </c:pt>
                <c:pt idx="15">
                  <c:v>-5.3E-3</c:v>
                </c:pt>
                <c:pt idx="16">
                  <c:v>1.8599999999999998E-2</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noFill/>
                    <a:round/>
                  </a:ln>
                  <a:effectLst/>
                </c14:spPr>
              </c14:invertSolidFillFmt>
            </c:ex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General"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0</c:v>
                </c:pt>
                <c:pt idx="1">
                  <c:v>1</c:v>
                </c:pt>
                <c:pt idx="2">
                  <c:v>0</c:v>
                </c:pt>
                <c:pt idx="3">
                  <c:v>0</c:v>
                </c:pt>
                <c:pt idx="4">
                  <c:v>0</c:v>
                </c:pt>
                <c:pt idx="5">
                  <c:v>0</c:v>
                </c:pt>
                <c:pt idx="6">
                  <c:v>0</c:v>
                </c:pt>
                <c:pt idx="7">
                  <c:v>0</c:v>
                </c:pt>
                <c:pt idx="8">
                  <c:v>0</c:v>
                </c:pt>
                <c:pt idx="9">
                  <c:v>2</c:v>
                </c:pt>
                <c:pt idx="10">
                  <c:v>12</c:v>
                </c:pt>
                <c:pt idx="11">
                  <c:v>3</c:v>
                </c:pt>
                <c:pt idx="12">
                  <c:v>1</c:v>
                </c:pt>
                <c:pt idx="13">
                  <c:v>0</c:v>
                </c:pt>
                <c:pt idx="14">
                  <c:v>1</c:v>
                </c:pt>
                <c:pt idx="15">
                  <c:v>1</c:v>
                </c:pt>
                <c:pt idx="16">
                  <c:v>0</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solidFill>
                      <a:schemeClr val="lt1">
                        <a:alpha val="50000"/>
                      </a:schemeClr>
                    </a:solidFill>
                    <a:round/>
                  </a:ln>
                  <a:effectLst/>
                </c14:spPr>
              </c14:invertSolidFillFmt>
            </c:ex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General"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38122B3C-C8CB-4A80-B39C-2DECD39753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277E9254-7181-4933-AF95-B537506139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DF353EB2-7220-4851-BB08-74791E605D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12ABA10E-2F5B-4A1C-A0ED-0D81FD0693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4FC8241D-6E2C-4691-8C72-D682A2AE06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4AE9C5B3-7321-4EAF-B1FD-6A6E40341E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6A3750F1-B571-4B16-9215-3C5E8E5CF2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A45782A5-45B5-4E4B-804A-1623C931A9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91.544700000000006</c:v>
                </c:pt>
                <c:pt idx="1">
                  <c:v>87.619500000000002</c:v>
                </c:pt>
                <c:pt idx="2">
                  <c:v>76.991399999999999</c:v>
                </c:pt>
                <c:pt idx="3">
                  <c:v>86.329599999999999</c:v>
                </c:pt>
                <c:pt idx="4">
                  <c:v>74.59</c:v>
                </c:pt>
              </c:numCache>
            </c:numRef>
          </c:xVal>
          <c:yVal>
            <c:numRef>
              <c:f>Sheet1!$B$2:$B$6</c:f>
              <c:numCache>
                <c:formatCode>General</c:formatCode>
                <c:ptCount val="5"/>
                <c:pt idx="0">
                  <c:v>0.39729999999999999</c:v>
                </c:pt>
                <c:pt idx="1">
                  <c:v>0.4</c:v>
                </c:pt>
                <c:pt idx="2">
                  <c:v>0.40649999999999997</c:v>
                </c:pt>
                <c:pt idx="3">
                  <c:v>0.40660000000000002</c:v>
                </c:pt>
                <c:pt idx="4">
                  <c:v>0.39989999999999998</c:v>
                </c:pt>
              </c:numCache>
            </c:numRef>
          </c:yVal>
          <c:bubbleSize>
            <c:numRef>
              <c:f>Sheet1!$C$2:$C$6</c:f>
              <c:numCache>
                <c:formatCode>General</c:formatCode>
                <c:ptCount val="5"/>
                <c:pt idx="0">
                  <c:v>785728.35400000087</c:v>
                </c:pt>
                <c:pt idx="1">
                  <c:v>474284.20769999968</c:v>
                </c:pt>
                <c:pt idx="2">
                  <c:v>2241374.9552000002</c:v>
                </c:pt>
                <c:pt idx="3">
                  <c:v>793455.14620000031</c:v>
                </c:pt>
                <c:pt idx="4">
                  <c:v>1434738.1570000011</c:v>
                </c:pt>
              </c:numCache>
            </c:numRef>
          </c:bubbleSize>
          <c:bubble3D val="0"/>
          <c:extLst>
            <c:ext xmlns:c15="http://schemas.microsoft.com/office/drawing/2012/chart" uri="{02D57815-91ED-43cb-92C2-25804820EDAC}">
              <c15:datalabelsRange>
                <c15:f>Sheet1!$E$2:$E$29</c15:f>
                <c15:dlblRangeCache>
                  <c:ptCount val="28"/>
                  <c:pt idx="0">
                    <c:v>NICOLAS QCA</c:v>
                  </c:pt>
                  <c:pt idx="1">
                    <c:v>NICOLAS CCP</c:v>
                  </c:pt>
                  <c:pt idx="2">
                    <c:v>NICOLAS QCN</c:v>
                  </c:pt>
                  <c:pt idx="3">
                    <c:v>NICOLAS QCT</c:v>
                  </c:pt>
                  <c:pt idx="4">
                    <c:v>NICOLAS VCN</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09.85364"/>
          <c:min val="59.672000000000004"/>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306144574149039"/>
        <c:crossBetween val="midCat"/>
      </c:valAx>
      <c:valAx>
        <c:axId val="1011451359"/>
        <c:scaling>
          <c:orientation val="minMax"/>
          <c:max val="0.84792000000000001"/>
          <c:min val="7.7840000000000006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80.55880636355888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2.8072830933301991E-2</c:v>
                </c:pt>
                <c:pt idx="1">
                  <c:v>9.9648975956132084E-3</c:v>
                </c:pt>
                <c:pt idx="2">
                  <c:v>-4.661222977268481E-3</c:v>
                </c:pt>
                <c:pt idx="3">
                  <c:v>4.3315092049435178E-2</c:v>
                </c:pt>
                <c:pt idx="4">
                  <c:v>-3.956715515146432E-2</c:v>
                </c:pt>
                <c:pt idx="5">
                  <c:v>-2.1763926897744142E-2</c:v>
                </c:pt>
                <c:pt idx="6">
                  <c:v>9.9942857142858409E-3</c:v>
                </c:pt>
                <c:pt idx="7">
                  <c:v>-1.5464234004775274E-2</c:v>
                </c:pt>
                <c:pt idx="8">
                  <c:v>1.2565410089379919E-2</c:v>
                </c:pt>
                <c:pt idx="9">
                  <c:v>-1.091851102125755E-2</c:v>
                </c:pt>
                <c:pt idx="10">
                  <c:v>-1.032684508747363E-2</c:v>
                </c:pt>
                <c:pt idx="11">
                  <c:v>-1.3698876326569086E-2</c:v>
                </c:pt>
                <c:pt idx="12">
                  <c:v>-9.7884665460871087E-3</c:v>
                </c:pt>
                <c:pt idx="13">
                  <c:v>-2.790945826615307E-3</c:v>
                </c:pt>
                <c:pt idx="14">
                  <c:v>1.2350619290575994E-2</c:v>
                </c:pt>
                <c:pt idx="15">
                  <c:v>2.1281957921947354E-3</c:v>
                </c:pt>
                <c:pt idx="16">
                  <c:v>-2.028118166679603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2.93E-2</c:v>
                </c:pt>
                <c:pt idx="1">
                  <c:v>4.0800000000000003E-2</c:v>
                </c:pt>
                <c:pt idx="2">
                  <c:v>3.2500000000000001E-2</c:v>
                </c:pt>
                <c:pt idx="3">
                  <c:v>6.4000000000000001E-2</c:v>
                </c:pt>
                <c:pt idx="4">
                  <c:v>4.5999999999999999E-2</c:v>
                </c:pt>
                <c:pt idx="5">
                  <c:v>2.46E-2</c:v>
                </c:pt>
                <c:pt idx="6">
                  <c:v>0.01</c:v>
                </c:pt>
                <c:pt idx="7">
                  <c:v>2.9899999999999999E-2</c:v>
                </c:pt>
                <c:pt idx="8">
                  <c:v>-0.1273</c:v>
                </c:pt>
                <c:pt idx="9">
                  <c:v>2.5600000000000001E-2</c:v>
                </c:pt>
                <c:pt idx="10">
                  <c:v>5.3E-3</c:v>
                </c:pt>
                <c:pt idx="11">
                  <c:v>1.3299999999999999E-2</c:v>
                </c:pt>
                <c:pt idx="12">
                  <c:v>4.24E-2</c:v>
                </c:pt>
                <c:pt idx="13">
                  <c:v>1.9699999999999999E-2</c:v>
                </c:pt>
                <c:pt idx="14">
                  <c:v>2.7000000000000001E-3</c:v>
                </c:pt>
                <c:pt idx="15">
                  <c:v>-8.9999999999999998E-4</c:v>
                </c:pt>
                <c:pt idx="16">
                  <c:v>2.41E-2</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noFill/>
                    <a:round/>
                  </a:ln>
                  <a:effectLst/>
                </c14:spPr>
              </c14:invertSolidFillFmt>
            </c:ex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General"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0</c:v>
                </c:pt>
                <c:pt idx="1">
                  <c:v>0</c:v>
                </c:pt>
                <c:pt idx="2">
                  <c:v>0</c:v>
                </c:pt>
                <c:pt idx="3">
                  <c:v>0</c:v>
                </c:pt>
                <c:pt idx="4">
                  <c:v>0</c:v>
                </c:pt>
                <c:pt idx="5">
                  <c:v>0</c:v>
                </c:pt>
                <c:pt idx="6">
                  <c:v>0</c:v>
                </c:pt>
                <c:pt idx="7">
                  <c:v>0</c:v>
                </c:pt>
                <c:pt idx="8">
                  <c:v>0</c:v>
                </c:pt>
                <c:pt idx="9">
                  <c:v>1</c:v>
                </c:pt>
                <c:pt idx="10">
                  <c:v>8</c:v>
                </c:pt>
                <c:pt idx="11">
                  <c:v>1</c:v>
                </c:pt>
                <c:pt idx="12">
                  <c:v>0</c:v>
                </c:pt>
                <c:pt idx="13">
                  <c:v>0</c:v>
                </c:pt>
                <c:pt idx="14">
                  <c:v>0</c:v>
                </c:pt>
                <c:pt idx="15">
                  <c:v>1</c:v>
                </c:pt>
                <c:pt idx="16">
                  <c:v>0</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solidFill>
                      <a:schemeClr val="lt1">
                        <a:alpha val="50000"/>
                      </a:schemeClr>
                    </a:solidFill>
                    <a:round/>
                  </a:ln>
                  <a:effectLst/>
                </c14:spPr>
              </c14:invertSolidFillFmt>
            </c:ex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General"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1.7825170974804405E-2</c:v>
                </c:pt>
                <c:pt idx="1">
                  <c:v>9.1117313691159198E-3</c:v>
                </c:pt>
                <c:pt idx="2">
                  <c:v>-5.5443065783198665E-3</c:v>
                </c:pt>
                <c:pt idx="3">
                  <c:v>4.750241907485124E-2</c:v>
                </c:pt>
                <c:pt idx="4">
                  <c:v>-4.1765338004686715E-2</c:v>
                </c:pt>
                <c:pt idx="5">
                  <c:v>-2.3502568444667526E-2</c:v>
                </c:pt>
                <c:pt idx="6">
                  <c:v>-0.13164452038834965</c:v>
                </c:pt>
                <c:pt idx="7">
                  <c:v>-1.2619702136038777E-2</c:v>
                </c:pt>
                <c:pt idx="8">
                  <c:v>1.2855325003839665E-2</c:v>
                </c:pt>
                <c:pt idx="9">
                  <c:v>-1.1143298462436831E-2</c:v>
                </c:pt>
                <c:pt idx="10">
                  <c:v>-8.2447103578528018E-3</c:v>
                </c:pt>
                <c:pt idx="11">
                  <c:v>-9.9075699929013356E-3</c:v>
                </c:pt>
                <c:pt idx="12">
                  <c:v>-1.4333092464671869E-2</c:v>
                </c:pt>
                <c:pt idx="13">
                  <c:v>-1.3205903989986369E-2</c:v>
                </c:pt>
                <c:pt idx="14">
                  <c:v>1.5704466510068408E-2</c:v>
                </c:pt>
                <c:pt idx="15">
                  <c:v>-4.2364082798117056E-3</c:v>
                </c:pt>
                <c:pt idx="16">
                  <c:v>-2.4275394057274406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1.9400000000000001E-2</c:v>
                </c:pt>
                <c:pt idx="1">
                  <c:v>3.9800000000000002E-2</c:v>
                </c:pt>
                <c:pt idx="2">
                  <c:v>2.5499999999999998E-2</c:v>
                </c:pt>
                <c:pt idx="3">
                  <c:v>6.6799999999999998E-2</c:v>
                </c:pt>
                <c:pt idx="4">
                  <c:v>5.5300000000000002E-2</c:v>
                </c:pt>
                <c:pt idx="5">
                  <c:v>2.4799999999999999E-2</c:v>
                </c:pt>
                <c:pt idx="6">
                  <c:v>8.8400000000000006E-2</c:v>
                </c:pt>
                <c:pt idx="7">
                  <c:v>2.9399999999999999E-2</c:v>
                </c:pt>
                <c:pt idx="8">
                  <c:v>-0.1229</c:v>
                </c:pt>
                <c:pt idx="9">
                  <c:v>2.4799999999999999E-2</c:v>
                </c:pt>
                <c:pt idx="10">
                  <c:v>6.1000000000000004E-3</c:v>
                </c:pt>
                <c:pt idx="11">
                  <c:v>1.47E-2</c:v>
                </c:pt>
                <c:pt idx="12">
                  <c:v>3.9100000000000003E-2</c:v>
                </c:pt>
                <c:pt idx="13">
                  <c:v>1.6400000000000001E-2</c:v>
                </c:pt>
                <c:pt idx="14">
                  <c:v>0.01</c:v>
                </c:pt>
                <c:pt idx="15">
                  <c:v>-3.2000000000000002E-3</c:v>
                </c:pt>
                <c:pt idx="16">
                  <c:v>2.0500000000000001E-2</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noFill/>
                    <a:round/>
                  </a:ln>
                  <a:effectLst/>
                </c14:spPr>
              </c14:invertSolidFillFmt>
            </c:ex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General"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0</c:v>
                </c:pt>
                <c:pt idx="1">
                  <c:v>0</c:v>
                </c:pt>
                <c:pt idx="2">
                  <c:v>0</c:v>
                </c:pt>
                <c:pt idx="3">
                  <c:v>0</c:v>
                </c:pt>
                <c:pt idx="4">
                  <c:v>0</c:v>
                </c:pt>
                <c:pt idx="5">
                  <c:v>0</c:v>
                </c:pt>
                <c:pt idx="6">
                  <c:v>0</c:v>
                </c:pt>
                <c:pt idx="7">
                  <c:v>0</c:v>
                </c:pt>
                <c:pt idx="8">
                  <c:v>0</c:v>
                </c:pt>
                <c:pt idx="9">
                  <c:v>1</c:v>
                </c:pt>
                <c:pt idx="10">
                  <c:v>7</c:v>
                </c:pt>
                <c:pt idx="11">
                  <c:v>1</c:v>
                </c:pt>
                <c:pt idx="12">
                  <c:v>0</c:v>
                </c:pt>
                <c:pt idx="13">
                  <c:v>0</c:v>
                </c:pt>
                <c:pt idx="14">
                  <c:v>0</c:v>
                </c:pt>
                <c:pt idx="15">
                  <c:v>1</c:v>
                </c:pt>
                <c:pt idx="16">
                  <c:v>0</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solidFill>
                      <a:schemeClr val="lt1">
                        <a:alpha val="50000"/>
                      </a:schemeClr>
                    </a:solidFill>
                    <a:round/>
                  </a:ln>
                  <a:effectLst/>
                </c14:spPr>
              </c14:invertSolidFillFmt>
            </c:ex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General"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3.2170084527283198E-2</c:v>
                </c:pt>
                <c:pt idx="1">
                  <c:v>6.7427711700609252E-3</c:v>
                </c:pt>
                <c:pt idx="2">
                  <c:v>-7.5969293100479549E-3</c:v>
                </c:pt>
                <c:pt idx="3">
                  <c:v>4.1487257893413433E-2</c:v>
                </c:pt>
                <c:pt idx="4">
                  <c:v>-3.8687534632350959E-2</c:v>
                </c:pt>
                <c:pt idx="5">
                  <c:v>-3.4010951325759695E-2</c:v>
                </c:pt>
                <c:pt idx="6">
                  <c:v>0</c:v>
                </c:pt>
                <c:pt idx="7">
                  <c:v>-1.0927451920838781E-2</c:v>
                </c:pt>
                <c:pt idx="8">
                  <c:v>1.3040364366248475E-2</c:v>
                </c:pt>
                <c:pt idx="9">
                  <c:v>-7.9365997471623727E-3</c:v>
                </c:pt>
                <c:pt idx="10">
                  <c:v>-9.2576864018152384E-3</c:v>
                </c:pt>
                <c:pt idx="11">
                  <c:v>-1.2637452322327814E-2</c:v>
                </c:pt>
                <c:pt idx="12">
                  <c:v>-1.994229575242373E-2</c:v>
                </c:pt>
                <c:pt idx="13">
                  <c:v>5.9002612607895327E-4</c:v>
                </c:pt>
                <c:pt idx="14">
                  <c:v>2.0764215200456633E-2</c:v>
                </c:pt>
                <c:pt idx="15">
                  <c:v>3.8062705651040109E-4</c:v>
                </c:pt>
                <c:pt idx="16">
                  <c:v>-1.9135521288227011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2.8199999999999999E-2</c:v>
                </c:pt>
                <c:pt idx="1">
                  <c:v>3.9199999999999999E-2</c:v>
                </c:pt>
                <c:pt idx="2">
                  <c:v>3.2300000000000002E-2</c:v>
                </c:pt>
                <c:pt idx="3">
                  <c:v>6.25E-2</c:v>
                </c:pt>
                <c:pt idx="4">
                  <c:v>4.6800000000000001E-2</c:v>
                </c:pt>
                <c:pt idx="5">
                  <c:v>2.7699999999999999E-2</c:v>
                </c:pt>
                <c:pt idx="6">
                  <c:v>0.01</c:v>
                </c:pt>
                <c:pt idx="7">
                  <c:v>2.1899999999999999E-2</c:v>
                </c:pt>
                <c:pt idx="8">
                  <c:v>-0.1275</c:v>
                </c:pt>
                <c:pt idx="9">
                  <c:v>2.3E-2</c:v>
                </c:pt>
                <c:pt idx="10">
                  <c:v>3.7000000000000002E-3</c:v>
                </c:pt>
                <c:pt idx="11">
                  <c:v>9.4999999999999998E-3</c:v>
                </c:pt>
                <c:pt idx="12">
                  <c:v>3.0300000000000001E-2</c:v>
                </c:pt>
                <c:pt idx="13">
                  <c:v>1.7899999999999999E-2</c:v>
                </c:pt>
                <c:pt idx="14">
                  <c:v>5.7000000000000002E-3</c:v>
                </c:pt>
                <c:pt idx="15">
                  <c:v>-3.8999999999999998E-3</c:v>
                </c:pt>
                <c:pt idx="16">
                  <c:v>1.8499999999999999E-2</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noFill/>
                    <a:round/>
                  </a:ln>
                  <a:effectLst/>
                </c14:spPr>
              </c14:invertSolidFillFmt>
            </c:ex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General"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strCache>
            </c:strRef>
          </c:cat>
          <c:val>
            <c:numRef>
              <c:f>Sheet1!$B$2:$B$19</c:f>
              <c:numCache>
                <c:formatCode>General</c:formatCode>
                <c:ptCount val="18"/>
                <c:pt idx="0">
                  <c:v>0</c:v>
                </c:pt>
                <c:pt idx="1">
                  <c:v>0</c:v>
                </c:pt>
                <c:pt idx="2">
                  <c:v>0</c:v>
                </c:pt>
                <c:pt idx="3">
                  <c:v>0</c:v>
                </c:pt>
                <c:pt idx="4">
                  <c:v>0</c:v>
                </c:pt>
                <c:pt idx="5">
                  <c:v>0</c:v>
                </c:pt>
                <c:pt idx="6">
                  <c:v>0</c:v>
                </c:pt>
                <c:pt idx="7">
                  <c:v>0</c:v>
                </c:pt>
                <c:pt idx="8">
                  <c:v>0</c:v>
                </c:pt>
                <c:pt idx="9">
                  <c:v>1</c:v>
                </c:pt>
                <c:pt idx="10">
                  <c:v>9</c:v>
                </c:pt>
                <c:pt idx="11">
                  <c:v>2</c:v>
                </c:pt>
                <c:pt idx="12">
                  <c:v>1</c:v>
                </c:pt>
                <c:pt idx="13">
                  <c:v>0</c:v>
                </c:pt>
                <c:pt idx="14">
                  <c:v>1</c:v>
                </c:pt>
                <c:pt idx="15">
                  <c:v>1</c:v>
                </c:pt>
                <c:pt idx="16">
                  <c:v>0</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solidFill>
                      <a:schemeClr val="lt1">
                        <a:alpha val="50000"/>
                      </a:schemeClr>
                    </a:solidFill>
                    <a:round/>
                  </a:ln>
                  <a:effectLst/>
                </c14:spPr>
              </c14:invertSolidFillFmt>
            </c:ex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General"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3.62</c:v>
                </c:pt>
                <c:pt idx="1">
                  <c:v>Av Price/Vol 60.73</c:v>
                </c:pt>
                <c:pt idx="2">
                  <c:v>Av Price/Vol 23.68</c:v>
                </c:pt>
              </c:strCache>
            </c:strRef>
          </c:cat>
          <c:val>
            <c:numRef>
              <c:f>Sheet1!$B$2:$B$4</c:f>
              <c:numCache>
                <c:formatCode>General</c:formatCode>
                <c:ptCount val="3"/>
                <c:pt idx="0">
                  <c:v>5.6535000000000002</c:v>
                </c:pt>
                <c:pt idx="1">
                  <c:v>19.715599999999998</c:v>
                </c:pt>
                <c:pt idx="2">
                  <c:v>13.115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3.62</c:v>
                </c:pt>
                <c:pt idx="1">
                  <c:v>Av Price/Vol 60.73</c:v>
                </c:pt>
                <c:pt idx="2">
                  <c:v>Av Price/Vol 23.68</c:v>
                </c:pt>
              </c:strCache>
            </c:strRef>
          </c:cat>
          <c:val>
            <c:numRef>
              <c:f>Sheet1!$C$2:$C$4</c:f>
              <c:numCache>
                <c:formatCode>General</c:formatCode>
                <c:ptCount val="3"/>
                <c:pt idx="0">
                  <c:v>5.2807000000000004</c:v>
                </c:pt>
                <c:pt idx="1">
                  <c:v>30.216799999999999</c:v>
                </c:pt>
                <c:pt idx="2">
                  <c:v>11.570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3.62</c:v>
                </c:pt>
                <c:pt idx="1">
                  <c:v>Av Price/Vol 60.73</c:v>
                </c:pt>
                <c:pt idx="2">
                  <c:v>Av Price/Vol 23.68</c:v>
                </c:pt>
              </c:strCache>
            </c:strRef>
          </c:cat>
          <c:val>
            <c:numRef>
              <c:f>Sheet1!$D$2:$D$4</c:f>
              <c:numCache>
                <c:formatCode>General</c:formatCode>
                <c:ptCount val="3"/>
                <c:pt idx="0">
                  <c:v>0.41820000000000002</c:v>
                </c:pt>
                <c:pt idx="1">
                  <c:v>0.53069999999999995</c:v>
                </c:pt>
                <c:pt idx="2">
                  <c:v>-2.879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3.62</c:v>
                </c:pt>
                <c:pt idx="1">
                  <c:v>Av Price/Vol 60.73</c:v>
                </c:pt>
                <c:pt idx="2">
                  <c:v>Av Price/Vol 23.68</c:v>
                </c:pt>
              </c:strCache>
            </c:strRef>
          </c:cat>
          <c:val>
            <c:numRef>
              <c:f>Sheet1!$E$2:$E$4</c:f>
              <c:numCache>
                <c:formatCode>General</c:formatCode>
                <c:ptCount val="3"/>
                <c:pt idx="0">
                  <c:v>2.2710401750985643</c:v>
                </c:pt>
                <c:pt idx="1">
                  <c:v>10.105784347093174</c:v>
                </c:pt>
                <c:pt idx="2">
                  <c:v>4.362194189602445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rgbClr val="7ECAC4"/>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E6E5E5"/>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260CFBA6-7D1F-4DBF-950F-21C3D37719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CF160BBF-2A67-4DC2-8D4D-861B19E6CE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88178FEB-D193-4E98-B334-EE201624D0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79D8AA30-67DB-4A54-87C3-5F246F0EED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551CFF1E-5CD4-4489-9D45-FA8DBF3FB4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E0F30ECD-A507-417E-92E4-898ED31795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AEB92F44-797D-4FC8-8724-601CAF1DD9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8E125637-1F5E-44C8-82A3-65F6506345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37.473399999999998</c:v>
                </c:pt>
                <c:pt idx="1">
                  <c:v>36.662199999999999</c:v>
                </c:pt>
                <c:pt idx="2">
                  <c:v>36.6601</c:v>
                </c:pt>
                <c:pt idx="3">
                  <c:v>37.193899999999999</c:v>
                </c:pt>
                <c:pt idx="4">
                  <c:v>36.607599999999998</c:v>
                </c:pt>
              </c:numCache>
            </c:numRef>
          </c:xVal>
          <c:yVal>
            <c:numRef>
              <c:f>Sheet1!$B$2:$B$6</c:f>
              <c:numCache>
                <c:formatCode>General</c:formatCode>
                <c:ptCount val="5"/>
                <c:pt idx="0">
                  <c:v>0.42199999999999999</c:v>
                </c:pt>
                <c:pt idx="1">
                  <c:v>0.435</c:v>
                </c:pt>
                <c:pt idx="2">
                  <c:v>0.43009999999999998</c:v>
                </c:pt>
                <c:pt idx="3">
                  <c:v>0.42930000000000001</c:v>
                </c:pt>
                <c:pt idx="4">
                  <c:v>0.43280000000000002</c:v>
                </c:pt>
              </c:numCache>
            </c:numRef>
          </c:yVal>
          <c:bubbleSize>
            <c:numRef>
              <c:f>Sheet1!$C$2:$C$6</c:f>
              <c:numCache>
                <c:formatCode>General</c:formatCode>
                <c:ptCount val="5"/>
                <c:pt idx="0">
                  <c:v>189877.92480000001</c:v>
                </c:pt>
                <c:pt idx="1">
                  <c:v>86302.85560000001</c:v>
                </c:pt>
                <c:pt idx="2">
                  <c:v>870897.81840000022</c:v>
                </c:pt>
                <c:pt idx="3">
                  <c:v>237222.54930000001</c:v>
                </c:pt>
                <c:pt idx="4">
                  <c:v>345978.7900000001</c:v>
                </c:pt>
              </c:numCache>
            </c:numRef>
          </c:bubbleSize>
          <c:bubble3D val="0"/>
          <c:extLst>
            <c:ext xmlns:c15="http://schemas.microsoft.com/office/drawing/2012/chart" uri="{02D57815-91ED-43cb-92C2-25804820EDAC}">
              <c15:datalabelsRange>
                <c15:f>Sheet1!$E$2:$E$29</c15:f>
                <c15:dlblRangeCache>
                  <c:ptCount val="28"/>
                  <c:pt idx="0">
                    <c:v>NICOLAS QCA</c:v>
                  </c:pt>
                  <c:pt idx="1">
                    <c:v>NICOLAS CCP</c:v>
                  </c:pt>
                  <c:pt idx="2">
                    <c:v>NICOLAS QCN</c:v>
                  </c:pt>
                  <c:pt idx="3">
                    <c:v>NICOLAS QCT</c:v>
                  </c:pt>
                  <c:pt idx="4">
                    <c:v>NICOLAS VCN</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44.968079999999993"/>
          <c:min val="29.286079999999998"/>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2988572108667733"/>
        <c:crossBetween val="midCat"/>
      </c:valAx>
      <c:valAx>
        <c:axId val="1011451359"/>
        <c:scaling>
          <c:orientation val="minMax"/>
          <c:max val="0.88200000000000001"/>
          <c:min val="9.7600000000000006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6.8121415608972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3.75</c:v>
                </c:pt>
                <c:pt idx="1">
                  <c:v>Av Price/Vol 62.51</c:v>
                </c:pt>
                <c:pt idx="2">
                  <c:v>Av Price/Vol 23.40</c:v>
                </c:pt>
              </c:strCache>
            </c:strRef>
          </c:cat>
          <c:val>
            <c:numRef>
              <c:f>Sheet1!$B$2:$B$4</c:f>
              <c:numCache>
                <c:formatCode>General</c:formatCode>
                <c:ptCount val="3"/>
                <c:pt idx="0">
                  <c:v>5.4333999999999998</c:v>
                </c:pt>
                <c:pt idx="1">
                  <c:v>20.440999999999999</c:v>
                </c:pt>
                <c:pt idx="2">
                  <c:v>12.769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3.75</c:v>
                </c:pt>
                <c:pt idx="1">
                  <c:v>Av Price/Vol 62.51</c:v>
                </c:pt>
                <c:pt idx="2">
                  <c:v>Av Price/Vol 23.40</c:v>
                </c:pt>
              </c:strCache>
            </c:strRef>
          </c:cat>
          <c:val>
            <c:numRef>
              <c:f>Sheet1!$C$2:$C$4</c:f>
              <c:numCache>
                <c:formatCode>General</c:formatCode>
                <c:ptCount val="3"/>
                <c:pt idx="0">
                  <c:v>5.6001000000000003</c:v>
                </c:pt>
                <c:pt idx="1">
                  <c:v>30.757300000000001</c:v>
                </c:pt>
                <c:pt idx="2">
                  <c:v>11.396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3.75</c:v>
                </c:pt>
                <c:pt idx="1">
                  <c:v>Av Price/Vol 62.51</c:v>
                </c:pt>
                <c:pt idx="2">
                  <c:v>Av Price/Vol 23.40</c:v>
                </c:pt>
              </c:strCache>
            </c:strRef>
          </c:cat>
          <c:val>
            <c:numRef>
              <c:f>Sheet1!$D$2:$D$4</c:f>
              <c:numCache>
                <c:formatCode>General</c:formatCode>
                <c:ptCount val="3"/>
                <c:pt idx="0">
                  <c:v>0.38190000000000002</c:v>
                </c:pt>
                <c:pt idx="1">
                  <c:v>0.64549999999999996</c:v>
                </c:pt>
                <c:pt idx="2">
                  <c:v>-2.617700000000000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3.75</c:v>
                </c:pt>
                <c:pt idx="1">
                  <c:v>Av Price/Vol 62.51</c:v>
                </c:pt>
                <c:pt idx="2">
                  <c:v>Av Price/Vol 23.40</c:v>
                </c:pt>
              </c:strCache>
            </c:strRef>
          </c:cat>
          <c:val>
            <c:numRef>
              <c:f>Sheet1!$E$2:$E$4</c:f>
              <c:numCache>
                <c:formatCode>General</c:formatCode>
                <c:ptCount val="3"/>
                <c:pt idx="0">
                  <c:v>2.2850628543258495</c:v>
                </c:pt>
                <c:pt idx="1">
                  <c:v>10.394652211067445</c:v>
                </c:pt>
                <c:pt idx="2">
                  <c:v>4.311163522012577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47</c:v>
                </c:pt>
                <c:pt idx="1">
                  <c:v>Av Price/Vol 59.99</c:v>
                </c:pt>
                <c:pt idx="2">
                  <c:v>Av Price/Vol 24.01</c:v>
                </c:pt>
              </c:strCache>
            </c:strRef>
          </c:cat>
          <c:val>
            <c:numRef>
              <c:f>Sheet1!$B$2:$B$4</c:f>
              <c:numCache>
                <c:formatCode>General</c:formatCode>
                <c:ptCount val="3"/>
                <c:pt idx="0">
                  <c:v>5.8653000000000004</c:v>
                </c:pt>
                <c:pt idx="1">
                  <c:v>19.6417</c:v>
                </c:pt>
                <c:pt idx="2">
                  <c:v>13.16029999999999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47</c:v>
                </c:pt>
                <c:pt idx="1">
                  <c:v>Av Price/Vol 59.99</c:v>
                </c:pt>
                <c:pt idx="2">
                  <c:v>Av Price/Vol 24.01</c:v>
                </c:pt>
              </c:strCache>
            </c:strRef>
          </c:cat>
          <c:val>
            <c:numRef>
              <c:f>Sheet1!$C$2:$C$4</c:f>
              <c:numCache>
                <c:formatCode>General</c:formatCode>
                <c:ptCount val="3"/>
                <c:pt idx="0">
                  <c:v>5.6848999999999998</c:v>
                </c:pt>
                <c:pt idx="1">
                  <c:v>29.478300000000001</c:v>
                </c:pt>
                <c:pt idx="2">
                  <c:v>11.59650000000000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47</c:v>
                </c:pt>
                <c:pt idx="1">
                  <c:v>Av Price/Vol 59.99</c:v>
                </c:pt>
                <c:pt idx="2">
                  <c:v>Av Price/Vol 24.01</c:v>
                </c:pt>
              </c:strCache>
            </c:strRef>
          </c:cat>
          <c:val>
            <c:numRef>
              <c:f>Sheet1!$D$2:$D$4</c:f>
              <c:numCache>
                <c:formatCode>General</c:formatCode>
                <c:ptCount val="3"/>
                <c:pt idx="0">
                  <c:v>0.49409999999999998</c:v>
                </c:pt>
                <c:pt idx="1">
                  <c:v>0.63139999999999996</c:v>
                </c:pt>
                <c:pt idx="2">
                  <c:v>-2.807100000000000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47</c:v>
                </c:pt>
                <c:pt idx="1">
                  <c:v>Av Price/Vol 59.99</c:v>
                </c:pt>
                <c:pt idx="2">
                  <c:v>Av Price/Vol 24.01</c:v>
                </c:pt>
              </c:strCache>
            </c:strRef>
          </c:cat>
          <c:val>
            <c:numRef>
              <c:f>Sheet1!$E$2:$E$4</c:f>
              <c:numCache>
                <c:formatCode>General</c:formatCode>
                <c:ptCount val="3"/>
                <c:pt idx="0">
                  <c:v>2.4090932701697492</c:v>
                </c:pt>
                <c:pt idx="1">
                  <c:v>9.9650620523104259</c:v>
                </c:pt>
                <c:pt idx="2">
                  <c:v>4.393403734312823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13</c:v>
                </c:pt>
                <c:pt idx="1">
                  <c:v>Av Price/Vol 57.67</c:v>
                </c:pt>
                <c:pt idx="2">
                  <c:v>Av Price/Vol 23.40</c:v>
                </c:pt>
              </c:strCache>
            </c:strRef>
          </c:cat>
          <c:val>
            <c:numRef>
              <c:f>Sheet1!$B$2:$B$4</c:f>
              <c:numCache>
                <c:formatCode>General</c:formatCode>
                <c:ptCount val="3"/>
                <c:pt idx="0">
                  <c:v>5.9157000000000002</c:v>
                </c:pt>
                <c:pt idx="1">
                  <c:v>19.0792</c:v>
                </c:pt>
                <c:pt idx="2">
                  <c:v>13.16890000000000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13</c:v>
                </c:pt>
                <c:pt idx="1">
                  <c:v>Av Price/Vol 57.67</c:v>
                </c:pt>
                <c:pt idx="2">
                  <c:v>Av Price/Vol 23.40</c:v>
                </c:pt>
              </c:strCache>
            </c:strRef>
          </c:cat>
          <c:val>
            <c:numRef>
              <c:f>Sheet1!$C$2:$C$4</c:f>
              <c:numCache>
                <c:formatCode>General</c:formatCode>
                <c:ptCount val="3"/>
                <c:pt idx="0">
                  <c:v>5.4150999999999998</c:v>
                </c:pt>
                <c:pt idx="1">
                  <c:v>28.646599999999999</c:v>
                </c:pt>
                <c:pt idx="2">
                  <c:v>11.60159999999999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13</c:v>
                </c:pt>
                <c:pt idx="1">
                  <c:v>Av Price/Vol 57.67</c:v>
                </c:pt>
                <c:pt idx="2">
                  <c:v>Av Price/Vol 23.40</c:v>
                </c:pt>
              </c:strCache>
            </c:strRef>
          </c:cat>
          <c:val>
            <c:numRef>
              <c:f>Sheet1!$D$2:$D$4</c:f>
              <c:numCache>
                <c:formatCode>General</c:formatCode>
                <c:ptCount val="3"/>
                <c:pt idx="0">
                  <c:v>0.45219999999999999</c:v>
                </c:pt>
                <c:pt idx="1">
                  <c:v>0.22309999999999999</c:v>
                </c:pt>
                <c:pt idx="2">
                  <c:v>-2.896100000000000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13</c:v>
                </c:pt>
                <c:pt idx="1">
                  <c:v>Av Price/Vol 57.67</c:v>
                </c:pt>
                <c:pt idx="2">
                  <c:v>Av Price/Vol 23.40</c:v>
                </c:pt>
              </c:strCache>
            </c:strRef>
          </c:cat>
          <c:val>
            <c:numRef>
              <c:f>Sheet1!$E$2:$E$4</c:f>
              <c:numCache>
                <c:formatCode>General</c:formatCode>
                <c:ptCount val="3"/>
                <c:pt idx="0">
                  <c:v>2.3566428168769793</c:v>
                </c:pt>
                <c:pt idx="1">
                  <c:v>9.5926676942337821</c:v>
                </c:pt>
                <c:pt idx="2">
                  <c:v>4.375208627551675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08</c:v>
                </c:pt>
                <c:pt idx="1">
                  <c:v>Av Price/Vol 55.72</c:v>
                </c:pt>
                <c:pt idx="2">
                  <c:v>Av Price/Vol 21.52</c:v>
                </c:pt>
              </c:strCache>
            </c:strRef>
          </c:cat>
          <c:val>
            <c:numRef>
              <c:f>Sheet1!$B$2:$B$4</c:f>
              <c:numCache>
                <c:formatCode>General</c:formatCode>
                <c:ptCount val="3"/>
                <c:pt idx="0">
                  <c:v>5.7647000000000004</c:v>
                </c:pt>
                <c:pt idx="1">
                  <c:v>18.4283</c:v>
                </c:pt>
                <c:pt idx="2">
                  <c:v>11.756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08</c:v>
                </c:pt>
                <c:pt idx="1">
                  <c:v>Av Price/Vol 55.72</c:v>
                </c:pt>
                <c:pt idx="2">
                  <c:v>Av Price/Vol 21.52</c:v>
                </c:pt>
              </c:strCache>
            </c:strRef>
          </c:cat>
          <c:val>
            <c:numRef>
              <c:f>Sheet1!$C$2:$C$4</c:f>
              <c:numCache>
                <c:formatCode>General</c:formatCode>
                <c:ptCount val="3"/>
                <c:pt idx="0">
                  <c:v>5.5811999999999999</c:v>
                </c:pt>
                <c:pt idx="1">
                  <c:v>27.950199999999999</c:v>
                </c:pt>
                <c:pt idx="2">
                  <c:v>10.676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08</c:v>
                </c:pt>
                <c:pt idx="1">
                  <c:v>Av Price/Vol 55.72</c:v>
                </c:pt>
                <c:pt idx="2">
                  <c:v>Av Price/Vol 21.52</c:v>
                </c:pt>
              </c:strCache>
            </c:strRef>
          </c:cat>
          <c:val>
            <c:numRef>
              <c:f>Sheet1!$D$2:$D$4</c:f>
              <c:numCache>
                <c:formatCode>General</c:formatCode>
                <c:ptCount val="3"/>
                <c:pt idx="0">
                  <c:v>0.3851</c:v>
                </c:pt>
                <c:pt idx="1">
                  <c:v>-1.8E-3</c:v>
                </c:pt>
                <c:pt idx="2">
                  <c:v>-2.574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08</c:v>
                </c:pt>
                <c:pt idx="1">
                  <c:v>Av Price/Vol 55.72</c:v>
                </c:pt>
                <c:pt idx="2">
                  <c:v>Av Price/Vol 21.52</c:v>
                </c:pt>
              </c:strCache>
            </c:strRef>
          </c:cat>
          <c:val>
            <c:numRef>
              <c:f>Sheet1!$E$2:$E$4</c:f>
              <c:numCache>
                <c:formatCode>General</c:formatCode>
                <c:ptCount val="3"/>
                <c:pt idx="0">
                  <c:v>2.3468133098161572</c:v>
                </c:pt>
                <c:pt idx="1">
                  <c:v>9.2800026903786925</c:v>
                </c:pt>
                <c:pt idx="2">
                  <c:v>3.971688034188036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09</c:v>
                </c:pt>
                <c:pt idx="1">
                  <c:v>Av Price/Vol 57.55</c:v>
                </c:pt>
                <c:pt idx="2">
                  <c:v>Av Price/Vol 23.08</c:v>
                </c:pt>
              </c:strCache>
            </c:strRef>
          </c:cat>
          <c:val>
            <c:numRef>
              <c:f>Sheet1!$B$2:$B$4</c:f>
              <c:numCache>
                <c:formatCode>General</c:formatCode>
                <c:ptCount val="3"/>
                <c:pt idx="0">
                  <c:v>5.734</c:v>
                </c:pt>
                <c:pt idx="1">
                  <c:v>18.9374</c:v>
                </c:pt>
                <c:pt idx="2">
                  <c:v>12.80310000000000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09</c:v>
                </c:pt>
                <c:pt idx="1">
                  <c:v>Av Price/Vol 57.55</c:v>
                </c:pt>
                <c:pt idx="2">
                  <c:v>Av Price/Vol 23.08</c:v>
                </c:pt>
              </c:strCache>
            </c:strRef>
          </c:cat>
          <c:val>
            <c:numRef>
              <c:f>Sheet1!$C$2:$C$4</c:f>
              <c:numCache>
                <c:formatCode>General</c:formatCode>
                <c:ptCount val="3"/>
                <c:pt idx="0">
                  <c:v>5.5686</c:v>
                </c:pt>
                <c:pt idx="1">
                  <c:v>28.526599999999998</c:v>
                </c:pt>
                <c:pt idx="2">
                  <c:v>11.35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09</c:v>
                </c:pt>
                <c:pt idx="1">
                  <c:v>Av Price/Vol 57.55</c:v>
                </c:pt>
                <c:pt idx="2">
                  <c:v>Av Price/Vol 23.08</c:v>
                </c:pt>
              </c:strCache>
            </c:strRef>
          </c:cat>
          <c:val>
            <c:numRef>
              <c:f>Sheet1!$D$2:$D$4</c:f>
              <c:numCache>
                <c:formatCode>General</c:formatCode>
                <c:ptCount val="3"/>
                <c:pt idx="0">
                  <c:v>0.4299</c:v>
                </c:pt>
                <c:pt idx="1">
                  <c:v>0.36120000000000002</c:v>
                </c:pt>
                <c:pt idx="2">
                  <c:v>-2.728299999999999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09</c:v>
                </c:pt>
                <c:pt idx="1">
                  <c:v>Av Price/Vol 57.55</c:v>
                </c:pt>
                <c:pt idx="2">
                  <c:v>Av Price/Vol 23.08</c:v>
                </c:pt>
              </c:strCache>
            </c:strRef>
          </c:cat>
          <c:val>
            <c:numRef>
              <c:f>Sheet1!$E$2:$E$4</c:f>
              <c:numCache>
                <c:formatCode>General</c:formatCode>
                <c:ptCount val="3"/>
                <c:pt idx="0">
                  <c:v>2.3472692344383064</c:v>
                </c:pt>
                <c:pt idx="1">
                  <c:v>9.574471575499631</c:v>
                </c:pt>
                <c:pt idx="2">
                  <c:v>4.287461013424945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06</c:v>
                </c:pt>
                <c:pt idx="1">
                  <c:v>Av Price/Vol 55.73</c:v>
                </c:pt>
                <c:pt idx="2">
                  <c:v>Av Price/Vol 23.02</c:v>
                </c:pt>
              </c:strCache>
            </c:strRef>
          </c:cat>
          <c:val>
            <c:numRef>
              <c:f>Sheet1!$B$2:$B$4</c:f>
              <c:numCache>
                <c:formatCode>General</c:formatCode>
                <c:ptCount val="3"/>
                <c:pt idx="0">
                  <c:v>5.7786999999999997</c:v>
                </c:pt>
                <c:pt idx="1">
                  <c:v>18.4514</c:v>
                </c:pt>
                <c:pt idx="2">
                  <c:v>12.91419999999999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06</c:v>
                </c:pt>
                <c:pt idx="1">
                  <c:v>Av Price/Vol 55.73</c:v>
                </c:pt>
                <c:pt idx="2">
                  <c:v>Av Price/Vol 23.02</c:v>
                </c:pt>
              </c:strCache>
            </c:strRef>
          </c:cat>
          <c:val>
            <c:numRef>
              <c:f>Sheet1!$C$2:$C$4</c:f>
              <c:numCache>
                <c:formatCode>General</c:formatCode>
                <c:ptCount val="3"/>
                <c:pt idx="0">
                  <c:v>5.5106000000000002</c:v>
                </c:pt>
                <c:pt idx="1">
                  <c:v>27.657</c:v>
                </c:pt>
                <c:pt idx="2">
                  <c:v>11.468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06</c:v>
                </c:pt>
                <c:pt idx="1">
                  <c:v>Av Price/Vol 55.73</c:v>
                </c:pt>
                <c:pt idx="2">
                  <c:v>Av Price/Vol 23.02</c:v>
                </c:pt>
              </c:strCache>
            </c:strRef>
          </c:cat>
          <c:val>
            <c:numRef>
              <c:f>Sheet1!$D$2:$D$4</c:f>
              <c:numCache>
                <c:formatCode>General</c:formatCode>
                <c:ptCount val="3"/>
                <c:pt idx="0">
                  <c:v>0.4209</c:v>
                </c:pt>
                <c:pt idx="1">
                  <c:v>0.26019999999999999</c:v>
                </c:pt>
                <c:pt idx="2">
                  <c:v>-2.829400000000000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06</c:v>
                </c:pt>
                <c:pt idx="1">
                  <c:v>Av Price/Vol 55.73</c:v>
                </c:pt>
                <c:pt idx="2">
                  <c:v>Av Price/Vol 23.02</c:v>
                </c:pt>
              </c:strCache>
            </c:strRef>
          </c:cat>
          <c:val>
            <c:numRef>
              <c:f>Sheet1!$E$2:$E$4</c:f>
              <c:numCache>
                <c:formatCode>General</c:formatCode>
                <c:ptCount val="3"/>
                <c:pt idx="0">
                  <c:v>2.3421244382339808</c:v>
                </c:pt>
                <c:pt idx="1">
                  <c:v>9.2756291785488081</c:v>
                </c:pt>
                <c:pt idx="2">
                  <c:v>4.31062395666005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26</c:v>
                </c:pt>
                <c:pt idx="1">
                  <c:v>Av Price/Vol 64.91</c:v>
                </c:pt>
                <c:pt idx="2">
                  <c:v>Av Price/Vol 27.25</c:v>
                </c:pt>
              </c:strCache>
            </c:strRef>
          </c:cat>
          <c:val>
            <c:numRef>
              <c:f>Sheet1!$B$2:$B$4</c:f>
              <c:numCache>
                <c:formatCode>General</c:formatCode>
                <c:ptCount val="3"/>
                <c:pt idx="0">
                  <c:v>5.9058000000000002</c:v>
                </c:pt>
                <c:pt idx="1">
                  <c:v>21.183299999999999</c:v>
                </c:pt>
                <c:pt idx="2">
                  <c:v>15.62550000000000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26</c:v>
                </c:pt>
                <c:pt idx="1">
                  <c:v>Av Price/Vol 64.91</c:v>
                </c:pt>
                <c:pt idx="2">
                  <c:v>Av Price/Vol 27.25</c:v>
                </c:pt>
              </c:strCache>
            </c:strRef>
          </c:cat>
          <c:val>
            <c:numRef>
              <c:f>Sheet1!$C$2:$C$4</c:f>
              <c:numCache>
                <c:formatCode>General</c:formatCode>
                <c:ptCount val="3"/>
                <c:pt idx="0">
                  <c:v>5.4218999999999999</c:v>
                </c:pt>
                <c:pt idx="1">
                  <c:v>32.004300000000001</c:v>
                </c:pt>
                <c:pt idx="2">
                  <c:v>13.14460000000000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26</c:v>
                </c:pt>
                <c:pt idx="1">
                  <c:v>Av Price/Vol 64.91</c:v>
                </c:pt>
                <c:pt idx="2">
                  <c:v>Av Price/Vol 27.25</c:v>
                </c:pt>
              </c:strCache>
            </c:strRef>
          </c:cat>
          <c:val>
            <c:numRef>
              <c:f>Sheet1!$D$2:$D$4</c:f>
              <c:numCache>
                <c:formatCode>General</c:formatCode>
                <c:ptCount val="3"/>
                <c:pt idx="0">
                  <c:v>0.5514</c:v>
                </c:pt>
                <c:pt idx="1">
                  <c:v>0.61109999999999998</c:v>
                </c:pt>
                <c:pt idx="2">
                  <c:v>-3.223599999999999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26</c:v>
                </c:pt>
                <c:pt idx="1">
                  <c:v>Av Price/Vol 64.91</c:v>
                </c:pt>
                <c:pt idx="2">
                  <c:v>Av Price/Vol 27.25</c:v>
                </c:pt>
              </c:strCache>
            </c:strRef>
          </c:cat>
          <c:val>
            <c:numRef>
              <c:f>Sheet1!$E$2:$E$4</c:f>
              <c:numCache>
                <c:formatCode>General</c:formatCode>
                <c:ptCount val="3"/>
                <c:pt idx="0">
                  <c:v>2.3763223764994819</c:v>
                </c:pt>
                <c:pt idx="1">
                  <c:v>10.778514230933476</c:v>
                </c:pt>
                <c:pt idx="2">
                  <c:v>5.109270088802255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3.70</c:v>
                </c:pt>
                <c:pt idx="1">
                  <c:v>Av Price/Vol 58.76</c:v>
                </c:pt>
                <c:pt idx="2">
                  <c:v>Av Price/Vol 23.30</c:v>
                </c:pt>
              </c:strCache>
            </c:strRef>
          </c:cat>
          <c:val>
            <c:numRef>
              <c:f>Sheet1!$B$2:$B$4</c:f>
              <c:numCache>
                <c:formatCode>General</c:formatCode>
                <c:ptCount val="3"/>
                <c:pt idx="0">
                  <c:v>5.4260000000000002</c:v>
                </c:pt>
                <c:pt idx="1">
                  <c:v>19.338899999999999</c:v>
                </c:pt>
                <c:pt idx="2">
                  <c:v>12.509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3.70</c:v>
                </c:pt>
                <c:pt idx="1">
                  <c:v>Av Price/Vol 58.76</c:v>
                </c:pt>
                <c:pt idx="2">
                  <c:v>Av Price/Vol 23.30</c:v>
                </c:pt>
              </c:strCache>
            </c:strRef>
          </c:cat>
          <c:val>
            <c:numRef>
              <c:f>Sheet1!$C$2:$C$4</c:f>
              <c:numCache>
                <c:formatCode>General</c:formatCode>
                <c:ptCount val="3"/>
                <c:pt idx="0">
                  <c:v>5.5331999999999999</c:v>
                </c:pt>
                <c:pt idx="1">
                  <c:v>28.773599999999998</c:v>
                </c:pt>
                <c:pt idx="2">
                  <c:v>10.989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3.70</c:v>
                </c:pt>
                <c:pt idx="1">
                  <c:v>Av Price/Vol 58.76</c:v>
                </c:pt>
                <c:pt idx="2">
                  <c:v>Av Price/Vol 23.30</c:v>
                </c:pt>
              </c:strCache>
            </c:strRef>
          </c:cat>
          <c:val>
            <c:numRef>
              <c:f>Sheet1!$D$2:$D$4</c:f>
              <c:numCache>
                <c:formatCode>General</c:formatCode>
                <c:ptCount val="3"/>
                <c:pt idx="0">
                  <c:v>0.37690000000000001</c:v>
                </c:pt>
                <c:pt idx="1">
                  <c:v>0.66449999999999998</c:v>
                </c:pt>
                <c:pt idx="2">
                  <c:v>-2.439000000000000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3.70</c:v>
                </c:pt>
                <c:pt idx="1">
                  <c:v>Av Price/Vol 58.76</c:v>
                </c:pt>
                <c:pt idx="2">
                  <c:v>Av Price/Vol 23.30</c:v>
                </c:pt>
              </c:strCache>
            </c:strRef>
          </c:cat>
          <c:val>
            <c:numRef>
              <c:f>Sheet1!$E$2:$E$4</c:f>
              <c:numCache>
                <c:formatCode>General</c:formatCode>
                <c:ptCount val="3"/>
                <c:pt idx="0">
                  <c:v>2.2679584808652997</c:v>
                </c:pt>
                <c:pt idx="1">
                  <c:v>9.7748681193308702</c:v>
                </c:pt>
                <c:pt idx="2">
                  <c:v>4.211999022482894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5.44</c:v>
                </c:pt>
                <c:pt idx="1">
                  <c:v>Av Price/Vol 53.49</c:v>
                </c:pt>
                <c:pt idx="2">
                  <c:v>Av Price/Vol 22.94</c:v>
                </c:pt>
              </c:strCache>
            </c:strRef>
          </c:cat>
          <c:val>
            <c:numRef>
              <c:f>Sheet1!$B$2:$B$4</c:f>
              <c:numCache>
                <c:formatCode>General</c:formatCode>
                <c:ptCount val="3"/>
                <c:pt idx="0">
                  <c:v>5.2031000000000001</c:v>
                </c:pt>
                <c:pt idx="1">
                  <c:v>17.265999999999998</c:v>
                </c:pt>
                <c:pt idx="2">
                  <c:v>11.885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5.44</c:v>
                </c:pt>
                <c:pt idx="1">
                  <c:v>Av Price/Vol 53.49</c:v>
                </c:pt>
                <c:pt idx="2">
                  <c:v>Av Price/Vol 22.94</c:v>
                </c:pt>
              </c:strCache>
            </c:strRef>
          </c:cat>
          <c:val>
            <c:numRef>
              <c:f>Sheet1!$C$2:$C$4</c:f>
              <c:numCache>
                <c:formatCode>General</c:formatCode>
                <c:ptCount val="3"/>
                <c:pt idx="0">
                  <c:v>7.3693999999999997</c:v>
                </c:pt>
                <c:pt idx="1">
                  <c:v>27.136800000000001</c:v>
                </c:pt>
                <c:pt idx="2">
                  <c:v>10.84110000000000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5.44</c:v>
                </c:pt>
                <c:pt idx="1">
                  <c:v>Av Price/Vol 53.49</c:v>
                </c:pt>
                <c:pt idx="2">
                  <c:v>Av Price/Vol 22.94</c:v>
                </c:pt>
              </c:strCache>
            </c:strRef>
          </c:cat>
          <c:val>
            <c:numRef>
              <c:f>Sheet1!$D$2:$D$4</c:f>
              <c:numCache>
                <c:formatCode>General</c:formatCode>
                <c:ptCount val="3"/>
                <c:pt idx="0">
                  <c:v>0.2999</c:v>
                </c:pt>
                <c:pt idx="1">
                  <c:v>7.5999999999999998E-2</c:v>
                </c:pt>
                <c:pt idx="2">
                  <c:v>-2.016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5.44</c:v>
                </c:pt>
                <c:pt idx="1">
                  <c:v>Av Price/Vol 53.49</c:v>
                </c:pt>
                <c:pt idx="2">
                  <c:v>Av Price/Vol 22.94</c:v>
                </c:pt>
              </c:strCache>
            </c:strRef>
          </c:cat>
          <c:val>
            <c:numRef>
              <c:f>Sheet1!$E$2:$E$4</c:f>
              <c:numCache>
                <c:formatCode>General</c:formatCode>
                <c:ptCount val="3"/>
                <c:pt idx="0">
                  <c:v>2.5763544891640868</c:v>
                </c:pt>
                <c:pt idx="1">
                  <c:v>8.9434113552613148</c:v>
                </c:pt>
                <c:pt idx="2">
                  <c:v>4.1462297392529939</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3.43</c:v>
                </c:pt>
                <c:pt idx="1">
                  <c:v>Av Price/Vol 54.08</c:v>
                </c:pt>
                <c:pt idx="2">
                  <c:v>Av Price/Vol 21.66</c:v>
                </c:pt>
              </c:strCache>
            </c:strRef>
          </c:cat>
          <c:val>
            <c:numRef>
              <c:f>Sheet1!$B$2:$B$4</c:f>
              <c:numCache>
                <c:formatCode>General</c:formatCode>
                <c:ptCount val="3"/>
                <c:pt idx="0">
                  <c:v>5.4100999999999999</c:v>
                </c:pt>
                <c:pt idx="1">
                  <c:v>17.505500000000001</c:v>
                </c:pt>
                <c:pt idx="2">
                  <c:v>11.135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3.43</c:v>
                </c:pt>
                <c:pt idx="1">
                  <c:v>Av Price/Vol 54.08</c:v>
                </c:pt>
                <c:pt idx="2">
                  <c:v>Av Price/Vol 21.66</c:v>
                </c:pt>
              </c:strCache>
            </c:strRef>
          </c:cat>
          <c:val>
            <c:numRef>
              <c:f>Sheet1!$C$2:$C$4</c:f>
              <c:numCache>
                <c:formatCode>General</c:formatCode>
                <c:ptCount val="3"/>
                <c:pt idx="0">
                  <c:v>5.3973000000000004</c:v>
                </c:pt>
                <c:pt idx="1">
                  <c:v>26.632200000000001</c:v>
                </c:pt>
                <c:pt idx="2">
                  <c:v>10.362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3.43</c:v>
                </c:pt>
                <c:pt idx="1">
                  <c:v>Av Price/Vol 54.08</c:v>
                </c:pt>
                <c:pt idx="2">
                  <c:v>Av Price/Vol 21.66</c:v>
                </c:pt>
              </c:strCache>
            </c:strRef>
          </c:cat>
          <c:val>
            <c:numRef>
              <c:f>Sheet1!$D$2:$D$4</c:f>
              <c:numCache>
                <c:formatCode>General</c:formatCode>
                <c:ptCount val="3"/>
                <c:pt idx="0">
                  <c:v>0.3619</c:v>
                </c:pt>
                <c:pt idx="1">
                  <c:v>0.72719999999999996</c:v>
                </c:pt>
                <c:pt idx="2">
                  <c:v>-2.037999999999999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3.43</c:v>
                </c:pt>
                <c:pt idx="1">
                  <c:v>Av Price/Vol 54.08</c:v>
                </c:pt>
                <c:pt idx="2">
                  <c:v>Av Price/Vol 21.66</c:v>
                </c:pt>
              </c:strCache>
            </c:strRef>
          </c:cat>
          <c:val>
            <c:numRef>
              <c:f>Sheet1!$E$2:$E$4</c:f>
              <c:numCache>
                <c:formatCode>General</c:formatCode>
                <c:ptCount val="3"/>
                <c:pt idx="0">
                  <c:v>2.2370460819706866</c:v>
                </c:pt>
                <c:pt idx="1">
                  <c:v>9.0019521861542113</c:v>
                </c:pt>
                <c:pt idx="2">
                  <c:v>3.898373983739838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52EF029E-9642-414A-9D9F-B8D93D2F47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81396337-F98B-49D5-920E-057E6B7B6D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FF5-4D9B-9947-2A90D7752FBB}"/>
                </c:ext>
              </c:extLst>
            </c:dLbl>
            <c:dLbl>
              <c:idx val="2"/>
              <c:tx>
                <c:rich>
                  <a:bodyPr/>
                  <a:lstStyle/>
                  <a:p>
                    <a:fld id="{7AFE21FE-622F-4A1A-A1CF-BFD28B64B2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FF5-4D9B-9947-2A90D7752FBB}"/>
                </c:ext>
              </c:extLst>
            </c:dLbl>
            <c:dLbl>
              <c:idx val="3"/>
              <c:tx>
                <c:rich>
                  <a:bodyPr/>
                  <a:lstStyle/>
                  <a:p>
                    <a:fld id="{E0FBC53D-1EA3-403E-85ED-768022FD09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6E58A66B-7B1E-45CA-AA7B-AA065D3811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224E7F81-FD51-4F4F-AA74-AFC4D8016D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CB48AC61-3527-47AC-8185-7991234A09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71548E9B-A376-4083-A3F9-B9857DF342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3.406300000000002</c:v>
                </c:pt>
              </c:numCache>
            </c:numRef>
          </c:xVal>
          <c:yVal>
            <c:numRef>
              <c:f>Sheet1!$B$2:$B$2</c:f>
              <c:numCache>
                <c:formatCode>General</c:formatCode>
                <c:ptCount val="1"/>
                <c:pt idx="0">
                  <c:v>0.43730000000000002</c:v>
                </c:pt>
              </c:numCache>
            </c:numRef>
          </c:yVal>
          <c:bubbleSize>
            <c:numRef>
              <c:f>Sheet1!$C$2:$C$2</c:f>
              <c:numCache>
                <c:formatCode>General</c:formatCode>
                <c:ptCount val="1"/>
                <c:pt idx="0">
                  <c:v>2409430.9646999971</c:v>
                </c:pt>
              </c:numCache>
            </c:numRef>
          </c:bubbleSize>
          <c:bubble3D val="0"/>
          <c:extLst>
            <c:ext xmlns:c15="http://schemas.microsoft.com/office/drawing/2012/chart" uri="{02D57815-91ED-43cb-92C2-25804820EDAC}">
              <c15:datalabelsRange>
                <c15:f>Sheet1!$E$2:$E$29</c15:f>
                <c15:dlblRangeCache>
                  <c:ptCount val="28"/>
                  <c:pt idx="0">
                    <c:v>NICOLAS</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40.087560000000003"/>
          <c:min val="26.725040000000003"/>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730000000000002"/>
        <c:crossBetween val="midCat"/>
      </c:valAx>
      <c:valAx>
        <c:axId val="1011451359"/>
        <c:scaling>
          <c:orientation val="minMax"/>
          <c:max val="0.8847600000000001"/>
          <c:min val="0.10984000000000003"/>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3.40630000000000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E6E5E5"/>
              </a:solidFill>
            </c:spPr>
            <c:extLst>
              <c:ext xmlns:c16="http://schemas.microsoft.com/office/drawing/2014/chart" uri="{C3380CC4-5D6E-409C-BE32-E72D297353CC}">
                <c16:uniqueId val="{00000005-CFF5-4D9B-9947-2A90D7752FBB}"/>
              </c:ext>
            </c:extLst>
          </c:dPt>
          <c:dPt>
            <c:idx val="3"/>
            <c:invertIfNegative val="0"/>
            <c:bubble3D val="0"/>
            <c:spPr>
              <a:solidFill>
                <a:srgbClr val="7ECAC4"/>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E6E5E5"/>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54CE9C44-0C50-4643-A025-7CB6366337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E62FAE46-AA41-4291-AF2F-8E733B0874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C9E110DD-F52D-401A-ACD0-983998AFB9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7A1C4F22-9A1A-4620-AB57-06FFE96365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02612C58-98C7-4323-ACE8-9AA6FB5396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04BB6C53-B3AC-4A7A-8602-28686406E3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89CE1AAD-D656-4D50-828B-1987C40A61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7D80F730-81C3-473B-A064-5BC0CC0526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1.3276</c:v>
                </c:pt>
                <c:pt idx="1">
                  <c:v>11.0335</c:v>
                </c:pt>
                <c:pt idx="2">
                  <c:v>11.289300000000001</c:v>
                </c:pt>
                <c:pt idx="3">
                  <c:v>11.5503</c:v>
                </c:pt>
                <c:pt idx="4">
                  <c:v>11.3459</c:v>
                </c:pt>
              </c:numCache>
            </c:numRef>
          </c:xVal>
          <c:yVal>
            <c:numRef>
              <c:f>Sheet1!$B$2:$B$6</c:f>
              <c:numCache>
                <c:formatCode>General</c:formatCode>
                <c:ptCount val="5"/>
                <c:pt idx="0">
                  <c:v>0.52139999999999997</c:v>
                </c:pt>
                <c:pt idx="1">
                  <c:v>0.4924</c:v>
                </c:pt>
                <c:pt idx="2">
                  <c:v>0.51190000000000002</c:v>
                </c:pt>
                <c:pt idx="3">
                  <c:v>0.50780000000000003</c:v>
                </c:pt>
                <c:pt idx="4">
                  <c:v>0.5081</c:v>
                </c:pt>
              </c:numCache>
            </c:numRef>
          </c:yVal>
          <c:bubbleSize>
            <c:numRef>
              <c:f>Sheet1!$C$2:$C$6</c:f>
              <c:numCache>
                <c:formatCode>General</c:formatCode>
                <c:ptCount val="5"/>
                <c:pt idx="0">
                  <c:v>159900.8538999999</c:v>
                </c:pt>
                <c:pt idx="1">
                  <c:v>179051.5662</c:v>
                </c:pt>
                <c:pt idx="2">
                  <c:v>1631970.031999999</c:v>
                </c:pt>
                <c:pt idx="3">
                  <c:v>370601.60829999991</c:v>
                </c:pt>
                <c:pt idx="4">
                  <c:v>669000.77550000022</c:v>
                </c:pt>
              </c:numCache>
            </c:numRef>
          </c:bubbleSize>
          <c:bubble3D val="0"/>
          <c:extLst>
            <c:ext xmlns:c15="http://schemas.microsoft.com/office/drawing/2012/chart" uri="{02D57815-91ED-43cb-92C2-25804820EDAC}">
              <c15:datalabelsRange>
                <c15:f>Sheet1!$E$2:$E$29</c15:f>
                <c15:dlblRangeCache>
                  <c:ptCount val="28"/>
                  <c:pt idx="0">
                    <c:v>NICOLAS QCA</c:v>
                  </c:pt>
                  <c:pt idx="1">
                    <c:v>NICOLAS CCP</c:v>
                  </c:pt>
                  <c:pt idx="2">
                    <c:v>NICOLAS QCN</c:v>
                  </c:pt>
                  <c:pt idx="3">
                    <c:v>NICOLAS QCT</c:v>
                  </c:pt>
                  <c:pt idx="4">
                    <c:v>NICOLAS VCN</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3.86036"/>
          <c:min val="8.826800000000000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50989565946182391"/>
        <c:crossBetween val="midCat"/>
      </c:valAx>
      <c:valAx>
        <c:axId val="1011451359"/>
        <c:scaling>
          <c:orientation val="minMax"/>
          <c:max val="0.98567999999999989"/>
          <c:min val="0.15392000000000003"/>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1.32082781687703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06</c:v>
                </c:pt>
                <c:pt idx="1">
                  <c:v>Av Price/Vol 56.34</c:v>
                </c:pt>
                <c:pt idx="2">
                  <c:v>Av Price/Vol 23.11</c:v>
                </c:pt>
              </c:strCache>
            </c:strRef>
          </c:cat>
          <c:val>
            <c:numRef>
              <c:f>Sheet1!$B$2:$B$4</c:f>
              <c:numCache>
                <c:formatCode>General</c:formatCode>
                <c:ptCount val="3"/>
                <c:pt idx="0">
                  <c:v>5.6931000000000003</c:v>
                </c:pt>
                <c:pt idx="1">
                  <c:v>18.546299999999999</c:v>
                </c:pt>
                <c:pt idx="2">
                  <c:v>12.893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06</c:v>
                </c:pt>
                <c:pt idx="1">
                  <c:v>Av Price/Vol 56.34</c:v>
                </c:pt>
                <c:pt idx="2">
                  <c:v>Av Price/Vol 23.11</c:v>
                </c:pt>
              </c:strCache>
            </c:strRef>
          </c:cat>
          <c:val>
            <c:numRef>
              <c:f>Sheet1!$C$2:$C$4</c:f>
              <c:numCache>
                <c:formatCode>General</c:formatCode>
                <c:ptCount val="3"/>
                <c:pt idx="0">
                  <c:v>5.6066000000000003</c:v>
                </c:pt>
                <c:pt idx="1">
                  <c:v>27.963799999999999</c:v>
                </c:pt>
                <c:pt idx="2">
                  <c:v>11.53700000000000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06</c:v>
                </c:pt>
                <c:pt idx="1">
                  <c:v>Av Price/Vol 56.34</c:v>
                </c:pt>
                <c:pt idx="2">
                  <c:v>Av Price/Vol 23.11</c:v>
                </c:pt>
              </c:strCache>
            </c:strRef>
          </c:cat>
          <c:val>
            <c:numRef>
              <c:f>Sheet1!$D$2:$D$4</c:f>
              <c:numCache>
                <c:formatCode>General</c:formatCode>
                <c:ptCount val="3"/>
                <c:pt idx="0">
                  <c:v>0.40870000000000001</c:v>
                </c:pt>
                <c:pt idx="1">
                  <c:v>0.33729999999999999</c:v>
                </c:pt>
                <c:pt idx="2">
                  <c:v>-2.787599999999999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06</c:v>
                </c:pt>
                <c:pt idx="1">
                  <c:v>Av Price/Vol 56.34</c:v>
                </c:pt>
                <c:pt idx="2">
                  <c:v>Av Price/Vol 23.11</c:v>
                </c:pt>
              </c:strCache>
            </c:strRef>
          </c:cat>
          <c:val>
            <c:numRef>
              <c:f>Sheet1!$E$2:$E$4</c:f>
              <c:numCache>
                <c:formatCode>General</c:formatCode>
                <c:ptCount val="3"/>
                <c:pt idx="0">
                  <c:v>2.3421150172497356</c:v>
                </c:pt>
                <c:pt idx="1">
                  <c:v>9.3774860779633666</c:v>
                </c:pt>
                <c:pt idx="2">
                  <c:v>4.328584846587351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3.92</c:v>
                </c:pt>
                <c:pt idx="1">
                  <c:v>Av Price/Vol 61.19</c:v>
                </c:pt>
                <c:pt idx="2">
                  <c:v>Av Price/Vol 24.48</c:v>
                </c:pt>
              </c:strCache>
            </c:strRef>
          </c:cat>
          <c:val>
            <c:numRef>
              <c:f>Sheet1!$B$2:$B$4</c:f>
              <c:numCache>
                <c:formatCode>General</c:formatCode>
                <c:ptCount val="3"/>
                <c:pt idx="0">
                  <c:v>5.7712000000000003</c:v>
                </c:pt>
                <c:pt idx="1">
                  <c:v>20.185199999999998</c:v>
                </c:pt>
                <c:pt idx="2">
                  <c:v>13.86170000000000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3.92</c:v>
                </c:pt>
                <c:pt idx="1">
                  <c:v>Av Price/Vol 61.19</c:v>
                </c:pt>
                <c:pt idx="2">
                  <c:v>Av Price/Vol 24.48</c:v>
                </c:pt>
              </c:strCache>
            </c:strRef>
          </c:cat>
          <c:val>
            <c:numRef>
              <c:f>Sheet1!$C$2:$C$4</c:f>
              <c:numCache>
                <c:formatCode>General</c:formatCode>
                <c:ptCount val="3"/>
                <c:pt idx="0">
                  <c:v>5.4019000000000004</c:v>
                </c:pt>
                <c:pt idx="1">
                  <c:v>30.441199999999998</c:v>
                </c:pt>
                <c:pt idx="2">
                  <c:v>12.02950000000000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3.92</c:v>
                </c:pt>
                <c:pt idx="1">
                  <c:v>Av Price/Vol 61.19</c:v>
                </c:pt>
                <c:pt idx="2">
                  <c:v>Av Price/Vol 24.48</c:v>
                </c:pt>
              </c:strCache>
            </c:strRef>
          </c:cat>
          <c:val>
            <c:numRef>
              <c:f>Sheet1!$D$2:$D$4</c:f>
              <c:numCache>
                <c:formatCode>General</c:formatCode>
                <c:ptCount val="3"/>
                <c:pt idx="0">
                  <c:v>0.41220000000000001</c:v>
                </c:pt>
                <c:pt idx="1">
                  <c:v>0.17119999999999999</c:v>
                </c:pt>
                <c:pt idx="2">
                  <c:v>-3.089500000000000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3.92</c:v>
                </c:pt>
                <c:pt idx="1">
                  <c:v>Av Price/Vol 61.19</c:v>
                </c:pt>
                <c:pt idx="2">
                  <c:v>Av Price/Vol 24.48</c:v>
                </c:pt>
              </c:strCache>
            </c:strRef>
          </c:cat>
          <c:val>
            <c:numRef>
              <c:f>Sheet1!$E$2:$E$4</c:f>
              <c:numCache>
                <c:formatCode>General</c:formatCode>
                <c:ptCount val="3"/>
                <c:pt idx="0">
                  <c:v>2.3173117532458702</c:v>
                </c:pt>
                <c:pt idx="1">
                  <c:v>10.16859702559138</c:v>
                </c:pt>
                <c:pt idx="2">
                  <c:v>4.56066739322227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34</c:v>
                </c:pt>
                <c:pt idx="1">
                  <c:v>Av Price/Vol 56.20</c:v>
                </c:pt>
                <c:pt idx="2">
                  <c:v>Av Price/Vol 22.02</c:v>
                </c:pt>
              </c:strCache>
            </c:strRef>
          </c:cat>
          <c:val>
            <c:numRef>
              <c:f>Sheet1!$B$2:$B$4</c:f>
              <c:numCache>
                <c:formatCode>General</c:formatCode>
                <c:ptCount val="3"/>
                <c:pt idx="0">
                  <c:v>5.7558999999999996</c:v>
                </c:pt>
                <c:pt idx="1">
                  <c:v>18.5688</c:v>
                </c:pt>
                <c:pt idx="2">
                  <c:v>12.101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34</c:v>
                </c:pt>
                <c:pt idx="1">
                  <c:v>Av Price/Vol 56.20</c:v>
                </c:pt>
                <c:pt idx="2">
                  <c:v>Av Price/Vol 22.02</c:v>
                </c:pt>
              </c:strCache>
            </c:strRef>
          </c:cat>
          <c:val>
            <c:numRef>
              <c:f>Sheet1!$C$2:$C$4</c:f>
              <c:numCache>
                <c:formatCode>General</c:formatCode>
                <c:ptCount val="3"/>
                <c:pt idx="0">
                  <c:v>5.7458999999999998</c:v>
                </c:pt>
                <c:pt idx="1">
                  <c:v>27.8124</c:v>
                </c:pt>
                <c:pt idx="2">
                  <c:v>11.01030000000000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34</c:v>
                </c:pt>
                <c:pt idx="1">
                  <c:v>Av Price/Vol 56.20</c:v>
                </c:pt>
                <c:pt idx="2">
                  <c:v>Av Price/Vol 22.02</c:v>
                </c:pt>
              </c:strCache>
            </c:strRef>
          </c:cat>
          <c:val>
            <c:numRef>
              <c:f>Sheet1!$D$2:$D$4</c:f>
              <c:numCache>
                <c:formatCode>General</c:formatCode>
                <c:ptCount val="3"/>
                <c:pt idx="0">
                  <c:v>0.43490000000000001</c:v>
                </c:pt>
                <c:pt idx="1">
                  <c:v>0.3735</c:v>
                </c:pt>
                <c:pt idx="2">
                  <c:v>-2.609500000000000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34</c:v>
                </c:pt>
                <c:pt idx="1">
                  <c:v>Av Price/Vol 56.20</c:v>
                </c:pt>
                <c:pt idx="2">
                  <c:v>Av Price/Vol 22.02</c:v>
                </c:pt>
              </c:strCache>
            </c:strRef>
          </c:cat>
          <c:val>
            <c:numRef>
              <c:f>Sheet1!$E$2:$E$4</c:f>
              <c:numCache>
                <c:formatCode>General</c:formatCode>
                <c:ptCount val="3"/>
                <c:pt idx="0">
                  <c:v>2.3875231777401673</c:v>
                </c:pt>
                <c:pt idx="1">
                  <c:v>9.3561841071089731</c:v>
                </c:pt>
                <c:pt idx="2">
                  <c:v>4.100459590704125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13</c:v>
                </c:pt>
                <c:pt idx="1">
                  <c:v>Av Price/Vol 55.45</c:v>
                </c:pt>
                <c:pt idx="2">
                  <c:v>Av Price/Vol 21.39</c:v>
                </c:pt>
              </c:strCache>
            </c:strRef>
          </c:cat>
          <c:val>
            <c:numRef>
              <c:f>Sheet1!$B$2:$B$4</c:f>
              <c:numCache>
                <c:formatCode>General</c:formatCode>
                <c:ptCount val="3"/>
                <c:pt idx="0">
                  <c:v>5.6494</c:v>
                </c:pt>
                <c:pt idx="1">
                  <c:v>18.215599999999998</c:v>
                </c:pt>
                <c:pt idx="2">
                  <c:v>11.467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13</c:v>
                </c:pt>
                <c:pt idx="1">
                  <c:v>Av Price/Vol 55.45</c:v>
                </c:pt>
                <c:pt idx="2">
                  <c:v>Av Price/Vol 21.39</c:v>
                </c:pt>
              </c:strCache>
            </c:strRef>
          </c:cat>
          <c:val>
            <c:numRef>
              <c:f>Sheet1!$C$2:$C$4</c:f>
              <c:numCache>
                <c:formatCode>General</c:formatCode>
                <c:ptCount val="3"/>
                <c:pt idx="0">
                  <c:v>5.7314999999999996</c:v>
                </c:pt>
                <c:pt idx="1">
                  <c:v>27.498000000000001</c:v>
                </c:pt>
                <c:pt idx="2">
                  <c:v>10.503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13</c:v>
                </c:pt>
                <c:pt idx="1">
                  <c:v>Av Price/Vol 55.45</c:v>
                </c:pt>
                <c:pt idx="2">
                  <c:v>Av Price/Vol 21.39</c:v>
                </c:pt>
              </c:strCache>
            </c:strRef>
          </c:cat>
          <c:val>
            <c:numRef>
              <c:f>Sheet1!$D$2:$D$4</c:f>
              <c:numCache>
                <c:formatCode>General</c:formatCode>
                <c:ptCount val="3"/>
                <c:pt idx="0">
                  <c:v>0.39300000000000002</c:v>
                </c:pt>
                <c:pt idx="1">
                  <c:v>0.39369999999999999</c:v>
                </c:pt>
                <c:pt idx="2">
                  <c:v>-2.412300000000000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13</c:v>
                </c:pt>
                <c:pt idx="1">
                  <c:v>Av Price/Vol 55.45</c:v>
                </c:pt>
                <c:pt idx="2">
                  <c:v>Av Price/Vol 21.39</c:v>
                </c:pt>
              </c:strCache>
            </c:strRef>
          </c:cat>
          <c:val>
            <c:numRef>
              <c:f>Sheet1!$E$2:$E$4</c:f>
              <c:numCache>
                <c:formatCode>General</c:formatCode>
                <c:ptCount val="3"/>
                <c:pt idx="0">
                  <c:v>2.3553242950798858</c:v>
                </c:pt>
                <c:pt idx="1">
                  <c:v>9.2271360206147914</c:v>
                </c:pt>
                <c:pt idx="2">
                  <c:v>3.913096580232996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06</c:v>
                </c:pt>
                <c:pt idx="1">
                  <c:v>Av Price/Vol 56.41</c:v>
                </c:pt>
                <c:pt idx="2">
                  <c:v>Av Price/Vol 23.25</c:v>
                </c:pt>
              </c:strCache>
            </c:strRef>
          </c:cat>
          <c:val>
            <c:numRef>
              <c:f>Sheet1!$B$2:$B$4</c:f>
              <c:numCache>
                <c:formatCode>General</c:formatCode>
                <c:ptCount val="3"/>
                <c:pt idx="0">
                  <c:v>5.8101000000000003</c:v>
                </c:pt>
                <c:pt idx="1">
                  <c:v>18.608799999999999</c:v>
                </c:pt>
                <c:pt idx="2">
                  <c:v>12.952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06</c:v>
                </c:pt>
                <c:pt idx="1">
                  <c:v>Av Price/Vol 56.41</c:v>
                </c:pt>
                <c:pt idx="2">
                  <c:v>Av Price/Vol 23.25</c:v>
                </c:pt>
              </c:strCache>
            </c:strRef>
          </c:cat>
          <c:val>
            <c:numRef>
              <c:f>Sheet1!$C$2:$C$4</c:f>
              <c:numCache>
                <c:formatCode>General</c:formatCode>
                <c:ptCount val="3"/>
                <c:pt idx="0">
                  <c:v>5.4724000000000004</c:v>
                </c:pt>
                <c:pt idx="1">
                  <c:v>28.042899999999999</c:v>
                </c:pt>
                <c:pt idx="2">
                  <c:v>11.327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06</c:v>
                </c:pt>
                <c:pt idx="1">
                  <c:v>Av Price/Vol 56.41</c:v>
                </c:pt>
                <c:pt idx="2">
                  <c:v>Av Price/Vol 23.25</c:v>
                </c:pt>
              </c:strCache>
            </c:strRef>
          </c:cat>
          <c:val>
            <c:numRef>
              <c:f>Sheet1!$D$2:$D$4</c:f>
              <c:numCache>
                <c:formatCode>General</c:formatCode>
                <c:ptCount val="3"/>
                <c:pt idx="0">
                  <c:v>0.4284</c:v>
                </c:pt>
                <c:pt idx="1">
                  <c:v>0.28789999999999999</c:v>
                </c:pt>
                <c:pt idx="2">
                  <c:v>-2.751300000000000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06</c:v>
                </c:pt>
                <c:pt idx="1">
                  <c:v>Av Price/Vol 56.41</c:v>
                </c:pt>
                <c:pt idx="2">
                  <c:v>Av Price/Vol 23.25</c:v>
                </c:pt>
              </c:strCache>
            </c:strRef>
          </c:cat>
          <c:val>
            <c:numRef>
              <c:f>Sheet1!$E$2:$E$4</c:f>
              <c:numCache>
                <c:formatCode>General</c:formatCode>
                <c:ptCount val="3"/>
                <c:pt idx="0">
                  <c:v>2.3425511477775856</c:v>
                </c:pt>
                <c:pt idx="1">
                  <c:v>9.3920479853121837</c:v>
                </c:pt>
                <c:pt idx="2">
                  <c:v>4.30686026115766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4.56</c:v>
                </c:pt>
                <c:pt idx="1">
                  <c:v>Av Price/Vol 12.03</c:v>
                </c:pt>
                <c:pt idx="2">
                  <c:v>Av Price/Vol 15.59</c:v>
                </c:pt>
                <c:pt idx="3">
                  <c:v>Av Price/Vol 13.95</c:v>
                </c:pt>
                <c:pt idx="4">
                  <c:v>Av Price/Vol 17.12</c:v>
                </c:pt>
                <c:pt idx="5">
                  <c:v>Av Price/Vol 23.35</c:v>
                </c:pt>
                <c:pt idx="6">
                  <c:v>Av Price/Vol 54.65</c:v>
                </c:pt>
                <c:pt idx="7">
                  <c:v>Av Price/Vol 23.68</c:v>
                </c:pt>
                <c:pt idx="8">
                  <c:v>Av Price/Vol 77.96</c:v>
                </c:pt>
                <c:pt idx="9">
                  <c:v>Av Price/Vol 52.98</c:v>
                </c:pt>
                <c:pt idx="10">
                  <c:v>Av Price/Vol 106.74</c:v>
                </c:pt>
                <c:pt idx="11">
                  <c:v>Av Price/Vol 225.28</c:v>
                </c:pt>
                <c:pt idx="12">
                  <c:v>Av Price/Vol 50.15</c:v>
                </c:pt>
                <c:pt idx="13">
                  <c:v>Av Price/Vol 44.67</c:v>
                </c:pt>
                <c:pt idx="14">
                  <c:v>Av Price/Vol 39.92</c:v>
                </c:pt>
                <c:pt idx="15">
                  <c:v>Av Price/Vol 65.73</c:v>
                </c:pt>
              </c:strCache>
            </c:strRef>
          </c:cat>
          <c:val>
            <c:numRef>
              <c:f>Sheet1!$B$2:$B$17</c:f>
              <c:numCache>
                <c:formatCode>General</c:formatCode>
                <c:ptCount val="16"/>
                <c:pt idx="0">
                  <c:v>5.2919999999999998</c:v>
                </c:pt>
                <c:pt idx="1">
                  <c:v>5.2465000000000002</c:v>
                </c:pt>
                <c:pt idx="2">
                  <c:v>6.4122000000000003</c:v>
                </c:pt>
                <c:pt idx="3">
                  <c:v>4.9955999999999996</c:v>
                </c:pt>
                <c:pt idx="4">
                  <c:v>6.8555000000000001</c:v>
                </c:pt>
                <c:pt idx="5">
                  <c:v>8.6334</c:v>
                </c:pt>
                <c:pt idx="6">
                  <c:v>18.467099999999999</c:v>
                </c:pt>
                <c:pt idx="7">
                  <c:v>13.1151</c:v>
                </c:pt>
                <c:pt idx="8">
                  <c:v>25.378799999999998</c:v>
                </c:pt>
                <c:pt idx="9">
                  <c:v>17.095500000000001</c:v>
                </c:pt>
                <c:pt idx="10">
                  <c:v>35.334499999999998</c:v>
                </c:pt>
                <c:pt idx="11">
                  <c:v>66.1875</c:v>
                </c:pt>
                <c:pt idx="12">
                  <c:v>17.440000000000001</c:v>
                </c:pt>
                <c:pt idx="13">
                  <c:v>15.9274</c:v>
                </c:pt>
                <c:pt idx="14">
                  <c:v>14.621700000000001</c:v>
                </c:pt>
                <c:pt idx="15">
                  <c:v>22.58139999999999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4.56</c:v>
                </c:pt>
                <c:pt idx="1">
                  <c:v>Av Price/Vol 12.03</c:v>
                </c:pt>
                <c:pt idx="2">
                  <c:v>Av Price/Vol 15.59</c:v>
                </c:pt>
                <c:pt idx="3">
                  <c:v>Av Price/Vol 13.95</c:v>
                </c:pt>
                <c:pt idx="4">
                  <c:v>Av Price/Vol 17.12</c:v>
                </c:pt>
                <c:pt idx="5">
                  <c:v>Av Price/Vol 23.35</c:v>
                </c:pt>
                <c:pt idx="6">
                  <c:v>Av Price/Vol 54.65</c:v>
                </c:pt>
                <c:pt idx="7">
                  <c:v>Av Price/Vol 23.68</c:v>
                </c:pt>
                <c:pt idx="8">
                  <c:v>Av Price/Vol 77.96</c:v>
                </c:pt>
                <c:pt idx="9">
                  <c:v>Av Price/Vol 52.98</c:v>
                </c:pt>
                <c:pt idx="10">
                  <c:v>Av Price/Vol 106.74</c:v>
                </c:pt>
                <c:pt idx="11">
                  <c:v>Av Price/Vol 225.28</c:v>
                </c:pt>
                <c:pt idx="12">
                  <c:v>Av Price/Vol 50.15</c:v>
                </c:pt>
                <c:pt idx="13">
                  <c:v>Av Price/Vol 44.67</c:v>
                </c:pt>
                <c:pt idx="14">
                  <c:v>Av Price/Vol 39.92</c:v>
                </c:pt>
                <c:pt idx="15">
                  <c:v>Av Price/Vol 65.73</c:v>
                </c:pt>
              </c:strCache>
            </c:strRef>
          </c:cat>
          <c:val>
            <c:numRef>
              <c:f>Sheet1!$C$2:$C$17</c:f>
              <c:numCache>
                <c:formatCode>General</c:formatCode>
                <c:ptCount val="16"/>
                <c:pt idx="0">
                  <c:v>6.7180999999999997</c:v>
                </c:pt>
                <c:pt idx="1">
                  <c:v>4.4191000000000003</c:v>
                </c:pt>
                <c:pt idx="2">
                  <c:v>6.1680000000000001</c:v>
                </c:pt>
                <c:pt idx="3">
                  <c:v>5.7332000000000001</c:v>
                </c:pt>
                <c:pt idx="4">
                  <c:v>6.5422000000000002</c:v>
                </c:pt>
                <c:pt idx="5">
                  <c:v>10.134499999999999</c:v>
                </c:pt>
                <c:pt idx="6">
                  <c:v>25.335000000000001</c:v>
                </c:pt>
                <c:pt idx="7">
                  <c:v>11.5708</c:v>
                </c:pt>
                <c:pt idx="8">
                  <c:v>37.466500000000003</c:v>
                </c:pt>
                <c:pt idx="9">
                  <c:v>26.7056</c:v>
                </c:pt>
                <c:pt idx="10">
                  <c:v>52.685499999999998</c:v>
                </c:pt>
                <c:pt idx="11">
                  <c:v>112.0861</c:v>
                </c:pt>
                <c:pt idx="12">
                  <c:v>22.625299999999999</c:v>
                </c:pt>
                <c:pt idx="13">
                  <c:v>21.092300000000002</c:v>
                </c:pt>
                <c:pt idx="14">
                  <c:v>18.837399999999999</c:v>
                </c:pt>
                <c:pt idx="15">
                  <c:v>30.26549999999999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4.56</c:v>
                </c:pt>
                <c:pt idx="1">
                  <c:v>Av Price/Vol 12.03</c:v>
                </c:pt>
                <c:pt idx="2">
                  <c:v>Av Price/Vol 15.59</c:v>
                </c:pt>
                <c:pt idx="3">
                  <c:v>Av Price/Vol 13.95</c:v>
                </c:pt>
                <c:pt idx="4">
                  <c:v>Av Price/Vol 17.12</c:v>
                </c:pt>
                <c:pt idx="5">
                  <c:v>Av Price/Vol 23.35</c:v>
                </c:pt>
                <c:pt idx="6">
                  <c:v>Av Price/Vol 54.65</c:v>
                </c:pt>
                <c:pt idx="7">
                  <c:v>Av Price/Vol 23.68</c:v>
                </c:pt>
                <c:pt idx="8">
                  <c:v>Av Price/Vol 77.96</c:v>
                </c:pt>
                <c:pt idx="9">
                  <c:v>Av Price/Vol 52.98</c:v>
                </c:pt>
                <c:pt idx="10">
                  <c:v>Av Price/Vol 106.74</c:v>
                </c:pt>
                <c:pt idx="11">
                  <c:v>Av Price/Vol 225.28</c:v>
                </c:pt>
                <c:pt idx="12">
                  <c:v>Av Price/Vol 50.15</c:v>
                </c:pt>
                <c:pt idx="13">
                  <c:v>Av Price/Vol 44.67</c:v>
                </c:pt>
                <c:pt idx="14">
                  <c:v>Av Price/Vol 39.92</c:v>
                </c:pt>
                <c:pt idx="15">
                  <c:v>Av Price/Vol 65.73</c:v>
                </c:pt>
              </c:strCache>
            </c:strRef>
          </c:cat>
          <c:val>
            <c:numRef>
              <c:f>Sheet1!$D$2:$D$17</c:f>
              <c:numCache>
                <c:formatCode>General</c:formatCode>
                <c:ptCount val="16"/>
                <c:pt idx="0">
                  <c:v>0.13120000000000001</c:v>
                </c:pt>
                <c:pt idx="1">
                  <c:v>0.35820000000000002</c:v>
                </c:pt>
                <c:pt idx="2">
                  <c:v>0.49959999999999999</c:v>
                </c:pt>
                <c:pt idx="3">
                  <c:v>0.88560000000000005</c:v>
                </c:pt>
                <c:pt idx="4">
                  <c:v>0.86780000000000002</c:v>
                </c:pt>
                <c:pt idx="5">
                  <c:v>0.68740000000000001</c:v>
                </c:pt>
                <c:pt idx="6">
                  <c:v>1.1644000000000001</c:v>
                </c:pt>
                <c:pt idx="7">
                  <c:v>-2.8792</c:v>
                </c:pt>
                <c:pt idx="8">
                  <c:v>1.9036999999999999</c:v>
                </c:pt>
                <c:pt idx="9">
                  <c:v>0.28389999999999999</c:v>
                </c:pt>
                <c:pt idx="10">
                  <c:v>1.1429</c:v>
                </c:pt>
                <c:pt idx="11">
                  <c:v>6.8819999999999997</c:v>
                </c:pt>
                <c:pt idx="12">
                  <c:v>1.5195000000000001</c:v>
                </c:pt>
                <c:pt idx="13">
                  <c:v>0.17649999999999999</c:v>
                </c:pt>
                <c:pt idx="14">
                  <c:v>-0.25819999999999999</c:v>
                </c:pt>
                <c:pt idx="15">
                  <c:v>1.750499999999999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4.56</c:v>
                </c:pt>
                <c:pt idx="1">
                  <c:v>Av Price/Vol 12.03</c:v>
                </c:pt>
                <c:pt idx="2">
                  <c:v>Av Price/Vol 15.59</c:v>
                </c:pt>
                <c:pt idx="3">
                  <c:v>Av Price/Vol 13.95</c:v>
                </c:pt>
                <c:pt idx="4">
                  <c:v>Av Price/Vol 17.12</c:v>
                </c:pt>
                <c:pt idx="5">
                  <c:v>Av Price/Vol 23.35</c:v>
                </c:pt>
                <c:pt idx="6">
                  <c:v>Av Price/Vol 54.65</c:v>
                </c:pt>
                <c:pt idx="7">
                  <c:v>Av Price/Vol 23.68</c:v>
                </c:pt>
                <c:pt idx="8">
                  <c:v>Av Price/Vol 77.96</c:v>
                </c:pt>
                <c:pt idx="9">
                  <c:v>Av Price/Vol 52.98</c:v>
                </c:pt>
                <c:pt idx="10">
                  <c:v>Av Price/Vol 106.74</c:v>
                </c:pt>
                <c:pt idx="11">
                  <c:v>Av Price/Vol 225.28</c:v>
                </c:pt>
                <c:pt idx="12">
                  <c:v>Av Price/Vol 50.15</c:v>
                </c:pt>
                <c:pt idx="13">
                  <c:v>Av Price/Vol 44.67</c:v>
                </c:pt>
                <c:pt idx="14">
                  <c:v>Av Price/Vol 39.92</c:v>
                </c:pt>
                <c:pt idx="15">
                  <c:v>Av Price/Vol 65.73</c:v>
                </c:pt>
              </c:strCache>
            </c:strRef>
          </c:cat>
          <c:val>
            <c:numRef>
              <c:f>Sheet1!$E$2:$E$17</c:f>
              <c:numCache>
                <c:formatCode>General</c:formatCode>
                <c:ptCount val="16"/>
                <c:pt idx="0">
                  <c:v>2.4303772851030714</c:v>
                </c:pt>
                <c:pt idx="1">
                  <c:v>2.0049334651670603</c:v>
                </c:pt>
                <c:pt idx="2">
                  <c:v>2.6177901320361285</c:v>
                </c:pt>
                <c:pt idx="3">
                  <c:v>2.3245614035087696</c:v>
                </c:pt>
                <c:pt idx="4">
                  <c:v>2.8531159420289844</c:v>
                </c:pt>
                <c:pt idx="5">
                  <c:v>3.8910526315789475</c:v>
                </c:pt>
                <c:pt idx="6">
                  <c:v>9.1089987325728679</c:v>
                </c:pt>
                <c:pt idx="7">
                  <c:v>4.3621941896024454</c:v>
                </c:pt>
                <c:pt idx="8">
                  <c:v>12.97558299039779</c:v>
                </c:pt>
                <c:pt idx="9">
                  <c:v>8.8232179014589125</c:v>
                </c:pt>
                <c:pt idx="10">
                  <c:v>17.844155105753938</c:v>
                </c:pt>
                <c:pt idx="11">
                  <c:v>37.39943693693683</c:v>
                </c:pt>
                <c:pt idx="12">
                  <c:v>8.3243243243243246</c:v>
                </c:pt>
                <c:pt idx="13">
                  <c:v>7.4426495726495681</c:v>
                </c:pt>
                <c:pt idx="14">
                  <c:v>6.6432557802420833</c:v>
                </c:pt>
                <c:pt idx="15">
                  <c:v>10.954822954822959</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4.15</c:v>
                </c:pt>
                <c:pt idx="1">
                  <c:v>Av Price/Vol 11.52</c:v>
                </c:pt>
                <c:pt idx="2">
                  <c:v>Av Price/Vol 15.21</c:v>
                </c:pt>
                <c:pt idx="3">
                  <c:v>Av Price/Vol 14.27</c:v>
                </c:pt>
                <c:pt idx="4">
                  <c:v>Av Price/Vol 16.50</c:v>
                </c:pt>
                <c:pt idx="5">
                  <c:v>Av Price/Vol 17.65</c:v>
                </c:pt>
                <c:pt idx="6">
                  <c:v>Av Price/Vol 47.88</c:v>
                </c:pt>
                <c:pt idx="7">
                  <c:v>Av Price/Vol 23.40</c:v>
                </c:pt>
                <c:pt idx="8">
                  <c:v>Av Price/Vol 77.27</c:v>
                </c:pt>
                <c:pt idx="9">
                  <c:v>Av Price/Vol 54.52</c:v>
                </c:pt>
                <c:pt idx="10">
                  <c:v>Av Price/Vol 106.99</c:v>
                </c:pt>
                <c:pt idx="11">
                  <c:v>Av Price/Vol 184.57</c:v>
                </c:pt>
                <c:pt idx="12">
                  <c:v>Av Price/Vol 51.30</c:v>
                </c:pt>
                <c:pt idx="13">
                  <c:v>Av Price/Vol 44.23</c:v>
                </c:pt>
                <c:pt idx="14">
                  <c:v>Av Price/Vol 39.79</c:v>
                </c:pt>
                <c:pt idx="15">
                  <c:v>Av Price/Vol 61.63</c:v>
                </c:pt>
              </c:strCache>
            </c:strRef>
          </c:cat>
          <c:val>
            <c:numRef>
              <c:f>Sheet1!$B$2:$B$17</c:f>
              <c:numCache>
                <c:formatCode>General</c:formatCode>
                <c:ptCount val="16"/>
                <c:pt idx="0">
                  <c:v>5.2390999999999996</c:v>
                </c:pt>
                <c:pt idx="1">
                  <c:v>5.0045999999999999</c:v>
                </c:pt>
                <c:pt idx="2">
                  <c:v>5.8285999999999998</c:v>
                </c:pt>
                <c:pt idx="3">
                  <c:v>4.9623999999999997</c:v>
                </c:pt>
                <c:pt idx="4">
                  <c:v>6.7668999999999997</c:v>
                </c:pt>
                <c:pt idx="5">
                  <c:v>5.976</c:v>
                </c:pt>
                <c:pt idx="6">
                  <c:v>16.497199999999999</c:v>
                </c:pt>
                <c:pt idx="7">
                  <c:v>12.7698</c:v>
                </c:pt>
                <c:pt idx="8">
                  <c:v>25.133299999999998</c:v>
                </c:pt>
                <c:pt idx="9">
                  <c:v>17.802099999999999</c:v>
                </c:pt>
                <c:pt idx="10">
                  <c:v>35.050199999999997</c:v>
                </c:pt>
                <c:pt idx="11">
                  <c:v>54.167499999999997</c:v>
                </c:pt>
                <c:pt idx="12">
                  <c:v>17.3294</c:v>
                </c:pt>
                <c:pt idx="13">
                  <c:v>15.9488</c:v>
                </c:pt>
                <c:pt idx="14">
                  <c:v>14.5799</c:v>
                </c:pt>
                <c:pt idx="15">
                  <c:v>20.67190000000000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4.15</c:v>
                </c:pt>
                <c:pt idx="1">
                  <c:v>Av Price/Vol 11.52</c:v>
                </c:pt>
                <c:pt idx="2">
                  <c:v>Av Price/Vol 15.21</c:v>
                </c:pt>
                <c:pt idx="3">
                  <c:v>Av Price/Vol 14.27</c:v>
                </c:pt>
                <c:pt idx="4">
                  <c:v>Av Price/Vol 16.50</c:v>
                </c:pt>
                <c:pt idx="5">
                  <c:v>Av Price/Vol 17.65</c:v>
                </c:pt>
                <c:pt idx="6">
                  <c:v>Av Price/Vol 47.88</c:v>
                </c:pt>
                <c:pt idx="7">
                  <c:v>Av Price/Vol 23.40</c:v>
                </c:pt>
                <c:pt idx="8">
                  <c:v>Av Price/Vol 77.27</c:v>
                </c:pt>
                <c:pt idx="9">
                  <c:v>Av Price/Vol 54.52</c:v>
                </c:pt>
                <c:pt idx="10">
                  <c:v>Av Price/Vol 106.99</c:v>
                </c:pt>
                <c:pt idx="11">
                  <c:v>Av Price/Vol 184.57</c:v>
                </c:pt>
                <c:pt idx="12">
                  <c:v>Av Price/Vol 51.30</c:v>
                </c:pt>
                <c:pt idx="13">
                  <c:v>Av Price/Vol 44.23</c:v>
                </c:pt>
                <c:pt idx="14">
                  <c:v>Av Price/Vol 39.79</c:v>
                </c:pt>
                <c:pt idx="15">
                  <c:v>Av Price/Vol 61.63</c:v>
                </c:pt>
              </c:strCache>
            </c:strRef>
          </c:cat>
          <c:val>
            <c:numRef>
              <c:f>Sheet1!$C$2:$C$17</c:f>
              <c:numCache>
                <c:formatCode>General</c:formatCode>
                <c:ptCount val="16"/>
                <c:pt idx="0">
                  <c:v>6.0461999999999998</c:v>
                </c:pt>
                <c:pt idx="1">
                  <c:v>4.2942</c:v>
                </c:pt>
                <c:pt idx="2">
                  <c:v>6.3864000000000001</c:v>
                </c:pt>
                <c:pt idx="3">
                  <c:v>5.6906999999999996</c:v>
                </c:pt>
                <c:pt idx="4">
                  <c:v>6.4470999999999998</c:v>
                </c:pt>
                <c:pt idx="5">
                  <c:v>8.4311000000000007</c:v>
                </c:pt>
                <c:pt idx="6">
                  <c:v>21.795100000000001</c:v>
                </c:pt>
                <c:pt idx="7">
                  <c:v>11.3965</c:v>
                </c:pt>
                <c:pt idx="8">
                  <c:v>36.626800000000003</c:v>
                </c:pt>
                <c:pt idx="9">
                  <c:v>27.220300000000002</c:v>
                </c:pt>
                <c:pt idx="10">
                  <c:v>52.569200000000002</c:v>
                </c:pt>
                <c:pt idx="11">
                  <c:v>90.503600000000006</c:v>
                </c:pt>
                <c:pt idx="12">
                  <c:v>22.601800000000001</c:v>
                </c:pt>
                <c:pt idx="13">
                  <c:v>20.7134</c:v>
                </c:pt>
                <c:pt idx="14">
                  <c:v>18.6633</c:v>
                </c:pt>
                <c:pt idx="15">
                  <c:v>29.10020000000000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4.15</c:v>
                </c:pt>
                <c:pt idx="1">
                  <c:v>Av Price/Vol 11.52</c:v>
                </c:pt>
                <c:pt idx="2">
                  <c:v>Av Price/Vol 15.21</c:v>
                </c:pt>
                <c:pt idx="3">
                  <c:v>Av Price/Vol 14.27</c:v>
                </c:pt>
                <c:pt idx="4">
                  <c:v>Av Price/Vol 16.50</c:v>
                </c:pt>
                <c:pt idx="5">
                  <c:v>Av Price/Vol 17.65</c:v>
                </c:pt>
                <c:pt idx="6">
                  <c:v>Av Price/Vol 47.88</c:v>
                </c:pt>
                <c:pt idx="7">
                  <c:v>Av Price/Vol 23.40</c:v>
                </c:pt>
                <c:pt idx="8">
                  <c:v>Av Price/Vol 77.27</c:v>
                </c:pt>
                <c:pt idx="9">
                  <c:v>Av Price/Vol 54.52</c:v>
                </c:pt>
                <c:pt idx="10">
                  <c:v>Av Price/Vol 106.99</c:v>
                </c:pt>
                <c:pt idx="11">
                  <c:v>Av Price/Vol 184.57</c:v>
                </c:pt>
                <c:pt idx="12">
                  <c:v>Av Price/Vol 51.30</c:v>
                </c:pt>
                <c:pt idx="13">
                  <c:v>Av Price/Vol 44.23</c:v>
                </c:pt>
                <c:pt idx="14">
                  <c:v>Av Price/Vol 39.79</c:v>
                </c:pt>
                <c:pt idx="15">
                  <c:v>Av Price/Vol 61.63</c:v>
                </c:pt>
              </c:strCache>
            </c:strRef>
          </c:cat>
          <c:val>
            <c:numRef>
              <c:f>Sheet1!$D$2:$D$17</c:f>
              <c:numCache>
                <c:formatCode>General</c:formatCode>
                <c:ptCount val="16"/>
                <c:pt idx="0">
                  <c:v>0.32850000000000001</c:v>
                </c:pt>
                <c:pt idx="1">
                  <c:v>0.3029</c:v>
                </c:pt>
                <c:pt idx="2">
                  <c:v>0.45600000000000002</c:v>
                </c:pt>
                <c:pt idx="3">
                  <c:v>1.2035</c:v>
                </c:pt>
                <c:pt idx="4">
                  <c:v>0.53420000000000001</c:v>
                </c:pt>
                <c:pt idx="5">
                  <c:v>0.47170000000000001</c:v>
                </c:pt>
                <c:pt idx="6">
                  <c:v>1.4971000000000001</c:v>
                </c:pt>
                <c:pt idx="7">
                  <c:v>-2.6177000000000001</c:v>
                </c:pt>
                <c:pt idx="8">
                  <c:v>2.3721999999999999</c:v>
                </c:pt>
                <c:pt idx="9">
                  <c:v>0.31169999999999998</c:v>
                </c:pt>
                <c:pt idx="10">
                  <c:v>1.353</c:v>
                </c:pt>
                <c:pt idx="11">
                  <c:v>6.6204000000000001</c:v>
                </c:pt>
                <c:pt idx="12">
                  <c:v>1.6154999999999999</c:v>
                </c:pt>
                <c:pt idx="13">
                  <c:v>0.1832</c:v>
                </c:pt>
                <c:pt idx="14">
                  <c:v>-0.11269999999999999</c:v>
                </c:pt>
                <c:pt idx="15">
                  <c:v>1.311199999999999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4.15</c:v>
                </c:pt>
                <c:pt idx="1">
                  <c:v>Av Price/Vol 11.52</c:v>
                </c:pt>
                <c:pt idx="2">
                  <c:v>Av Price/Vol 15.21</c:v>
                </c:pt>
                <c:pt idx="3">
                  <c:v>Av Price/Vol 14.27</c:v>
                </c:pt>
                <c:pt idx="4">
                  <c:v>Av Price/Vol 16.50</c:v>
                </c:pt>
                <c:pt idx="5">
                  <c:v>Av Price/Vol 17.65</c:v>
                </c:pt>
                <c:pt idx="6">
                  <c:v>Av Price/Vol 47.88</c:v>
                </c:pt>
                <c:pt idx="7">
                  <c:v>Av Price/Vol 23.40</c:v>
                </c:pt>
                <c:pt idx="8">
                  <c:v>Av Price/Vol 77.27</c:v>
                </c:pt>
                <c:pt idx="9">
                  <c:v>Av Price/Vol 54.52</c:v>
                </c:pt>
                <c:pt idx="10">
                  <c:v>Av Price/Vol 106.99</c:v>
                </c:pt>
                <c:pt idx="11">
                  <c:v>Av Price/Vol 184.57</c:v>
                </c:pt>
                <c:pt idx="12">
                  <c:v>Av Price/Vol 51.30</c:v>
                </c:pt>
                <c:pt idx="13">
                  <c:v>Av Price/Vol 44.23</c:v>
                </c:pt>
                <c:pt idx="14">
                  <c:v>Av Price/Vol 39.79</c:v>
                </c:pt>
                <c:pt idx="15">
                  <c:v>Av Price/Vol 61.63</c:v>
                </c:pt>
              </c:strCache>
            </c:strRef>
          </c:cat>
          <c:val>
            <c:numRef>
              <c:f>Sheet1!$E$2:$E$17</c:f>
              <c:numCache>
                <c:formatCode>General</c:formatCode>
                <c:ptCount val="16"/>
                <c:pt idx="0">
                  <c:v>2.3253681392235555</c:v>
                </c:pt>
                <c:pt idx="1">
                  <c:v>1.9207209589282541</c:v>
                </c:pt>
                <c:pt idx="2">
                  <c:v>2.5399617133285379</c:v>
                </c:pt>
                <c:pt idx="3">
                  <c:v>2.3782383419689119</c:v>
                </c:pt>
                <c:pt idx="4">
                  <c:v>2.7496663997864976</c:v>
                </c:pt>
                <c:pt idx="5">
                  <c:v>2.9786522633744816</c:v>
                </c:pt>
                <c:pt idx="6">
                  <c:v>7.9792408066429461</c:v>
                </c:pt>
                <c:pt idx="7">
                  <c:v>4.3111635220125777</c:v>
                </c:pt>
                <c:pt idx="8">
                  <c:v>12.879199578725641</c:v>
                </c:pt>
                <c:pt idx="9">
                  <c:v>9.0793628706074649</c:v>
                </c:pt>
                <c:pt idx="10">
                  <c:v>17.841030851653471</c:v>
                </c:pt>
                <c:pt idx="11">
                  <c:v>30.736780258519442</c:v>
                </c:pt>
                <c:pt idx="12">
                  <c:v>8.3671023965141575</c:v>
                </c:pt>
                <c:pt idx="13">
                  <c:v>7.3719201359388276</c:v>
                </c:pt>
                <c:pt idx="14">
                  <c:v>6.6280965216275156</c:v>
                </c:pt>
                <c:pt idx="15">
                  <c:v>10.2716666666666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4.42</c:v>
                </c:pt>
                <c:pt idx="1">
                  <c:v>Av Price/Vol 12.13</c:v>
                </c:pt>
                <c:pt idx="2">
                  <c:v>Av Price/Vol 15.99</c:v>
                </c:pt>
                <c:pt idx="3">
                  <c:v>Av Price/Vol 14.07</c:v>
                </c:pt>
                <c:pt idx="4">
                  <c:v>Av Price/Vol 17.40</c:v>
                </c:pt>
                <c:pt idx="5">
                  <c:v>Av Price/Vol 19.17</c:v>
                </c:pt>
                <c:pt idx="6">
                  <c:v>Av Price/Vol 50.63</c:v>
                </c:pt>
                <c:pt idx="7">
                  <c:v>Av Price/Vol 24.01</c:v>
                </c:pt>
                <c:pt idx="8">
                  <c:v>Av Price/Vol 77.86</c:v>
                </c:pt>
                <c:pt idx="9">
                  <c:v>Av Price/Vol 54.11</c:v>
                </c:pt>
                <c:pt idx="10">
                  <c:v>Av Price/Vol 105.47</c:v>
                </c:pt>
                <c:pt idx="11">
                  <c:v>Av Price/Vol 199.90</c:v>
                </c:pt>
                <c:pt idx="12">
                  <c:v>Av Price/Vol 53.92</c:v>
                </c:pt>
                <c:pt idx="13">
                  <c:v>Av Price/Vol 44.92</c:v>
                </c:pt>
                <c:pt idx="14">
                  <c:v>Av Price/Vol 40.27</c:v>
                </c:pt>
                <c:pt idx="15">
                  <c:v>Av Price/Vol 62.32</c:v>
                </c:pt>
              </c:strCache>
            </c:strRef>
          </c:cat>
          <c:val>
            <c:numRef>
              <c:f>Sheet1!$B$2:$B$17</c:f>
              <c:numCache>
                <c:formatCode>General</c:formatCode>
                <c:ptCount val="16"/>
                <c:pt idx="0">
                  <c:v>5.8733000000000004</c:v>
                </c:pt>
                <c:pt idx="1">
                  <c:v>5.2689000000000004</c:v>
                </c:pt>
                <c:pt idx="2">
                  <c:v>6.5862999999999996</c:v>
                </c:pt>
                <c:pt idx="3">
                  <c:v>5.0162000000000004</c:v>
                </c:pt>
                <c:pt idx="4">
                  <c:v>6.8901000000000003</c:v>
                </c:pt>
                <c:pt idx="5">
                  <c:v>6.5366999999999997</c:v>
                </c:pt>
                <c:pt idx="6">
                  <c:v>17.169</c:v>
                </c:pt>
                <c:pt idx="7">
                  <c:v>13.160299999999999</c:v>
                </c:pt>
                <c:pt idx="8">
                  <c:v>25.6708</c:v>
                </c:pt>
                <c:pt idx="9">
                  <c:v>17.594200000000001</c:v>
                </c:pt>
                <c:pt idx="10">
                  <c:v>35.104100000000003</c:v>
                </c:pt>
                <c:pt idx="11">
                  <c:v>58.3658</c:v>
                </c:pt>
                <c:pt idx="12">
                  <c:v>18.600000000000001</c:v>
                </c:pt>
                <c:pt idx="13">
                  <c:v>15.966100000000001</c:v>
                </c:pt>
                <c:pt idx="14">
                  <c:v>14.675000000000001</c:v>
                </c:pt>
                <c:pt idx="15">
                  <c:v>21.22739999999999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4.42</c:v>
                </c:pt>
                <c:pt idx="1">
                  <c:v>Av Price/Vol 12.13</c:v>
                </c:pt>
                <c:pt idx="2">
                  <c:v>Av Price/Vol 15.99</c:v>
                </c:pt>
                <c:pt idx="3">
                  <c:v>Av Price/Vol 14.07</c:v>
                </c:pt>
                <c:pt idx="4">
                  <c:v>Av Price/Vol 17.40</c:v>
                </c:pt>
                <c:pt idx="5">
                  <c:v>Av Price/Vol 19.17</c:v>
                </c:pt>
                <c:pt idx="6">
                  <c:v>Av Price/Vol 50.63</c:v>
                </c:pt>
                <c:pt idx="7">
                  <c:v>Av Price/Vol 24.01</c:v>
                </c:pt>
                <c:pt idx="8">
                  <c:v>Av Price/Vol 77.86</c:v>
                </c:pt>
                <c:pt idx="9">
                  <c:v>Av Price/Vol 54.11</c:v>
                </c:pt>
                <c:pt idx="10">
                  <c:v>Av Price/Vol 105.47</c:v>
                </c:pt>
                <c:pt idx="11">
                  <c:v>Av Price/Vol 199.90</c:v>
                </c:pt>
                <c:pt idx="12">
                  <c:v>Av Price/Vol 53.92</c:v>
                </c:pt>
                <c:pt idx="13">
                  <c:v>Av Price/Vol 44.92</c:v>
                </c:pt>
                <c:pt idx="14">
                  <c:v>Av Price/Vol 40.27</c:v>
                </c:pt>
                <c:pt idx="15">
                  <c:v>Av Price/Vol 62.32</c:v>
                </c:pt>
              </c:strCache>
            </c:strRef>
          </c:cat>
          <c:val>
            <c:numRef>
              <c:f>Sheet1!$C$2:$C$17</c:f>
              <c:numCache>
                <c:formatCode>General</c:formatCode>
                <c:ptCount val="16"/>
                <c:pt idx="0">
                  <c:v>5.6569000000000003</c:v>
                </c:pt>
                <c:pt idx="1">
                  <c:v>4.4295</c:v>
                </c:pt>
                <c:pt idx="2">
                  <c:v>6.3013000000000003</c:v>
                </c:pt>
                <c:pt idx="3">
                  <c:v>5.7637</c:v>
                </c:pt>
                <c:pt idx="4">
                  <c:v>6.5972</c:v>
                </c:pt>
                <c:pt idx="5">
                  <c:v>9.2063000000000006</c:v>
                </c:pt>
                <c:pt idx="6">
                  <c:v>22.9621</c:v>
                </c:pt>
                <c:pt idx="7">
                  <c:v>11.596500000000001</c:v>
                </c:pt>
                <c:pt idx="8">
                  <c:v>37.174799999999998</c:v>
                </c:pt>
                <c:pt idx="9">
                  <c:v>26.9529</c:v>
                </c:pt>
                <c:pt idx="10">
                  <c:v>51.2254</c:v>
                </c:pt>
                <c:pt idx="11">
                  <c:v>99.336799999999997</c:v>
                </c:pt>
                <c:pt idx="12">
                  <c:v>24.429200000000002</c:v>
                </c:pt>
                <c:pt idx="13">
                  <c:v>21.227799999999998</c:v>
                </c:pt>
                <c:pt idx="14">
                  <c:v>18.764299999999999</c:v>
                </c:pt>
                <c:pt idx="15">
                  <c:v>29.38190000000000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4.42</c:v>
                </c:pt>
                <c:pt idx="1">
                  <c:v>Av Price/Vol 12.13</c:v>
                </c:pt>
                <c:pt idx="2">
                  <c:v>Av Price/Vol 15.99</c:v>
                </c:pt>
                <c:pt idx="3">
                  <c:v>Av Price/Vol 14.07</c:v>
                </c:pt>
                <c:pt idx="4">
                  <c:v>Av Price/Vol 17.40</c:v>
                </c:pt>
                <c:pt idx="5">
                  <c:v>Av Price/Vol 19.17</c:v>
                </c:pt>
                <c:pt idx="6">
                  <c:v>Av Price/Vol 50.63</c:v>
                </c:pt>
                <c:pt idx="7">
                  <c:v>Av Price/Vol 24.01</c:v>
                </c:pt>
                <c:pt idx="8">
                  <c:v>Av Price/Vol 77.86</c:v>
                </c:pt>
                <c:pt idx="9">
                  <c:v>Av Price/Vol 54.11</c:v>
                </c:pt>
                <c:pt idx="10">
                  <c:v>Av Price/Vol 105.47</c:v>
                </c:pt>
                <c:pt idx="11">
                  <c:v>Av Price/Vol 199.90</c:v>
                </c:pt>
                <c:pt idx="12">
                  <c:v>Av Price/Vol 53.92</c:v>
                </c:pt>
                <c:pt idx="13">
                  <c:v>Av Price/Vol 44.92</c:v>
                </c:pt>
                <c:pt idx="14">
                  <c:v>Av Price/Vol 40.27</c:v>
                </c:pt>
                <c:pt idx="15">
                  <c:v>Av Price/Vol 62.32</c:v>
                </c:pt>
              </c:strCache>
            </c:strRef>
          </c:cat>
          <c:val>
            <c:numRef>
              <c:f>Sheet1!$D$2:$D$17</c:f>
              <c:numCache>
                <c:formatCode>General</c:formatCode>
                <c:ptCount val="16"/>
                <c:pt idx="0">
                  <c:v>0.49540000000000001</c:v>
                </c:pt>
                <c:pt idx="1">
                  <c:v>0.40539999999999998</c:v>
                </c:pt>
                <c:pt idx="2">
                  <c:v>0.48070000000000002</c:v>
                </c:pt>
                <c:pt idx="3">
                  <c:v>0.94310000000000005</c:v>
                </c:pt>
                <c:pt idx="4">
                  <c:v>1.0165999999999999</c:v>
                </c:pt>
                <c:pt idx="5">
                  <c:v>0.3745</c:v>
                </c:pt>
                <c:pt idx="6">
                  <c:v>1.3787</c:v>
                </c:pt>
                <c:pt idx="7">
                  <c:v>-2.8071000000000002</c:v>
                </c:pt>
                <c:pt idx="8">
                  <c:v>1.7067000000000001</c:v>
                </c:pt>
                <c:pt idx="9">
                  <c:v>0.48459999999999998</c:v>
                </c:pt>
                <c:pt idx="10">
                  <c:v>1.0618000000000001</c:v>
                </c:pt>
                <c:pt idx="11">
                  <c:v>5.2169999999999996</c:v>
                </c:pt>
                <c:pt idx="12">
                  <c:v>1.0195000000000001</c:v>
                </c:pt>
                <c:pt idx="13">
                  <c:v>0.2122</c:v>
                </c:pt>
                <c:pt idx="14">
                  <c:v>0.1166</c:v>
                </c:pt>
                <c:pt idx="15">
                  <c:v>1.323700000000000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4.42</c:v>
                </c:pt>
                <c:pt idx="1">
                  <c:v>Av Price/Vol 12.13</c:v>
                </c:pt>
                <c:pt idx="2">
                  <c:v>Av Price/Vol 15.99</c:v>
                </c:pt>
                <c:pt idx="3">
                  <c:v>Av Price/Vol 14.07</c:v>
                </c:pt>
                <c:pt idx="4">
                  <c:v>Av Price/Vol 17.40</c:v>
                </c:pt>
                <c:pt idx="5">
                  <c:v>Av Price/Vol 19.17</c:v>
                </c:pt>
                <c:pt idx="6">
                  <c:v>Av Price/Vol 50.63</c:v>
                </c:pt>
                <c:pt idx="7">
                  <c:v>Av Price/Vol 24.01</c:v>
                </c:pt>
                <c:pt idx="8">
                  <c:v>Av Price/Vol 77.86</c:v>
                </c:pt>
                <c:pt idx="9">
                  <c:v>Av Price/Vol 54.11</c:v>
                </c:pt>
                <c:pt idx="10">
                  <c:v>Av Price/Vol 105.47</c:v>
                </c:pt>
                <c:pt idx="11">
                  <c:v>Av Price/Vol 199.90</c:v>
                </c:pt>
                <c:pt idx="12">
                  <c:v>Av Price/Vol 53.92</c:v>
                </c:pt>
                <c:pt idx="13">
                  <c:v>Av Price/Vol 44.92</c:v>
                </c:pt>
                <c:pt idx="14">
                  <c:v>Av Price/Vol 40.27</c:v>
                </c:pt>
                <c:pt idx="15">
                  <c:v>Av Price/Vol 62.32</c:v>
                </c:pt>
              </c:strCache>
            </c:strRef>
          </c:cat>
          <c:val>
            <c:numRef>
              <c:f>Sheet1!$E$2:$E$17</c:f>
              <c:numCache>
                <c:formatCode>General</c:formatCode>
                <c:ptCount val="16"/>
                <c:pt idx="0">
                  <c:v>2.4059362449799173</c:v>
                </c:pt>
                <c:pt idx="1">
                  <c:v>2.0208060526698652</c:v>
                </c:pt>
                <c:pt idx="2">
                  <c:v>2.6742584745762787</c:v>
                </c:pt>
                <c:pt idx="3">
                  <c:v>2.3457538994800742</c:v>
                </c:pt>
                <c:pt idx="4">
                  <c:v>2.9007875626470279</c:v>
                </c:pt>
                <c:pt idx="5">
                  <c:v>3.223521850899739</c:v>
                </c:pt>
                <c:pt idx="6">
                  <c:v>8.4376498800959272</c:v>
                </c:pt>
                <c:pt idx="7">
                  <c:v>4.3934037343128232</c:v>
                </c:pt>
                <c:pt idx="8">
                  <c:v>12.962115039921786</c:v>
                </c:pt>
                <c:pt idx="9">
                  <c:v>9.0147674270884668</c:v>
                </c:pt>
                <c:pt idx="10">
                  <c:v>17.516556051209513</c:v>
                </c:pt>
                <c:pt idx="11">
                  <c:v>32.762898845892728</c:v>
                </c:pt>
                <c:pt idx="12">
                  <c:v>8.824510932105861</c:v>
                </c:pt>
                <c:pt idx="13">
                  <c:v>7.4842427093132642</c:v>
                </c:pt>
                <c:pt idx="14">
                  <c:v>6.7111887844755111</c:v>
                </c:pt>
                <c:pt idx="15">
                  <c:v>10.38660676080445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2.53</c:v>
                </c:pt>
                <c:pt idx="1">
                  <c:v>Av Price/Vol 12.06</c:v>
                </c:pt>
                <c:pt idx="2">
                  <c:v>Av Price/Vol 15.87</c:v>
                </c:pt>
                <c:pt idx="3">
                  <c:v>Av Price/Vol 14.05</c:v>
                </c:pt>
                <c:pt idx="4">
                  <c:v>Av Price/Vol 17.04</c:v>
                </c:pt>
                <c:pt idx="5">
                  <c:v>Av Price/Vol 23.19</c:v>
                </c:pt>
                <c:pt idx="6">
                  <c:v>Av Price/Vol 47.50</c:v>
                </c:pt>
                <c:pt idx="7">
                  <c:v>Av Price/Vol 23.40</c:v>
                </c:pt>
                <c:pt idx="8">
                  <c:v>Av Price/Vol 76.94</c:v>
                </c:pt>
                <c:pt idx="9">
                  <c:v>Av Price/Vol 52.75</c:v>
                </c:pt>
                <c:pt idx="10">
                  <c:v>Av Price/Vol 99.00</c:v>
                </c:pt>
                <c:pt idx="11">
                  <c:v>Av Price/Vol 178.52</c:v>
                </c:pt>
                <c:pt idx="12">
                  <c:v>Av Price/Vol 49.29</c:v>
                </c:pt>
                <c:pt idx="13">
                  <c:v>Av Price/Vol 44.46</c:v>
                </c:pt>
                <c:pt idx="14">
                  <c:v>Av Price/Vol 40.04</c:v>
                </c:pt>
                <c:pt idx="15">
                  <c:v>Av Price/Vol 61.03</c:v>
                </c:pt>
              </c:strCache>
            </c:strRef>
          </c:cat>
          <c:val>
            <c:numRef>
              <c:f>Sheet1!$B$2:$B$17</c:f>
              <c:numCache>
                <c:formatCode>General</c:formatCode>
                <c:ptCount val="16"/>
                <c:pt idx="0">
                  <c:v>5.5053999999999998</c:v>
                </c:pt>
                <c:pt idx="1">
                  <c:v>5.2396000000000003</c:v>
                </c:pt>
                <c:pt idx="2">
                  <c:v>6.5651999999999999</c:v>
                </c:pt>
                <c:pt idx="3">
                  <c:v>5.1163999999999996</c:v>
                </c:pt>
                <c:pt idx="4">
                  <c:v>6.8613</c:v>
                </c:pt>
                <c:pt idx="5">
                  <c:v>8.6361000000000008</c:v>
                </c:pt>
                <c:pt idx="6">
                  <c:v>16.790800000000001</c:v>
                </c:pt>
                <c:pt idx="7">
                  <c:v>13.168900000000001</c:v>
                </c:pt>
                <c:pt idx="8">
                  <c:v>25.5823</c:v>
                </c:pt>
                <c:pt idx="9">
                  <c:v>17.276299999999999</c:v>
                </c:pt>
                <c:pt idx="10">
                  <c:v>33.075299999999999</c:v>
                </c:pt>
                <c:pt idx="11">
                  <c:v>55.109299999999998</c:v>
                </c:pt>
                <c:pt idx="12">
                  <c:v>17.5154</c:v>
                </c:pt>
                <c:pt idx="13">
                  <c:v>15.8157</c:v>
                </c:pt>
                <c:pt idx="14">
                  <c:v>14.610099999999999</c:v>
                </c:pt>
                <c:pt idx="15">
                  <c:v>21.12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2.53</c:v>
                </c:pt>
                <c:pt idx="1">
                  <c:v>Av Price/Vol 12.06</c:v>
                </c:pt>
                <c:pt idx="2">
                  <c:v>Av Price/Vol 15.87</c:v>
                </c:pt>
                <c:pt idx="3">
                  <c:v>Av Price/Vol 14.05</c:v>
                </c:pt>
                <c:pt idx="4">
                  <c:v>Av Price/Vol 17.04</c:v>
                </c:pt>
                <c:pt idx="5">
                  <c:v>Av Price/Vol 23.19</c:v>
                </c:pt>
                <c:pt idx="6">
                  <c:v>Av Price/Vol 47.50</c:v>
                </c:pt>
                <c:pt idx="7">
                  <c:v>Av Price/Vol 23.40</c:v>
                </c:pt>
                <c:pt idx="8">
                  <c:v>Av Price/Vol 76.94</c:v>
                </c:pt>
                <c:pt idx="9">
                  <c:v>Av Price/Vol 52.75</c:v>
                </c:pt>
                <c:pt idx="10">
                  <c:v>Av Price/Vol 99.00</c:v>
                </c:pt>
                <c:pt idx="11">
                  <c:v>Av Price/Vol 178.52</c:v>
                </c:pt>
                <c:pt idx="12">
                  <c:v>Av Price/Vol 49.29</c:v>
                </c:pt>
                <c:pt idx="13">
                  <c:v>Av Price/Vol 44.46</c:v>
                </c:pt>
                <c:pt idx="14">
                  <c:v>Av Price/Vol 40.04</c:v>
                </c:pt>
                <c:pt idx="15">
                  <c:v>Av Price/Vol 61.03</c:v>
                </c:pt>
              </c:strCache>
            </c:strRef>
          </c:cat>
          <c:val>
            <c:numRef>
              <c:f>Sheet1!$C$2:$C$17</c:f>
              <c:numCache>
                <c:formatCode>General</c:formatCode>
                <c:ptCount val="16"/>
                <c:pt idx="0">
                  <c:v>4.6859999999999999</c:v>
                </c:pt>
                <c:pt idx="1">
                  <c:v>4.3895</c:v>
                </c:pt>
                <c:pt idx="2">
                  <c:v>6.2823000000000002</c:v>
                </c:pt>
                <c:pt idx="3">
                  <c:v>5.8665000000000003</c:v>
                </c:pt>
                <c:pt idx="4">
                  <c:v>6.5811999999999999</c:v>
                </c:pt>
                <c:pt idx="5">
                  <c:v>10.192</c:v>
                </c:pt>
                <c:pt idx="6">
                  <c:v>22.168800000000001</c:v>
                </c:pt>
                <c:pt idx="7">
                  <c:v>11.601599999999999</c:v>
                </c:pt>
                <c:pt idx="8">
                  <c:v>37.443199999999997</c:v>
                </c:pt>
                <c:pt idx="9">
                  <c:v>26.520700000000001</c:v>
                </c:pt>
                <c:pt idx="10">
                  <c:v>48.727499999999999</c:v>
                </c:pt>
                <c:pt idx="11">
                  <c:v>90.220200000000006</c:v>
                </c:pt>
                <c:pt idx="12">
                  <c:v>22.821200000000001</c:v>
                </c:pt>
                <c:pt idx="13">
                  <c:v>21.106200000000001</c:v>
                </c:pt>
                <c:pt idx="14">
                  <c:v>18.8278</c:v>
                </c:pt>
                <c:pt idx="15">
                  <c:v>29.00509999999999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2.53</c:v>
                </c:pt>
                <c:pt idx="1">
                  <c:v>Av Price/Vol 12.06</c:v>
                </c:pt>
                <c:pt idx="2">
                  <c:v>Av Price/Vol 15.87</c:v>
                </c:pt>
                <c:pt idx="3">
                  <c:v>Av Price/Vol 14.05</c:v>
                </c:pt>
                <c:pt idx="4">
                  <c:v>Av Price/Vol 17.04</c:v>
                </c:pt>
                <c:pt idx="5">
                  <c:v>Av Price/Vol 23.19</c:v>
                </c:pt>
                <c:pt idx="6">
                  <c:v>Av Price/Vol 47.50</c:v>
                </c:pt>
                <c:pt idx="7">
                  <c:v>Av Price/Vol 23.40</c:v>
                </c:pt>
                <c:pt idx="8">
                  <c:v>Av Price/Vol 76.94</c:v>
                </c:pt>
                <c:pt idx="9">
                  <c:v>Av Price/Vol 52.75</c:v>
                </c:pt>
                <c:pt idx="10">
                  <c:v>Av Price/Vol 99.00</c:v>
                </c:pt>
                <c:pt idx="11">
                  <c:v>Av Price/Vol 178.52</c:v>
                </c:pt>
                <c:pt idx="12">
                  <c:v>Av Price/Vol 49.29</c:v>
                </c:pt>
                <c:pt idx="13">
                  <c:v>Av Price/Vol 44.46</c:v>
                </c:pt>
                <c:pt idx="14">
                  <c:v>Av Price/Vol 40.04</c:v>
                </c:pt>
                <c:pt idx="15">
                  <c:v>Av Price/Vol 61.03</c:v>
                </c:pt>
              </c:strCache>
            </c:strRef>
          </c:cat>
          <c:val>
            <c:numRef>
              <c:f>Sheet1!$D$2:$D$17</c:f>
              <c:numCache>
                <c:formatCode>General</c:formatCode>
                <c:ptCount val="16"/>
                <c:pt idx="0">
                  <c:v>0.25609999999999999</c:v>
                </c:pt>
                <c:pt idx="1">
                  <c:v>0.41789999999999999</c:v>
                </c:pt>
                <c:pt idx="2">
                  <c:v>0.42770000000000002</c:v>
                </c:pt>
                <c:pt idx="3">
                  <c:v>0.72440000000000004</c:v>
                </c:pt>
                <c:pt idx="4">
                  <c:v>0.75790000000000002</c:v>
                </c:pt>
                <c:pt idx="5">
                  <c:v>0.499</c:v>
                </c:pt>
                <c:pt idx="6">
                  <c:v>0.61970000000000003</c:v>
                </c:pt>
                <c:pt idx="7">
                  <c:v>-2.8961000000000001</c:v>
                </c:pt>
                <c:pt idx="8">
                  <c:v>1.0313000000000001</c:v>
                </c:pt>
                <c:pt idx="9">
                  <c:v>0.13300000000000001</c:v>
                </c:pt>
                <c:pt idx="10">
                  <c:v>0.62290000000000001</c:v>
                </c:pt>
                <c:pt idx="11">
                  <c:v>1.6317999999999999</c:v>
                </c:pt>
                <c:pt idx="12">
                  <c:v>0.46439999999999998</c:v>
                </c:pt>
                <c:pt idx="13">
                  <c:v>9.7000000000000003E-2</c:v>
                </c:pt>
                <c:pt idx="14">
                  <c:v>-7.51E-2</c:v>
                </c:pt>
                <c:pt idx="15">
                  <c:v>0.7262999999999999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2.53</c:v>
                </c:pt>
                <c:pt idx="1">
                  <c:v>Av Price/Vol 12.06</c:v>
                </c:pt>
                <c:pt idx="2">
                  <c:v>Av Price/Vol 15.87</c:v>
                </c:pt>
                <c:pt idx="3">
                  <c:v>Av Price/Vol 14.05</c:v>
                </c:pt>
                <c:pt idx="4">
                  <c:v>Av Price/Vol 17.04</c:v>
                </c:pt>
                <c:pt idx="5">
                  <c:v>Av Price/Vol 23.19</c:v>
                </c:pt>
                <c:pt idx="6">
                  <c:v>Av Price/Vol 47.50</c:v>
                </c:pt>
                <c:pt idx="7">
                  <c:v>Av Price/Vol 23.40</c:v>
                </c:pt>
                <c:pt idx="8">
                  <c:v>Av Price/Vol 76.94</c:v>
                </c:pt>
                <c:pt idx="9">
                  <c:v>Av Price/Vol 52.75</c:v>
                </c:pt>
                <c:pt idx="10">
                  <c:v>Av Price/Vol 99.00</c:v>
                </c:pt>
                <c:pt idx="11">
                  <c:v>Av Price/Vol 178.52</c:v>
                </c:pt>
                <c:pt idx="12">
                  <c:v>Av Price/Vol 49.29</c:v>
                </c:pt>
                <c:pt idx="13">
                  <c:v>Av Price/Vol 44.46</c:v>
                </c:pt>
                <c:pt idx="14">
                  <c:v>Av Price/Vol 40.04</c:v>
                </c:pt>
                <c:pt idx="15">
                  <c:v>Av Price/Vol 61.03</c:v>
                </c:pt>
              </c:strCache>
            </c:strRef>
          </c:cat>
          <c:val>
            <c:numRef>
              <c:f>Sheet1!$E$2:$E$17</c:f>
              <c:numCache>
                <c:formatCode>General</c:formatCode>
                <c:ptCount val="16"/>
                <c:pt idx="0">
                  <c:v>2.0895320847766135</c:v>
                </c:pt>
                <c:pt idx="1">
                  <c:v>2.0094119016560681</c:v>
                </c:pt>
                <c:pt idx="2">
                  <c:v>2.6550664790335374</c:v>
                </c:pt>
                <c:pt idx="3">
                  <c:v>2.3414669361825009</c:v>
                </c:pt>
                <c:pt idx="4">
                  <c:v>2.8400928119108619</c:v>
                </c:pt>
                <c:pt idx="5">
                  <c:v>3.8654221095730135</c:v>
                </c:pt>
                <c:pt idx="6">
                  <c:v>7.9158585282373073</c:v>
                </c:pt>
                <c:pt idx="7">
                  <c:v>4.3752086275516753</c:v>
                </c:pt>
                <c:pt idx="8">
                  <c:v>12.824500868055583</c:v>
                </c:pt>
                <c:pt idx="9">
                  <c:v>8.787258129918472</c:v>
                </c:pt>
                <c:pt idx="10">
                  <c:v>16.491104544404259</c:v>
                </c:pt>
                <c:pt idx="11">
                  <c:v>29.457661361160806</c:v>
                </c:pt>
                <c:pt idx="12">
                  <c:v>8.1640253105770313</c:v>
                </c:pt>
                <c:pt idx="13">
                  <c:v>7.4037804219886407</c:v>
                </c:pt>
                <c:pt idx="14">
                  <c:v>6.6725629079706588</c:v>
                </c:pt>
                <c:pt idx="15">
                  <c:v>10.1722508591065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2.39</c:v>
                </c:pt>
                <c:pt idx="1">
                  <c:v>Av Price/Vol 11.88</c:v>
                </c:pt>
                <c:pt idx="2">
                  <c:v>Av Price/Vol 15.26</c:v>
                </c:pt>
                <c:pt idx="3">
                  <c:v>Av Price/Vol 13.92</c:v>
                </c:pt>
                <c:pt idx="4">
                  <c:v>Av Price/Vol 17.20</c:v>
                </c:pt>
                <c:pt idx="5">
                  <c:v>Av Price/Vol 22.72</c:v>
                </c:pt>
                <c:pt idx="6">
                  <c:v>Av Price/Vol 48.46</c:v>
                </c:pt>
                <c:pt idx="7">
                  <c:v>Av Price/Vol 21.52</c:v>
                </c:pt>
                <c:pt idx="8">
                  <c:v>Av Price/Vol 69.42</c:v>
                </c:pt>
                <c:pt idx="9">
                  <c:v>Av Price/Vol 50.81</c:v>
                </c:pt>
                <c:pt idx="10">
                  <c:v>Av Price/Vol 89.92</c:v>
                </c:pt>
                <c:pt idx="11">
                  <c:v>Av Price/Vol 165.10</c:v>
                </c:pt>
                <c:pt idx="12">
                  <c:v>Av Price/Vol 48.04</c:v>
                </c:pt>
                <c:pt idx="13">
                  <c:v>Av Price/Vol 43.83</c:v>
                </c:pt>
                <c:pt idx="14">
                  <c:v>Av Price/Vol 39.74</c:v>
                </c:pt>
                <c:pt idx="15">
                  <c:v>Av Price/Vol 59.00</c:v>
                </c:pt>
              </c:strCache>
            </c:strRef>
          </c:cat>
          <c:val>
            <c:numRef>
              <c:f>Sheet1!$B$2:$B$17</c:f>
              <c:numCache>
                <c:formatCode>General</c:formatCode>
                <c:ptCount val="16"/>
                <c:pt idx="0">
                  <c:v>5.1223000000000001</c:v>
                </c:pt>
                <c:pt idx="1">
                  <c:v>5.1955</c:v>
                </c:pt>
                <c:pt idx="2">
                  <c:v>6.0297999999999998</c:v>
                </c:pt>
                <c:pt idx="3">
                  <c:v>5.0442999999999998</c:v>
                </c:pt>
                <c:pt idx="4">
                  <c:v>6.7872000000000003</c:v>
                </c:pt>
                <c:pt idx="5">
                  <c:v>8.4031000000000002</c:v>
                </c:pt>
                <c:pt idx="6">
                  <c:v>17.002199999999998</c:v>
                </c:pt>
                <c:pt idx="7">
                  <c:v>11.7563</c:v>
                </c:pt>
                <c:pt idx="8">
                  <c:v>23.027999999999999</c:v>
                </c:pt>
                <c:pt idx="9">
                  <c:v>16.636500000000002</c:v>
                </c:pt>
                <c:pt idx="10">
                  <c:v>29.8308</c:v>
                </c:pt>
                <c:pt idx="11">
                  <c:v>50.540599999999998</c:v>
                </c:pt>
                <c:pt idx="12">
                  <c:v>17.182600000000001</c:v>
                </c:pt>
                <c:pt idx="13">
                  <c:v>15.844200000000001</c:v>
                </c:pt>
                <c:pt idx="14">
                  <c:v>14.635999999999999</c:v>
                </c:pt>
                <c:pt idx="15">
                  <c:v>20.544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2.39</c:v>
                </c:pt>
                <c:pt idx="1">
                  <c:v>Av Price/Vol 11.88</c:v>
                </c:pt>
                <c:pt idx="2">
                  <c:v>Av Price/Vol 15.26</c:v>
                </c:pt>
                <c:pt idx="3">
                  <c:v>Av Price/Vol 13.92</c:v>
                </c:pt>
                <c:pt idx="4">
                  <c:v>Av Price/Vol 17.20</c:v>
                </c:pt>
                <c:pt idx="5">
                  <c:v>Av Price/Vol 22.72</c:v>
                </c:pt>
                <c:pt idx="6">
                  <c:v>Av Price/Vol 48.46</c:v>
                </c:pt>
                <c:pt idx="7">
                  <c:v>Av Price/Vol 21.52</c:v>
                </c:pt>
                <c:pt idx="8">
                  <c:v>Av Price/Vol 69.42</c:v>
                </c:pt>
                <c:pt idx="9">
                  <c:v>Av Price/Vol 50.81</c:v>
                </c:pt>
                <c:pt idx="10">
                  <c:v>Av Price/Vol 89.92</c:v>
                </c:pt>
                <c:pt idx="11">
                  <c:v>Av Price/Vol 165.10</c:v>
                </c:pt>
                <c:pt idx="12">
                  <c:v>Av Price/Vol 48.04</c:v>
                </c:pt>
                <c:pt idx="13">
                  <c:v>Av Price/Vol 43.83</c:v>
                </c:pt>
                <c:pt idx="14">
                  <c:v>Av Price/Vol 39.74</c:v>
                </c:pt>
                <c:pt idx="15">
                  <c:v>Av Price/Vol 59.00</c:v>
                </c:pt>
              </c:strCache>
            </c:strRef>
          </c:cat>
          <c:val>
            <c:numRef>
              <c:f>Sheet1!$C$2:$C$17</c:f>
              <c:numCache>
                <c:formatCode>General</c:formatCode>
                <c:ptCount val="16"/>
                <c:pt idx="0">
                  <c:v>4.9855</c:v>
                </c:pt>
                <c:pt idx="1">
                  <c:v>4.3479000000000001</c:v>
                </c:pt>
                <c:pt idx="2">
                  <c:v>6.3986999999999998</c:v>
                </c:pt>
                <c:pt idx="3">
                  <c:v>5.8227000000000002</c:v>
                </c:pt>
                <c:pt idx="4">
                  <c:v>6.8093000000000004</c:v>
                </c:pt>
                <c:pt idx="5">
                  <c:v>10.0062</c:v>
                </c:pt>
                <c:pt idx="6">
                  <c:v>22.4635</c:v>
                </c:pt>
                <c:pt idx="7">
                  <c:v>10.6767</c:v>
                </c:pt>
                <c:pt idx="8">
                  <c:v>33.791800000000002</c:v>
                </c:pt>
                <c:pt idx="9">
                  <c:v>25.853899999999999</c:v>
                </c:pt>
                <c:pt idx="10">
                  <c:v>44.7592</c:v>
                </c:pt>
                <c:pt idx="11">
                  <c:v>82.592500000000001</c:v>
                </c:pt>
                <c:pt idx="12">
                  <c:v>22.386500000000002</c:v>
                </c:pt>
                <c:pt idx="13">
                  <c:v>20.763400000000001</c:v>
                </c:pt>
                <c:pt idx="14">
                  <c:v>18.7956</c:v>
                </c:pt>
                <c:pt idx="15">
                  <c:v>28.02380000000000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2.39</c:v>
                </c:pt>
                <c:pt idx="1">
                  <c:v>Av Price/Vol 11.88</c:v>
                </c:pt>
                <c:pt idx="2">
                  <c:v>Av Price/Vol 15.26</c:v>
                </c:pt>
                <c:pt idx="3">
                  <c:v>Av Price/Vol 13.92</c:v>
                </c:pt>
                <c:pt idx="4">
                  <c:v>Av Price/Vol 17.20</c:v>
                </c:pt>
                <c:pt idx="5">
                  <c:v>Av Price/Vol 22.72</c:v>
                </c:pt>
                <c:pt idx="6">
                  <c:v>Av Price/Vol 48.46</c:v>
                </c:pt>
                <c:pt idx="7">
                  <c:v>Av Price/Vol 21.52</c:v>
                </c:pt>
                <c:pt idx="8">
                  <c:v>Av Price/Vol 69.42</c:v>
                </c:pt>
                <c:pt idx="9">
                  <c:v>Av Price/Vol 50.81</c:v>
                </c:pt>
                <c:pt idx="10">
                  <c:v>Av Price/Vol 89.92</c:v>
                </c:pt>
                <c:pt idx="11">
                  <c:v>Av Price/Vol 165.10</c:v>
                </c:pt>
                <c:pt idx="12">
                  <c:v>Av Price/Vol 48.04</c:v>
                </c:pt>
                <c:pt idx="13">
                  <c:v>Av Price/Vol 43.83</c:v>
                </c:pt>
                <c:pt idx="14">
                  <c:v>Av Price/Vol 39.74</c:v>
                </c:pt>
                <c:pt idx="15">
                  <c:v>Av Price/Vol 59.00</c:v>
                </c:pt>
              </c:strCache>
            </c:strRef>
          </c:cat>
          <c:val>
            <c:numRef>
              <c:f>Sheet1!$D$2:$D$17</c:f>
              <c:numCache>
                <c:formatCode>General</c:formatCode>
                <c:ptCount val="16"/>
                <c:pt idx="0">
                  <c:v>0.20860000000000001</c:v>
                </c:pt>
                <c:pt idx="1">
                  <c:v>0.34689999999999999</c:v>
                </c:pt>
                <c:pt idx="2">
                  <c:v>0.31790000000000002</c:v>
                </c:pt>
                <c:pt idx="3">
                  <c:v>0.71509999999999996</c:v>
                </c:pt>
                <c:pt idx="4">
                  <c:v>0.69689999999999996</c:v>
                </c:pt>
                <c:pt idx="5">
                  <c:v>0.55269999999999997</c:v>
                </c:pt>
                <c:pt idx="6">
                  <c:v>0.79859999999999998</c:v>
                </c:pt>
                <c:pt idx="7">
                  <c:v>-2.5747</c:v>
                </c:pt>
                <c:pt idx="8">
                  <c:v>0.91839999999999999</c:v>
                </c:pt>
                <c:pt idx="9">
                  <c:v>-0.1361</c:v>
                </c:pt>
                <c:pt idx="10">
                  <c:v>0.30080000000000001</c:v>
                </c:pt>
                <c:pt idx="11">
                  <c:v>2.9390000000000001</c:v>
                </c:pt>
                <c:pt idx="12">
                  <c:v>0.35220000000000001</c:v>
                </c:pt>
                <c:pt idx="13">
                  <c:v>-0.112</c:v>
                </c:pt>
                <c:pt idx="14">
                  <c:v>-0.32019999999999998</c:v>
                </c:pt>
                <c:pt idx="15">
                  <c:v>0.5985000000000000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2.39</c:v>
                </c:pt>
                <c:pt idx="1">
                  <c:v>Av Price/Vol 11.88</c:v>
                </c:pt>
                <c:pt idx="2">
                  <c:v>Av Price/Vol 15.26</c:v>
                </c:pt>
                <c:pt idx="3">
                  <c:v>Av Price/Vol 13.92</c:v>
                </c:pt>
                <c:pt idx="4">
                  <c:v>Av Price/Vol 17.20</c:v>
                </c:pt>
                <c:pt idx="5">
                  <c:v>Av Price/Vol 22.72</c:v>
                </c:pt>
                <c:pt idx="6">
                  <c:v>Av Price/Vol 48.46</c:v>
                </c:pt>
                <c:pt idx="7">
                  <c:v>Av Price/Vol 21.52</c:v>
                </c:pt>
                <c:pt idx="8">
                  <c:v>Av Price/Vol 69.42</c:v>
                </c:pt>
                <c:pt idx="9">
                  <c:v>Av Price/Vol 50.81</c:v>
                </c:pt>
                <c:pt idx="10">
                  <c:v>Av Price/Vol 89.92</c:v>
                </c:pt>
                <c:pt idx="11">
                  <c:v>Av Price/Vol 165.10</c:v>
                </c:pt>
                <c:pt idx="12">
                  <c:v>Av Price/Vol 48.04</c:v>
                </c:pt>
                <c:pt idx="13">
                  <c:v>Av Price/Vol 43.83</c:v>
                </c:pt>
                <c:pt idx="14">
                  <c:v>Av Price/Vol 39.74</c:v>
                </c:pt>
                <c:pt idx="15">
                  <c:v>Av Price/Vol 59.00</c:v>
                </c:pt>
              </c:strCache>
            </c:strRef>
          </c:cat>
          <c:val>
            <c:numRef>
              <c:f>Sheet1!$E$2:$E$17</c:f>
              <c:numCache>
                <c:formatCode>General</c:formatCode>
                <c:ptCount val="16"/>
                <c:pt idx="0">
                  <c:v>2.0635435992578928</c:v>
                </c:pt>
                <c:pt idx="1">
                  <c:v>1.9783069409890872</c:v>
                </c:pt>
                <c:pt idx="2">
                  <c:v>2.5502363649192126</c:v>
                </c:pt>
                <c:pt idx="3">
                  <c:v>2.3193970420932852</c:v>
                </c:pt>
                <c:pt idx="4">
                  <c:v>2.8594334098995637</c:v>
                </c:pt>
                <c:pt idx="5">
                  <c:v>3.7938885560215678</c:v>
                </c:pt>
                <c:pt idx="6">
                  <c:v>8.0768059181897325</c:v>
                </c:pt>
                <c:pt idx="7">
                  <c:v>3.9716880341880363</c:v>
                </c:pt>
                <c:pt idx="8">
                  <c:v>11.560739266263031</c:v>
                </c:pt>
                <c:pt idx="9">
                  <c:v>8.4734189186896849</c:v>
                </c:pt>
                <c:pt idx="10">
                  <c:v>14.981102157525369</c:v>
                </c:pt>
                <c:pt idx="11">
                  <c:v>27.354726368159234</c:v>
                </c:pt>
                <c:pt idx="12">
                  <c:v>7.9842632331902719</c:v>
                </c:pt>
                <c:pt idx="13">
                  <c:v>7.2991217860543793</c:v>
                </c:pt>
                <c:pt idx="14">
                  <c:v>6.6225780085581007</c:v>
                </c:pt>
                <c:pt idx="15">
                  <c:v>9.8333333333333339</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rgbClr val="FF808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5F5275D7-0B92-45CE-AC50-CD401977B6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3DB1918C-2B4C-4023-8187-0649892E05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2082D5E-A477-4A11-B16E-98B44B028D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431368F-F67B-4C18-93BA-664F3DE67E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8C80418B-9EA3-42E1-ACD6-9EFED9A375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62BBC407-B001-4B69-A662-BC6420E688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71C0F14C-0D61-47CB-8477-67B10A8600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9F79CF2F-AAED-4BA0-8AE1-DA14CB5DE6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46.801299999999998</c:v>
                </c:pt>
                <c:pt idx="1">
                  <c:v>41.2483</c:v>
                </c:pt>
                <c:pt idx="2">
                  <c:v>37.876899999999999</c:v>
                </c:pt>
                <c:pt idx="3">
                  <c:v>41.274900000000002</c:v>
                </c:pt>
                <c:pt idx="4">
                  <c:v>38.665900000000001</c:v>
                </c:pt>
              </c:numCache>
            </c:numRef>
          </c:xVal>
          <c:yVal>
            <c:numRef>
              <c:f>Sheet1!$B$2:$B$6</c:f>
              <c:numCache>
                <c:formatCode>General</c:formatCode>
                <c:ptCount val="5"/>
                <c:pt idx="0">
                  <c:v>0.40389999999999998</c:v>
                </c:pt>
                <c:pt idx="1">
                  <c:v>0.40629999999999999</c:v>
                </c:pt>
                <c:pt idx="2">
                  <c:v>0.40910000000000002</c:v>
                </c:pt>
                <c:pt idx="3">
                  <c:v>0.40699999999999997</c:v>
                </c:pt>
                <c:pt idx="4">
                  <c:v>0.40529999999999999</c:v>
                </c:pt>
              </c:numCache>
            </c:numRef>
          </c:yVal>
          <c:bubbleSize>
            <c:numRef>
              <c:f>Sheet1!$C$2:$C$6</c:f>
              <c:numCache>
                <c:formatCode>General</c:formatCode>
                <c:ptCount val="5"/>
                <c:pt idx="0">
                  <c:v>4605666.7993000066</c:v>
                </c:pt>
                <c:pt idx="1">
                  <c:v>2820850.7430999968</c:v>
                </c:pt>
                <c:pt idx="2">
                  <c:v>24218891.512499999</c:v>
                </c:pt>
                <c:pt idx="3">
                  <c:v>6621358.0068000006</c:v>
                </c:pt>
                <c:pt idx="4">
                  <c:v>10880326.409799989</c:v>
                </c:pt>
              </c:numCache>
            </c:numRef>
          </c:bubbleSize>
          <c:bubble3D val="0"/>
          <c:extLst>
            <c:ext xmlns:c15="http://schemas.microsoft.com/office/drawing/2012/chart" uri="{02D57815-91ED-43cb-92C2-25804820EDAC}">
              <c15:datalabelsRange>
                <c15:f>Sheet1!$E$2:$E$29</c15:f>
                <c15:dlblRangeCache>
                  <c:ptCount val="28"/>
                  <c:pt idx="0">
                    <c:v>NICOLAS QCA</c:v>
                  </c:pt>
                  <c:pt idx="1">
                    <c:v>NICOLAS CCP</c:v>
                  </c:pt>
                  <c:pt idx="2">
                    <c:v>NICOLAS QCN</c:v>
                  </c:pt>
                  <c:pt idx="3">
                    <c:v>NICOLAS QCT</c:v>
                  </c:pt>
                  <c:pt idx="4">
                    <c:v>NICOLAS VCN</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6.161559999999994"/>
          <c:min val="30.3015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732781093536957"/>
        <c:crossBetween val="midCat"/>
      </c:valAx>
      <c:valAx>
        <c:axId val="1011451359"/>
        <c:scaling>
          <c:orientation val="minMax"/>
          <c:max val="0.85092000000000001"/>
          <c:min val="8.3119999999999999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9.53919527023351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3.03</c:v>
                </c:pt>
                <c:pt idx="1">
                  <c:v>Av Price/Vol 11.94</c:v>
                </c:pt>
                <c:pt idx="2">
                  <c:v>Av Price/Vol 15.47</c:v>
                </c:pt>
                <c:pt idx="3">
                  <c:v>Av Price/Vol 14.12</c:v>
                </c:pt>
                <c:pt idx="4">
                  <c:v>Av Price/Vol 17.13</c:v>
                </c:pt>
                <c:pt idx="5">
                  <c:v>Av Price/Vol 20.19</c:v>
                </c:pt>
                <c:pt idx="6">
                  <c:v>Av Price/Vol 48.01</c:v>
                </c:pt>
                <c:pt idx="7">
                  <c:v>Av Price/Vol 23.08</c:v>
                </c:pt>
                <c:pt idx="8">
                  <c:v>Av Price/Vol 75.73</c:v>
                </c:pt>
                <c:pt idx="9">
                  <c:v>Av Price/Vol 52.47</c:v>
                </c:pt>
                <c:pt idx="10">
                  <c:v>Av Price/Vol 97.59</c:v>
                </c:pt>
                <c:pt idx="11">
                  <c:v>Av Price/Vol 180.04</c:v>
                </c:pt>
                <c:pt idx="12">
                  <c:v>Av Price/Vol 48.94</c:v>
                </c:pt>
                <c:pt idx="13">
                  <c:v>Av Price/Vol 44.39</c:v>
                </c:pt>
                <c:pt idx="14">
                  <c:v>Av Price/Vol 39.99</c:v>
                </c:pt>
                <c:pt idx="15">
                  <c:v>Av Price/Vol 61.40</c:v>
                </c:pt>
              </c:strCache>
            </c:strRef>
          </c:cat>
          <c:val>
            <c:numRef>
              <c:f>Sheet1!$B$2:$B$17</c:f>
              <c:numCache>
                <c:formatCode>General</c:formatCode>
                <c:ptCount val="16"/>
                <c:pt idx="0">
                  <c:v>5.25</c:v>
                </c:pt>
                <c:pt idx="1">
                  <c:v>5.1917</c:v>
                </c:pt>
                <c:pt idx="2">
                  <c:v>6.1386000000000003</c:v>
                </c:pt>
                <c:pt idx="3">
                  <c:v>5.1067</c:v>
                </c:pt>
                <c:pt idx="4">
                  <c:v>6.8243</c:v>
                </c:pt>
                <c:pt idx="5">
                  <c:v>7.1779999999999999</c:v>
                </c:pt>
                <c:pt idx="6">
                  <c:v>16.647500000000001</c:v>
                </c:pt>
                <c:pt idx="7">
                  <c:v>12.803100000000001</c:v>
                </c:pt>
                <c:pt idx="8">
                  <c:v>24.929300000000001</c:v>
                </c:pt>
                <c:pt idx="9">
                  <c:v>17.1295</c:v>
                </c:pt>
                <c:pt idx="10">
                  <c:v>32.342500000000001</c:v>
                </c:pt>
                <c:pt idx="11">
                  <c:v>54.225700000000003</c:v>
                </c:pt>
                <c:pt idx="12">
                  <c:v>17.283799999999999</c:v>
                </c:pt>
                <c:pt idx="13">
                  <c:v>15.8184</c:v>
                </c:pt>
                <c:pt idx="14">
                  <c:v>14.609</c:v>
                </c:pt>
                <c:pt idx="15">
                  <c:v>21.07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3.03</c:v>
                </c:pt>
                <c:pt idx="1">
                  <c:v>Av Price/Vol 11.94</c:v>
                </c:pt>
                <c:pt idx="2">
                  <c:v>Av Price/Vol 15.47</c:v>
                </c:pt>
                <c:pt idx="3">
                  <c:v>Av Price/Vol 14.12</c:v>
                </c:pt>
                <c:pt idx="4">
                  <c:v>Av Price/Vol 17.13</c:v>
                </c:pt>
                <c:pt idx="5">
                  <c:v>Av Price/Vol 20.19</c:v>
                </c:pt>
                <c:pt idx="6">
                  <c:v>Av Price/Vol 48.01</c:v>
                </c:pt>
                <c:pt idx="7">
                  <c:v>Av Price/Vol 23.08</c:v>
                </c:pt>
                <c:pt idx="8">
                  <c:v>Av Price/Vol 75.73</c:v>
                </c:pt>
                <c:pt idx="9">
                  <c:v>Av Price/Vol 52.47</c:v>
                </c:pt>
                <c:pt idx="10">
                  <c:v>Av Price/Vol 97.59</c:v>
                </c:pt>
                <c:pt idx="11">
                  <c:v>Av Price/Vol 180.04</c:v>
                </c:pt>
                <c:pt idx="12">
                  <c:v>Av Price/Vol 48.94</c:v>
                </c:pt>
                <c:pt idx="13">
                  <c:v>Av Price/Vol 44.39</c:v>
                </c:pt>
                <c:pt idx="14">
                  <c:v>Av Price/Vol 39.99</c:v>
                </c:pt>
                <c:pt idx="15">
                  <c:v>Av Price/Vol 61.40</c:v>
                </c:pt>
              </c:strCache>
            </c:strRef>
          </c:cat>
          <c:val>
            <c:numRef>
              <c:f>Sheet1!$C$2:$C$17</c:f>
              <c:numCache>
                <c:formatCode>General</c:formatCode>
                <c:ptCount val="16"/>
                <c:pt idx="0">
                  <c:v>5.2293000000000003</c:v>
                </c:pt>
                <c:pt idx="1">
                  <c:v>4.3624000000000001</c:v>
                </c:pt>
                <c:pt idx="2">
                  <c:v>6.3940000000000001</c:v>
                </c:pt>
                <c:pt idx="3">
                  <c:v>5.8305999999999996</c:v>
                </c:pt>
                <c:pt idx="4">
                  <c:v>6.6982999999999997</c:v>
                </c:pt>
                <c:pt idx="5">
                  <c:v>9.3231000000000002</c:v>
                </c:pt>
                <c:pt idx="6">
                  <c:v>22.0458</c:v>
                </c:pt>
                <c:pt idx="7">
                  <c:v>11.359</c:v>
                </c:pt>
                <c:pt idx="8">
                  <c:v>36.525100000000002</c:v>
                </c:pt>
                <c:pt idx="9">
                  <c:v>26.364999999999998</c:v>
                </c:pt>
                <c:pt idx="10">
                  <c:v>47.873199999999997</c:v>
                </c:pt>
                <c:pt idx="11">
                  <c:v>89.358400000000003</c:v>
                </c:pt>
                <c:pt idx="12">
                  <c:v>22.500800000000002</c:v>
                </c:pt>
                <c:pt idx="13">
                  <c:v>20.9816</c:v>
                </c:pt>
                <c:pt idx="14">
                  <c:v>18.7973</c:v>
                </c:pt>
                <c:pt idx="15">
                  <c:v>28.907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3.03</c:v>
                </c:pt>
                <c:pt idx="1">
                  <c:v>Av Price/Vol 11.94</c:v>
                </c:pt>
                <c:pt idx="2">
                  <c:v>Av Price/Vol 15.47</c:v>
                </c:pt>
                <c:pt idx="3">
                  <c:v>Av Price/Vol 14.12</c:v>
                </c:pt>
                <c:pt idx="4">
                  <c:v>Av Price/Vol 17.13</c:v>
                </c:pt>
                <c:pt idx="5">
                  <c:v>Av Price/Vol 20.19</c:v>
                </c:pt>
                <c:pt idx="6">
                  <c:v>Av Price/Vol 48.01</c:v>
                </c:pt>
                <c:pt idx="7">
                  <c:v>Av Price/Vol 23.08</c:v>
                </c:pt>
                <c:pt idx="8">
                  <c:v>Av Price/Vol 75.73</c:v>
                </c:pt>
                <c:pt idx="9">
                  <c:v>Av Price/Vol 52.47</c:v>
                </c:pt>
                <c:pt idx="10">
                  <c:v>Av Price/Vol 97.59</c:v>
                </c:pt>
                <c:pt idx="11">
                  <c:v>Av Price/Vol 180.04</c:v>
                </c:pt>
                <c:pt idx="12">
                  <c:v>Av Price/Vol 48.94</c:v>
                </c:pt>
                <c:pt idx="13">
                  <c:v>Av Price/Vol 44.39</c:v>
                </c:pt>
                <c:pt idx="14">
                  <c:v>Av Price/Vol 39.99</c:v>
                </c:pt>
                <c:pt idx="15">
                  <c:v>Av Price/Vol 61.40</c:v>
                </c:pt>
              </c:strCache>
            </c:strRef>
          </c:cat>
          <c:val>
            <c:numRef>
              <c:f>Sheet1!$D$2:$D$17</c:f>
              <c:numCache>
                <c:formatCode>General</c:formatCode>
                <c:ptCount val="16"/>
                <c:pt idx="0">
                  <c:v>0.28910000000000002</c:v>
                </c:pt>
                <c:pt idx="1">
                  <c:v>0.3962</c:v>
                </c:pt>
                <c:pt idx="2">
                  <c:v>0.38890000000000002</c:v>
                </c:pt>
                <c:pt idx="3">
                  <c:v>0.79900000000000004</c:v>
                </c:pt>
                <c:pt idx="4">
                  <c:v>0.74219999999999997</c:v>
                </c:pt>
                <c:pt idx="5">
                  <c:v>0.45540000000000003</c:v>
                </c:pt>
                <c:pt idx="6">
                  <c:v>1.1129</c:v>
                </c:pt>
                <c:pt idx="7">
                  <c:v>-2.7282999999999999</c:v>
                </c:pt>
                <c:pt idx="8">
                  <c:v>1.5083</c:v>
                </c:pt>
                <c:pt idx="9">
                  <c:v>0.20219999999999999</c:v>
                </c:pt>
                <c:pt idx="10">
                  <c:v>0.93320000000000003</c:v>
                </c:pt>
                <c:pt idx="11">
                  <c:v>3.9874000000000001</c:v>
                </c:pt>
                <c:pt idx="12">
                  <c:v>0.69179999999999997</c:v>
                </c:pt>
                <c:pt idx="13">
                  <c:v>0.15359999999999999</c:v>
                </c:pt>
                <c:pt idx="14">
                  <c:v>-9.3100000000000002E-2</c:v>
                </c:pt>
                <c:pt idx="15">
                  <c:v>1.144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3.03</c:v>
                </c:pt>
                <c:pt idx="1">
                  <c:v>Av Price/Vol 11.94</c:v>
                </c:pt>
                <c:pt idx="2">
                  <c:v>Av Price/Vol 15.47</c:v>
                </c:pt>
                <c:pt idx="3">
                  <c:v>Av Price/Vol 14.12</c:v>
                </c:pt>
                <c:pt idx="4">
                  <c:v>Av Price/Vol 17.13</c:v>
                </c:pt>
                <c:pt idx="5">
                  <c:v>Av Price/Vol 20.19</c:v>
                </c:pt>
                <c:pt idx="6">
                  <c:v>Av Price/Vol 48.01</c:v>
                </c:pt>
                <c:pt idx="7">
                  <c:v>Av Price/Vol 23.08</c:v>
                </c:pt>
                <c:pt idx="8">
                  <c:v>Av Price/Vol 75.73</c:v>
                </c:pt>
                <c:pt idx="9">
                  <c:v>Av Price/Vol 52.47</c:v>
                </c:pt>
                <c:pt idx="10">
                  <c:v>Av Price/Vol 97.59</c:v>
                </c:pt>
                <c:pt idx="11">
                  <c:v>Av Price/Vol 180.04</c:v>
                </c:pt>
                <c:pt idx="12">
                  <c:v>Av Price/Vol 48.94</c:v>
                </c:pt>
                <c:pt idx="13">
                  <c:v>Av Price/Vol 44.39</c:v>
                </c:pt>
                <c:pt idx="14">
                  <c:v>Av Price/Vol 39.99</c:v>
                </c:pt>
                <c:pt idx="15">
                  <c:v>Av Price/Vol 61.40</c:v>
                </c:pt>
              </c:strCache>
            </c:strRef>
          </c:cat>
          <c:val>
            <c:numRef>
              <c:f>Sheet1!$E$2:$E$17</c:f>
              <c:numCache>
                <c:formatCode>General</c:formatCode>
                <c:ptCount val="16"/>
                <c:pt idx="0">
                  <c:v>2.1560024935871862</c:v>
                </c:pt>
                <c:pt idx="1">
                  <c:v>1.9901806967554299</c:v>
                </c:pt>
                <c:pt idx="2">
                  <c:v>2.5857292072798059</c:v>
                </c:pt>
                <c:pt idx="3">
                  <c:v>2.3495293735800056</c:v>
                </c:pt>
                <c:pt idx="4">
                  <c:v>2.8531585590210957</c:v>
                </c:pt>
                <c:pt idx="5">
                  <c:v>3.3921394549195227</c:v>
                </c:pt>
                <c:pt idx="6">
                  <c:v>8.0017127332860998</c:v>
                </c:pt>
                <c:pt idx="7">
                  <c:v>4.2874610134249451</c:v>
                </c:pt>
                <c:pt idx="8">
                  <c:v>12.614652391250374</c:v>
                </c:pt>
                <c:pt idx="9">
                  <c:v>8.7432108552724976</c:v>
                </c:pt>
                <c:pt idx="10">
                  <c:v>16.255990552183359</c:v>
                </c:pt>
                <c:pt idx="11">
                  <c:v>29.758328533026386</c:v>
                </c:pt>
                <c:pt idx="12">
                  <c:v>8.1049045744995958</c:v>
                </c:pt>
                <c:pt idx="13">
                  <c:v>7.3923748208948146</c:v>
                </c:pt>
                <c:pt idx="14">
                  <c:v>6.6635378393992024</c:v>
                </c:pt>
                <c:pt idx="15">
                  <c:v>10.23321834123900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2.76</c:v>
                </c:pt>
                <c:pt idx="1">
                  <c:v>Av Price/Vol 11.97</c:v>
                </c:pt>
                <c:pt idx="2">
                  <c:v>Av Price/Vol 15.57</c:v>
                </c:pt>
                <c:pt idx="3">
                  <c:v>Av Price/Vol 14.11</c:v>
                </c:pt>
                <c:pt idx="4">
                  <c:v>Av Price/Vol 17.01</c:v>
                </c:pt>
                <c:pt idx="5">
                  <c:v>Av Price/Vol 20.83</c:v>
                </c:pt>
                <c:pt idx="6">
                  <c:v>Av Price/Vol 46.61</c:v>
                </c:pt>
                <c:pt idx="7">
                  <c:v>Av Price/Vol 23.02</c:v>
                </c:pt>
                <c:pt idx="8">
                  <c:v>Av Price/Vol 74.97</c:v>
                </c:pt>
                <c:pt idx="9">
                  <c:v>Av Price/Vol 52.07</c:v>
                </c:pt>
                <c:pt idx="10">
                  <c:v>Av Price/Vol 93.41</c:v>
                </c:pt>
                <c:pt idx="11">
                  <c:v>Av Price/Vol 162.98</c:v>
                </c:pt>
                <c:pt idx="12">
                  <c:v>Av Price/Vol 47.92</c:v>
                </c:pt>
                <c:pt idx="13">
                  <c:v>Av Price/Vol 44.26</c:v>
                </c:pt>
                <c:pt idx="14">
                  <c:v>Av Price/Vol 40.03</c:v>
                </c:pt>
                <c:pt idx="15">
                  <c:v>Av Price/Vol 59.36</c:v>
                </c:pt>
              </c:strCache>
            </c:strRef>
          </c:cat>
          <c:val>
            <c:numRef>
              <c:f>Sheet1!$B$2:$B$17</c:f>
              <c:numCache>
                <c:formatCode>General</c:formatCode>
                <c:ptCount val="16"/>
                <c:pt idx="0">
                  <c:v>5.3216999999999999</c:v>
                </c:pt>
                <c:pt idx="1">
                  <c:v>5.2146999999999997</c:v>
                </c:pt>
                <c:pt idx="2">
                  <c:v>6.2126000000000001</c:v>
                </c:pt>
                <c:pt idx="3">
                  <c:v>5.1509</c:v>
                </c:pt>
                <c:pt idx="4">
                  <c:v>6.8612000000000002</c:v>
                </c:pt>
                <c:pt idx="5">
                  <c:v>7.4817</c:v>
                </c:pt>
                <c:pt idx="6">
                  <c:v>16.506799999999998</c:v>
                </c:pt>
                <c:pt idx="7">
                  <c:v>12.914199999999999</c:v>
                </c:pt>
                <c:pt idx="8">
                  <c:v>24.926400000000001</c:v>
                </c:pt>
                <c:pt idx="9">
                  <c:v>17.0505</c:v>
                </c:pt>
                <c:pt idx="10">
                  <c:v>31.297499999999999</c:v>
                </c:pt>
                <c:pt idx="11">
                  <c:v>50.7271</c:v>
                </c:pt>
                <c:pt idx="12">
                  <c:v>17.112300000000001</c:v>
                </c:pt>
                <c:pt idx="13">
                  <c:v>15.767300000000001</c:v>
                </c:pt>
                <c:pt idx="14">
                  <c:v>14.601800000000001</c:v>
                </c:pt>
                <c:pt idx="15">
                  <c:v>20.599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2.76</c:v>
                </c:pt>
                <c:pt idx="1">
                  <c:v>Av Price/Vol 11.97</c:v>
                </c:pt>
                <c:pt idx="2">
                  <c:v>Av Price/Vol 15.57</c:v>
                </c:pt>
                <c:pt idx="3">
                  <c:v>Av Price/Vol 14.11</c:v>
                </c:pt>
                <c:pt idx="4">
                  <c:v>Av Price/Vol 17.01</c:v>
                </c:pt>
                <c:pt idx="5">
                  <c:v>Av Price/Vol 20.83</c:v>
                </c:pt>
                <c:pt idx="6">
                  <c:v>Av Price/Vol 46.61</c:v>
                </c:pt>
                <c:pt idx="7">
                  <c:v>Av Price/Vol 23.02</c:v>
                </c:pt>
                <c:pt idx="8">
                  <c:v>Av Price/Vol 74.97</c:v>
                </c:pt>
                <c:pt idx="9">
                  <c:v>Av Price/Vol 52.07</c:v>
                </c:pt>
                <c:pt idx="10">
                  <c:v>Av Price/Vol 93.41</c:v>
                </c:pt>
                <c:pt idx="11">
                  <c:v>Av Price/Vol 162.98</c:v>
                </c:pt>
                <c:pt idx="12">
                  <c:v>Av Price/Vol 47.92</c:v>
                </c:pt>
                <c:pt idx="13">
                  <c:v>Av Price/Vol 44.26</c:v>
                </c:pt>
                <c:pt idx="14">
                  <c:v>Av Price/Vol 40.03</c:v>
                </c:pt>
                <c:pt idx="15">
                  <c:v>Av Price/Vol 59.36</c:v>
                </c:pt>
              </c:strCache>
            </c:strRef>
          </c:cat>
          <c:val>
            <c:numRef>
              <c:f>Sheet1!$C$2:$C$17</c:f>
              <c:numCache>
                <c:formatCode>General</c:formatCode>
                <c:ptCount val="16"/>
                <c:pt idx="0">
                  <c:v>5.0103999999999997</c:v>
                </c:pt>
                <c:pt idx="1">
                  <c:v>4.3533999999999997</c:v>
                </c:pt>
                <c:pt idx="2">
                  <c:v>6.4223999999999997</c:v>
                </c:pt>
                <c:pt idx="3">
                  <c:v>5.8724999999999996</c:v>
                </c:pt>
                <c:pt idx="4">
                  <c:v>6.5792999999999999</c:v>
                </c:pt>
                <c:pt idx="5">
                  <c:v>9.4864999999999995</c:v>
                </c:pt>
                <c:pt idx="6">
                  <c:v>21.6447</c:v>
                </c:pt>
                <c:pt idx="7">
                  <c:v>11.4682</c:v>
                </c:pt>
                <c:pt idx="8">
                  <c:v>36.495100000000001</c:v>
                </c:pt>
                <c:pt idx="9">
                  <c:v>26.1693</c:v>
                </c:pt>
                <c:pt idx="10">
                  <c:v>45.694000000000003</c:v>
                </c:pt>
                <c:pt idx="11">
                  <c:v>81.560400000000001</c:v>
                </c:pt>
                <c:pt idx="12">
                  <c:v>22.188700000000001</c:v>
                </c:pt>
                <c:pt idx="13">
                  <c:v>20.892800000000001</c:v>
                </c:pt>
                <c:pt idx="14">
                  <c:v>18.830200000000001</c:v>
                </c:pt>
                <c:pt idx="15">
                  <c:v>28.10539999999999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2.76</c:v>
                </c:pt>
                <c:pt idx="1">
                  <c:v>Av Price/Vol 11.97</c:v>
                </c:pt>
                <c:pt idx="2">
                  <c:v>Av Price/Vol 15.57</c:v>
                </c:pt>
                <c:pt idx="3">
                  <c:v>Av Price/Vol 14.11</c:v>
                </c:pt>
                <c:pt idx="4">
                  <c:v>Av Price/Vol 17.01</c:v>
                </c:pt>
                <c:pt idx="5">
                  <c:v>Av Price/Vol 20.83</c:v>
                </c:pt>
                <c:pt idx="6">
                  <c:v>Av Price/Vol 46.61</c:v>
                </c:pt>
                <c:pt idx="7">
                  <c:v>Av Price/Vol 23.02</c:v>
                </c:pt>
                <c:pt idx="8">
                  <c:v>Av Price/Vol 74.97</c:v>
                </c:pt>
                <c:pt idx="9">
                  <c:v>Av Price/Vol 52.07</c:v>
                </c:pt>
                <c:pt idx="10">
                  <c:v>Av Price/Vol 93.41</c:v>
                </c:pt>
                <c:pt idx="11">
                  <c:v>Av Price/Vol 162.98</c:v>
                </c:pt>
                <c:pt idx="12">
                  <c:v>Av Price/Vol 47.92</c:v>
                </c:pt>
                <c:pt idx="13">
                  <c:v>Av Price/Vol 44.26</c:v>
                </c:pt>
                <c:pt idx="14">
                  <c:v>Av Price/Vol 40.03</c:v>
                </c:pt>
                <c:pt idx="15">
                  <c:v>Av Price/Vol 59.36</c:v>
                </c:pt>
              </c:strCache>
            </c:strRef>
          </c:cat>
          <c:val>
            <c:numRef>
              <c:f>Sheet1!$D$2:$D$17</c:f>
              <c:numCache>
                <c:formatCode>General</c:formatCode>
                <c:ptCount val="16"/>
                <c:pt idx="0">
                  <c:v>0.22090000000000001</c:v>
                </c:pt>
                <c:pt idx="1">
                  <c:v>0.40679999999999999</c:v>
                </c:pt>
                <c:pt idx="2">
                  <c:v>0.38069999999999998</c:v>
                </c:pt>
                <c:pt idx="3">
                  <c:v>0.73450000000000004</c:v>
                </c:pt>
                <c:pt idx="4">
                  <c:v>0.73650000000000004</c:v>
                </c:pt>
                <c:pt idx="5">
                  <c:v>0.42520000000000002</c:v>
                </c:pt>
                <c:pt idx="6">
                  <c:v>0.68700000000000006</c:v>
                </c:pt>
                <c:pt idx="7">
                  <c:v>-2.8294000000000001</c:v>
                </c:pt>
                <c:pt idx="8">
                  <c:v>1.0361</c:v>
                </c:pt>
                <c:pt idx="9">
                  <c:v>0.1633</c:v>
                </c:pt>
                <c:pt idx="10">
                  <c:v>0.84230000000000005</c:v>
                </c:pt>
                <c:pt idx="11">
                  <c:v>2.3409</c:v>
                </c:pt>
                <c:pt idx="12">
                  <c:v>0.50970000000000004</c:v>
                </c:pt>
                <c:pt idx="13">
                  <c:v>0.17180000000000001</c:v>
                </c:pt>
                <c:pt idx="14">
                  <c:v>-8.6999999999999994E-2</c:v>
                </c:pt>
                <c:pt idx="15">
                  <c:v>0.7533999999999999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2.76</c:v>
                </c:pt>
                <c:pt idx="1">
                  <c:v>Av Price/Vol 11.97</c:v>
                </c:pt>
                <c:pt idx="2">
                  <c:v>Av Price/Vol 15.57</c:v>
                </c:pt>
                <c:pt idx="3">
                  <c:v>Av Price/Vol 14.11</c:v>
                </c:pt>
                <c:pt idx="4">
                  <c:v>Av Price/Vol 17.01</c:v>
                </c:pt>
                <c:pt idx="5">
                  <c:v>Av Price/Vol 20.83</c:v>
                </c:pt>
                <c:pt idx="6">
                  <c:v>Av Price/Vol 46.61</c:v>
                </c:pt>
                <c:pt idx="7">
                  <c:v>Av Price/Vol 23.02</c:v>
                </c:pt>
                <c:pt idx="8">
                  <c:v>Av Price/Vol 74.97</c:v>
                </c:pt>
                <c:pt idx="9">
                  <c:v>Av Price/Vol 52.07</c:v>
                </c:pt>
                <c:pt idx="10">
                  <c:v>Av Price/Vol 93.41</c:v>
                </c:pt>
                <c:pt idx="11">
                  <c:v>Av Price/Vol 162.98</c:v>
                </c:pt>
                <c:pt idx="12">
                  <c:v>Av Price/Vol 47.92</c:v>
                </c:pt>
                <c:pt idx="13">
                  <c:v>Av Price/Vol 44.26</c:v>
                </c:pt>
                <c:pt idx="14">
                  <c:v>Av Price/Vol 40.03</c:v>
                </c:pt>
                <c:pt idx="15">
                  <c:v>Av Price/Vol 59.36</c:v>
                </c:pt>
              </c:strCache>
            </c:strRef>
          </c:cat>
          <c:val>
            <c:numRef>
              <c:f>Sheet1!$E$2:$E$17</c:f>
              <c:numCache>
                <c:formatCode>General</c:formatCode>
                <c:ptCount val="16"/>
                <c:pt idx="0">
                  <c:v>2.1109232164301615</c:v>
                </c:pt>
                <c:pt idx="1">
                  <c:v>1.9949836214523116</c:v>
                </c:pt>
                <c:pt idx="2">
                  <c:v>2.6032821010008775</c:v>
                </c:pt>
                <c:pt idx="3">
                  <c:v>2.3515751211631635</c:v>
                </c:pt>
                <c:pt idx="4">
                  <c:v>2.8354140657511451</c:v>
                </c:pt>
                <c:pt idx="5">
                  <c:v>3.4786991062562125</c:v>
                </c:pt>
                <c:pt idx="6">
                  <c:v>7.7676969092721837</c:v>
                </c:pt>
                <c:pt idx="7">
                  <c:v>4.310623956660053</c:v>
                </c:pt>
                <c:pt idx="8">
                  <c:v>12.495976342834995</c:v>
                </c:pt>
                <c:pt idx="9">
                  <c:v>8.6773023235132989</c:v>
                </c:pt>
                <c:pt idx="10">
                  <c:v>15.570131446368077</c:v>
                </c:pt>
                <c:pt idx="11">
                  <c:v>27.006825627957753</c:v>
                </c:pt>
                <c:pt idx="12">
                  <c:v>7.9625850340136113</c:v>
                </c:pt>
                <c:pt idx="13">
                  <c:v>7.3673528091148919</c:v>
                </c:pt>
                <c:pt idx="14">
                  <c:v>6.668985580571718</c:v>
                </c:pt>
                <c:pt idx="15">
                  <c:v>9.893276324614342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4.62</c:v>
                </c:pt>
                <c:pt idx="1">
                  <c:v>Av Price/Vol 12.20</c:v>
                </c:pt>
                <c:pt idx="2">
                  <c:v>Av Price/Vol 15.76</c:v>
                </c:pt>
                <c:pt idx="3">
                  <c:v>Av Price/Vol 13.45</c:v>
                </c:pt>
                <c:pt idx="4">
                  <c:v>Av Price/Vol 17.20</c:v>
                </c:pt>
                <c:pt idx="5">
                  <c:v>Av Price/Vol 23.24</c:v>
                </c:pt>
                <c:pt idx="6">
                  <c:v>Av Price/Vol 45.10</c:v>
                </c:pt>
                <c:pt idx="7">
                  <c:v>Av Price/Vol 27.25</c:v>
                </c:pt>
                <c:pt idx="8">
                  <c:v>Av Price/Vol 93.71</c:v>
                </c:pt>
                <c:pt idx="9">
                  <c:v>Av Price/Vol 55.95</c:v>
                </c:pt>
                <c:pt idx="10">
                  <c:v>Av Price/Vol 111.73</c:v>
                </c:pt>
                <c:pt idx="11">
                  <c:v>Av Price/Vol 215.57</c:v>
                </c:pt>
                <c:pt idx="12">
                  <c:v>Av Price/Vol 51.89</c:v>
                </c:pt>
                <c:pt idx="13">
                  <c:v>Av Price/Vol 45.17</c:v>
                </c:pt>
                <c:pt idx="14">
                  <c:v>Av Price/Vol 40.24</c:v>
                </c:pt>
                <c:pt idx="15">
                  <c:v>Av Price/Vol 67.65</c:v>
                </c:pt>
              </c:strCache>
            </c:strRef>
          </c:cat>
          <c:val>
            <c:numRef>
              <c:f>Sheet1!$B$2:$B$17</c:f>
              <c:numCache>
                <c:formatCode>General</c:formatCode>
                <c:ptCount val="16"/>
                <c:pt idx="0">
                  <c:v>5.8116000000000003</c:v>
                </c:pt>
                <c:pt idx="1">
                  <c:v>5.2721999999999998</c:v>
                </c:pt>
                <c:pt idx="2">
                  <c:v>6.4703999999999997</c:v>
                </c:pt>
                <c:pt idx="3">
                  <c:v>4.8293999999999997</c:v>
                </c:pt>
                <c:pt idx="4">
                  <c:v>6.8734999999999999</c:v>
                </c:pt>
                <c:pt idx="5">
                  <c:v>8.6189</c:v>
                </c:pt>
                <c:pt idx="6">
                  <c:v>15.4956</c:v>
                </c:pt>
                <c:pt idx="7">
                  <c:v>15.625500000000001</c:v>
                </c:pt>
                <c:pt idx="8">
                  <c:v>30.2837</c:v>
                </c:pt>
                <c:pt idx="9">
                  <c:v>18.2807</c:v>
                </c:pt>
                <c:pt idx="10">
                  <c:v>36.368600000000001</c:v>
                </c:pt>
                <c:pt idx="11">
                  <c:v>64.194800000000001</c:v>
                </c:pt>
                <c:pt idx="12">
                  <c:v>17.869900000000001</c:v>
                </c:pt>
                <c:pt idx="13">
                  <c:v>15.8131</c:v>
                </c:pt>
                <c:pt idx="14">
                  <c:v>14.493399999999999</c:v>
                </c:pt>
                <c:pt idx="15">
                  <c:v>22.900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4.62</c:v>
                </c:pt>
                <c:pt idx="1">
                  <c:v>Av Price/Vol 12.20</c:v>
                </c:pt>
                <c:pt idx="2">
                  <c:v>Av Price/Vol 15.76</c:v>
                </c:pt>
                <c:pt idx="3">
                  <c:v>Av Price/Vol 13.45</c:v>
                </c:pt>
                <c:pt idx="4">
                  <c:v>Av Price/Vol 17.20</c:v>
                </c:pt>
                <c:pt idx="5">
                  <c:v>Av Price/Vol 23.24</c:v>
                </c:pt>
                <c:pt idx="6">
                  <c:v>Av Price/Vol 45.10</c:v>
                </c:pt>
                <c:pt idx="7">
                  <c:v>Av Price/Vol 27.25</c:v>
                </c:pt>
                <c:pt idx="8">
                  <c:v>Av Price/Vol 93.71</c:v>
                </c:pt>
                <c:pt idx="9">
                  <c:v>Av Price/Vol 55.95</c:v>
                </c:pt>
                <c:pt idx="10">
                  <c:v>Av Price/Vol 111.73</c:v>
                </c:pt>
                <c:pt idx="11">
                  <c:v>Av Price/Vol 215.57</c:v>
                </c:pt>
                <c:pt idx="12">
                  <c:v>Av Price/Vol 51.89</c:v>
                </c:pt>
                <c:pt idx="13">
                  <c:v>Av Price/Vol 45.17</c:v>
                </c:pt>
                <c:pt idx="14">
                  <c:v>Av Price/Vol 40.24</c:v>
                </c:pt>
                <c:pt idx="15">
                  <c:v>Av Price/Vol 67.65</c:v>
                </c:pt>
              </c:strCache>
            </c:strRef>
          </c:cat>
          <c:val>
            <c:numRef>
              <c:f>Sheet1!$C$2:$C$17</c:f>
              <c:numCache>
                <c:formatCode>General</c:formatCode>
                <c:ptCount val="16"/>
                <c:pt idx="0">
                  <c:v>5.5175999999999998</c:v>
                </c:pt>
                <c:pt idx="1">
                  <c:v>4.4207000000000001</c:v>
                </c:pt>
                <c:pt idx="2">
                  <c:v>6.1771000000000003</c:v>
                </c:pt>
                <c:pt idx="3">
                  <c:v>5.4863</c:v>
                </c:pt>
                <c:pt idx="4">
                  <c:v>6.6143999999999998</c:v>
                </c:pt>
                <c:pt idx="5">
                  <c:v>10.2006</c:v>
                </c:pt>
                <c:pt idx="6">
                  <c:v>20.244499999999999</c:v>
                </c:pt>
                <c:pt idx="7">
                  <c:v>13.144600000000001</c:v>
                </c:pt>
                <c:pt idx="8">
                  <c:v>44.9833</c:v>
                </c:pt>
                <c:pt idx="9">
                  <c:v>27.886199999999999</c:v>
                </c:pt>
                <c:pt idx="10">
                  <c:v>55.176099999999998</c:v>
                </c:pt>
                <c:pt idx="11">
                  <c:v>107.4986</c:v>
                </c:pt>
                <c:pt idx="12">
                  <c:v>23.427900000000001</c:v>
                </c:pt>
                <c:pt idx="13">
                  <c:v>21.660399999999999</c:v>
                </c:pt>
                <c:pt idx="14">
                  <c:v>18.8184</c:v>
                </c:pt>
                <c:pt idx="15">
                  <c:v>31.888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4.62</c:v>
                </c:pt>
                <c:pt idx="1">
                  <c:v>Av Price/Vol 12.20</c:v>
                </c:pt>
                <c:pt idx="2">
                  <c:v>Av Price/Vol 15.76</c:v>
                </c:pt>
                <c:pt idx="3">
                  <c:v>Av Price/Vol 13.45</c:v>
                </c:pt>
                <c:pt idx="4">
                  <c:v>Av Price/Vol 17.20</c:v>
                </c:pt>
                <c:pt idx="5">
                  <c:v>Av Price/Vol 23.24</c:v>
                </c:pt>
                <c:pt idx="6">
                  <c:v>Av Price/Vol 45.10</c:v>
                </c:pt>
                <c:pt idx="7">
                  <c:v>Av Price/Vol 27.25</c:v>
                </c:pt>
                <c:pt idx="8">
                  <c:v>Av Price/Vol 93.71</c:v>
                </c:pt>
                <c:pt idx="9">
                  <c:v>Av Price/Vol 55.95</c:v>
                </c:pt>
                <c:pt idx="10">
                  <c:v>Av Price/Vol 111.73</c:v>
                </c:pt>
                <c:pt idx="11">
                  <c:v>Av Price/Vol 215.57</c:v>
                </c:pt>
                <c:pt idx="12">
                  <c:v>Av Price/Vol 51.89</c:v>
                </c:pt>
                <c:pt idx="13">
                  <c:v>Av Price/Vol 45.17</c:v>
                </c:pt>
                <c:pt idx="14">
                  <c:v>Av Price/Vol 40.24</c:v>
                </c:pt>
                <c:pt idx="15">
                  <c:v>Av Price/Vol 67.65</c:v>
                </c:pt>
              </c:strCache>
            </c:strRef>
          </c:cat>
          <c:val>
            <c:numRef>
              <c:f>Sheet1!$D$2:$D$17</c:f>
              <c:numCache>
                <c:formatCode>General</c:formatCode>
                <c:ptCount val="16"/>
                <c:pt idx="0">
                  <c:v>0.86040000000000005</c:v>
                </c:pt>
                <c:pt idx="1">
                  <c:v>0.46710000000000002</c:v>
                </c:pt>
                <c:pt idx="2">
                  <c:v>0.51449999999999996</c:v>
                </c:pt>
                <c:pt idx="3">
                  <c:v>0.87409999999999999</c:v>
                </c:pt>
                <c:pt idx="4">
                  <c:v>0.84389999999999998</c:v>
                </c:pt>
                <c:pt idx="5">
                  <c:v>0.54430000000000001</c:v>
                </c:pt>
                <c:pt idx="6">
                  <c:v>1.8413999999999999</c:v>
                </c:pt>
                <c:pt idx="7">
                  <c:v>-3.2235999999999998</c:v>
                </c:pt>
                <c:pt idx="8">
                  <c:v>2.6343000000000001</c:v>
                </c:pt>
                <c:pt idx="9">
                  <c:v>0.39389999999999997</c:v>
                </c:pt>
                <c:pt idx="10">
                  <c:v>0.97360000000000002</c:v>
                </c:pt>
                <c:pt idx="11">
                  <c:v>3.6486999999999998</c:v>
                </c:pt>
                <c:pt idx="12">
                  <c:v>1.2121</c:v>
                </c:pt>
                <c:pt idx="13">
                  <c:v>0.15970000000000001</c:v>
                </c:pt>
                <c:pt idx="14">
                  <c:v>0.19950000000000001</c:v>
                </c:pt>
                <c:pt idx="15">
                  <c:v>1.575499999999999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4.62</c:v>
                </c:pt>
                <c:pt idx="1">
                  <c:v>Av Price/Vol 12.20</c:v>
                </c:pt>
                <c:pt idx="2">
                  <c:v>Av Price/Vol 15.76</c:v>
                </c:pt>
                <c:pt idx="3">
                  <c:v>Av Price/Vol 13.45</c:v>
                </c:pt>
                <c:pt idx="4">
                  <c:v>Av Price/Vol 17.20</c:v>
                </c:pt>
                <c:pt idx="5">
                  <c:v>Av Price/Vol 23.24</c:v>
                </c:pt>
                <c:pt idx="6">
                  <c:v>Av Price/Vol 45.10</c:v>
                </c:pt>
                <c:pt idx="7">
                  <c:v>Av Price/Vol 27.25</c:v>
                </c:pt>
                <c:pt idx="8">
                  <c:v>Av Price/Vol 93.71</c:v>
                </c:pt>
                <c:pt idx="9">
                  <c:v>Av Price/Vol 55.95</c:v>
                </c:pt>
                <c:pt idx="10">
                  <c:v>Av Price/Vol 111.73</c:v>
                </c:pt>
                <c:pt idx="11">
                  <c:v>Av Price/Vol 215.57</c:v>
                </c:pt>
                <c:pt idx="12">
                  <c:v>Av Price/Vol 51.89</c:v>
                </c:pt>
                <c:pt idx="13">
                  <c:v>Av Price/Vol 45.17</c:v>
                </c:pt>
                <c:pt idx="14">
                  <c:v>Av Price/Vol 40.24</c:v>
                </c:pt>
                <c:pt idx="15">
                  <c:v>Av Price/Vol 67.65</c:v>
                </c:pt>
              </c:strCache>
            </c:strRef>
          </c:cat>
          <c:val>
            <c:numRef>
              <c:f>Sheet1!$E$2:$E$17</c:f>
              <c:numCache>
                <c:formatCode>General</c:formatCode>
                <c:ptCount val="16"/>
                <c:pt idx="0">
                  <c:v>2.4431972789115597</c:v>
                </c:pt>
                <c:pt idx="1">
                  <c:v>2.0320076748648184</c:v>
                </c:pt>
                <c:pt idx="2">
                  <c:v>2.6329781677635</c:v>
                </c:pt>
                <c:pt idx="3">
                  <c:v>2.2408477842003847</c:v>
                </c:pt>
                <c:pt idx="4">
                  <c:v>2.8663567000476879</c:v>
                </c:pt>
                <c:pt idx="5">
                  <c:v>3.8727647867950483</c:v>
                </c:pt>
                <c:pt idx="6">
                  <c:v>7.5163170163170143</c:v>
                </c:pt>
                <c:pt idx="7">
                  <c:v>5.1092700888022557</c:v>
                </c:pt>
                <c:pt idx="8">
                  <c:v>15.622035767745956</c:v>
                </c:pt>
                <c:pt idx="9">
                  <c:v>9.316538848197597</c:v>
                </c:pt>
                <c:pt idx="10">
                  <c:v>18.57794477455435</c:v>
                </c:pt>
                <c:pt idx="11">
                  <c:v>35.40779349714564</c:v>
                </c:pt>
                <c:pt idx="12">
                  <c:v>8.5352250489236798</c:v>
                </c:pt>
                <c:pt idx="13">
                  <c:v>7.527531083481338</c:v>
                </c:pt>
                <c:pt idx="14">
                  <c:v>6.7035725167580766</c:v>
                </c:pt>
                <c:pt idx="15">
                  <c:v>11.27543859649123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5.16</c:v>
                </c:pt>
                <c:pt idx="1">
                  <c:v>Av Price/Vol 11.50</c:v>
                </c:pt>
                <c:pt idx="2">
                  <c:v>Av Price/Vol 15.72</c:v>
                </c:pt>
                <c:pt idx="3">
                  <c:v>Av Price/Vol 14.07</c:v>
                </c:pt>
                <c:pt idx="4">
                  <c:v>Av Price/Vol 16.86</c:v>
                </c:pt>
                <c:pt idx="5">
                  <c:v>Av Price/Vol 23.25</c:v>
                </c:pt>
                <c:pt idx="6">
                  <c:v>Av Price/Vol 47.35</c:v>
                </c:pt>
                <c:pt idx="7">
                  <c:v>Av Price/Vol 23.30</c:v>
                </c:pt>
                <c:pt idx="8">
                  <c:v>Av Price/Vol 73.64</c:v>
                </c:pt>
                <c:pt idx="9">
                  <c:v>Av Price/Vol 53.69</c:v>
                </c:pt>
                <c:pt idx="10">
                  <c:v>Av Price/Vol 98.81</c:v>
                </c:pt>
                <c:pt idx="11">
                  <c:v>Av Price/Vol 187.10</c:v>
                </c:pt>
                <c:pt idx="12">
                  <c:v>Av Price/Vol 49.00</c:v>
                </c:pt>
                <c:pt idx="13">
                  <c:v>Av Price/Vol 44.31</c:v>
                </c:pt>
                <c:pt idx="14">
                  <c:v>Av Price/Vol 39.97</c:v>
                </c:pt>
                <c:pt idx="15">
                  <c:v>Av Price/Vol 61.43</c:v>
                </c:pt>
              </c:strCache>
            </c:strRef>
          </c:cat>
          <c:val>
            <c:numRef>
              <c:f>Sheet1!$B$2:$B$17</c:f>
              <c:numCache>
                <c:formatCode>General</c:formatCode>
                <c:ptCount val="16"/>
                <c:pt idx="0">
                  <c:v>5.306</c:v>
                </c:pt>
                <c:pt idx="1">
                  <c:v>4.9021999999999997</c:v>
                </c:pt>
                <c:pt idx="2">
                  <c:v>6.4600999999999997</c:v>
                </c:pt>
                <c:pt idx="3">
                  <c:v>4.9466999999999999</c:v>
                </c:pt>
                <c:pt idx="4">
                  <c:v>6.8280000000000003</c:v>
                </c:pt>
                <c:pt idx="5">
                  <c:v>8.5784000000000002</c:v>
                </c:pt>
                <c:pt idx="6">
                  <c:v>16.439</c:v>
                </c:pt>
                <c:pt idx="7">
                  <c:v>12.5098</c:v>
                </c:pt>
                <c:pt idx="8">
                  <c:v>24.147500000000001</c:v>
                </c:pt>
                <c:pt idx="9">
                  <c:v>17.658999999999999</c:v>
                </c:pt>
                <c:pt idx="10">
                  <c:v>32.4895</c:v>
                </c:pt>
                <c:pt idx="11">
                  <c:v>54.194800000000001</c:v>
                </c:pt>
                <c:pt idx="12">
                  <c:v>17.083500000000001</c:v>
                </c:pt>
                <c:pt idx="13">
                  <c:v>15.808999999999999</c:v>
                </c:pt>
                <c:pt idx="14">
                  <c:v>14.5792</c:v>
                </c:pt>
                <c:pt idx="15">
                  <c:v>20.78610000000000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5.16</c:v>
                </c:pt>
                <c:pt idx="1">
                  <c:v>Av Price/Vol 11.50</c:v>
                </c:pt>
                <c:pt idx="2">
                  <c:v>Av Price/Vol 15.72</c:v>
                </c:pt>
                <c:pt idx="3">
                  <c:v>Av Price/Vol 14.07</c:v>
                </c:pt>
                <c:pt idx="4">
                  <c:v>Av Price/Vol 16.86</c:v>
                </c:pt>
                <c:pt idx="5">
                  <c:v>Av Price/Vol 23.25</c:v>
                </c:pt>
                <c:pt idx="6">
                  <c:v>Av Price/Vol 47.35</c:v>
                </c:pt>
                <c:pt idx="7">
                  <c:v>Av Price/Vol 23.30</c:v>
                </c:pt>
                <c:pt idx="8">
                  <c:v>Av Price/Vol 73.64</c:v>
                </c:pt>
                <c:pt idx="9">
                  <c:v>Av Price/Vol 53.69</c:v>
                </c:pt>
                <c:pt idx="10">
                  <c:v>Av Price/Vol 98.81</c:v>
                </c:pt>
                <c:pt idx="11">
                  <c:v>Av Price/Vol 187.10</c:v>
                </c:pt>
                <c:pt idx="12">
                  <c:v>Av Price/Vol 49.00</c:v>
                </c:pt>
                <c:pt idx="13">
                  <c:v>Av Price/Vol 44.31</c:v>
                </c:pt>
                <c:pt idx="14">
                  <c:v>Av Price/Vol 39.97</c:v>
                </c:pt>
                <c:pt idx="15">
                  <c:v>Av Price/Vol 61.43</c:v>
                </c:pt>
              </c:strCache>
            </c:strRef>
          </c:cat>
          <c:val>
            <c:numRef>
              <c:f>Sheet1!$C$2:$C$17</c:f>
              <c:numCache>
                <c:formatCode>General</c:formatCode>
                <c:ptCount val="16"/>
                <c:pt idx="0">
                  <c:v>7.0856000000000003</c:v>
                </c:pt>
                <c:pt idx="1">
                  <c:v>4.3395999999999999</c:v>
                </c:pt>
                <c:pt idx="2">
                  <c:v>6.2194000000000003</c:v>
                </c:pt>
                <c:pt idx="3">
                  <c:v>5.5738000000000003</c:v>
                </c:pt>
                <c:pt idx="4">
                  <c:v>6.5522</c:v>
                </c:pt>
                <c:pt idx="5">
                  <c:v>10.0519</c:v>
                </c:pt>
                <c:pt idx="6">
                  <c:v>21.5764</c:v>
                </c:pt>
                <c:pt idx="7">
                  <c:v>10.9892</c:v>
                </c:pt>
                <c:pt idx="8">
                  <c:v>35.072499999999998</c:v>
                </c:pt>
                <c:pt idx="9">
                  <c:v>26.6462</c:v>
                </c:pt>
                <c:pt idx="10">
                  <c:v>47.8202</c:v>
                </c:pt>
                <c:pt idx="11">
                  <c:v>92.084900000000005</c:v>
                </c:pt>
                <c:pt idx="12">
                  <c:v>22.018699999999999</c:v>
                </c:pt>
                <c:pt idx="13">
                  <c:v>20.483699999999999</c:v>
                </c:pt>
                <c:pt idx="14">
                  <c:v>18.775400000000001</c:v>
                </c:pt>
                <c:pt idx="15">
                  <c:v>28.07250000000000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5.16</c:v>
                </c:pt>
                <c:pt idx="1">
                  <c:v>Av Price/Vol 11.50</c:v>
                </c:pt>
                <c:pt idx="2">
                  <c:v>Av Price/Vol 15.72</c:v>
                </c:pt>
                <c:pt idx="3">
                  <c:v>Av Price/Vol 14.07</c:v>
                </c:pt>
                <c:pt idx="4">
                  <c:v>Av Price/Vol 16.86</c:v>
                </c:pt>
                <c:pt idx="5">
                  <c:v>Av Price/Vol 23.25</c:v>
                </c:pt>
                <c:pt idx="6">
                  <c:v>Av Price/Vol 47.35</c:v>
                </c:pt>
                <c:pt idx="7">
                  <c:v>Av Price/Vol 23.30</c:v>
                </c:pt>
                <c:pt idx="8">
                  <c:v>Av Price/Vol 73.64</c:v>
                </c:pt>
                <c:pt idx="9">
                  <c:v>Av Price/Vol 53.69</c:v>
                </c:pt>
                <c:pt idx="10">
                  <c:v>Av Price/Vol 98.81</c:v>
                </c:pt>
                <c:pt idx="11">
                  <c:v>Av Price/Vol 187.10</c:v>
                </c:pt>
                <c:pt idx="12">
                  <c:v>Av Price/Vol 49.00</c:v>
                </c:pt>
                <c:pt idx="13">
                  <c:v>Av Price/Vol 44.31</c:v>
                </c:pt>
                <c:pt idx="14">
                  <c:v>Av Price/Vol 39.97</c:v>
                </c:pt>
                <c:pt idx="15">
                  <c:v>Av Price/Vol 61.43</c:v>
                </c:pt>
              </c:strCache>
            </c:strRef>
          </c:cat>
          <c:val>
            <c:numRef>
              <c:f>Sheet1!$D$2:$D$17</c:f>
              <c:numCache>
                <c:formatCode>General</c:formatCode>
                <c:ptCount val="16"/>
                <c:pt idx="0">
                  <c:v>0.2359</c:v>
                </c:pt>
                <c:pt idx="1">
                  <c:v>0.33700000000000002</c:v>
                </c:pt>
                <c:pt idx="2">
                  <c:v>0.46829999999999999</c:v>
                </c:pt>
                <c:pt idx="3">
                  <c:v>1.1503000000000001</c:v>
                </c:pt>
                <c:pt idx="4">
                  <c:v>0.66739999999999999</c:v>
                </c:pt>
                <c:pt idx="5">
                  <c:v>0.74550000000000005</c:v>
                </c:pt>
                <c:pt idx="6">
                  <c:v>1.4455</c:v>
                </c:pt>
                <c:pt idx="7">
                  <c:v>-2.4390000000000001</c:v>
                </c:pt>
                <c:pt idx="8">
                  <c:v>1.8476999999999999</c:v>
                </c:pt>
                <c:pt idx="9">
                  <c:v>0.40229999999999999</c:v>
                </c:pt>
                <c:pt idx="10">
                  <c:v>1.6696</c:v>
                </c:pt>
                <c:pt idx="11">
                  <c:v>6.9753999999999996</c:v>
                </c:pt>
                <c:pt idx="12">
                  <c:v>1.5465</c:v>
                </c:pt>
                <c:pt idx="13">
                  <c:v>0.60370000000000001</c:v>
                </c:pt>
                <c:pt idx="14">
                  <c:v>-4.9399999999999999E-2</c:v>
                </c:pt>
                <c:pt idx="15">
                  <c:v>2.335700000000000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5.16</c:v>
                </c:pt>
                <c:pt idx="1">
                  <c:v>Av Price/Vol 11.50</c:v>
                </c:pt>
                <c:pt idx="2">
                  <c:v>Av Price/Vol 15.72</c:v>
                </c:pt>
                <c:pt idx="3">
                  <c:v>Av Price/Vol 14.07</c:v>
                </c:pt>
                <c:pt idx="4">
                  <c:v>Av Price/Vol 16.86</c:v>
                </c:pt>
                <c:pt idx="5">
                  <c:v>Av Price/Vol 23.25</c:v>
                </c:pt>
                <c:pt idx="6">
                  <c:v>Av Price/Vol 47.35</c:v>
                </c:pt>
                <c:pt idx="7">
                  <c:v>Av Price/Vol 23.30</c:v>
                </c:pt>
                <c:pt idx="8">
                  <c:v>Av Price/Vol 73.64</c:v>
                </c:pt>
                <c:pt idx="9">
                  <c:v>Av Price/Vol 53.69</c:v>
                </c:pt>
                <c:pt idx="10">
                  <c:v>Av Price/Vol 98.81</c:v>
                </c:pt>
                <c:pt idx="11">
                  <c:v>Av Price/Vol 187.10</c:v>
                </c:pt>
                <c:pt idx="12">
                  <c:v>Av Price/Vol 49.00</c:v>
                </c:pt>
                <c:pt idx="13">
                  <c:v>Av Price/Vol 44.31</c:v>
                </c:pt>
                <c:pt idx="14">
                  <c:v>Av Price/Vol 39.97</c:v>
                </c:pt>
                <c:pt idx="15">
                  <c:v>Av Price/Vol 61.43</c:v>
                </c:pt>
              </c:strCache>
            </c:strRef>
          </c:cat>
          <c:val>
            <c:numRef>
              <c:f>Sheet1!$E$2:$E$17</c:f>
              <c:numCache>
                <c:formatCode>General</c:formatCode>
                <c:ptCount val="16"/>
                <c:pt idx="0">
                  <c:v>2.5265159444560723</c:v>
                </c:pt>
                <c:pt idx="1">
                  <c:v>1.9157619979830371</c:v>
                </c:pt>
                <c:pt idx="2">
                  <c:v>2.6338538761851646</c:v>
                </c:pt>
                <c:pt idx="3">
                  <c:v>2.3456486042692908</c:v>
                </c:pt>
                <c:pt idx="4">
                  <c:v>2.8095119107113105</c:v>
                </c:pt>
                <c:pt idx="5">
                  <c:v>3.8751384274640071</c:v>
                </c:pt>
                <c:pt idx="6">
                  <c:v>7.8921568627450958</c:v>
                </c:pt>
                <c:pt idx="7">
                  <c:v>4.2119990224828943</c:v>
                </c:pt>
                <c:pt idx="8">
                  <c:v>12.229810465595373</c:v>
                </c:pt>
                <c:pt idx="9">
                  <c:v>8.9501906088068122</c:v>
                </c:pt>
                <c:pt idx="10">
                  <c:v>16.472222222222232</c:v>
                </c:pt>
                <c:pt idx="11">
                  <c:v>31.095953274927108</c:v>
                </c:pt>
                <c:pt idx="12">
                  <c:v>8.1662520729684793</c:v>
                </c:pt>
                <c:pt idx="13">
                  <c:v>7.3854432172189037</c:v>
                </c:pt>
                <c:pt idx="14">
                  <c:v>6.6610366648055033</c:v>
                </c:pt>
                <c:pt idx="15">
                  <c:v>10.23888888888888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2.65</c:v>
                </c:pt>
                <c:pt idx="1">
                  <c:v>Av Price/Vol 11.21</c:v>
                </c:pt>
                <c:pt idx="2">
                  <c:v>Av Price/Vol 15.20</c:v>
                </c:pt>
                <c:pt idx="3">
                  <c:v>Av Price/Vol 12.97</c:v>
                </c:pt>
                <c:pt idx="4">
                  <c:v>Av Price/Vol 16.84</c:v>
                </c:pt>
                <c:pt idx="5">
                  <c:v>Av Price/Vol 16.24</c:v>
                </c:pt>
                <c:pt idx="6">
                  <c:v>Av Price/Vol 48.50</c:v>
                </c:pt>
                <c:pt idx="7">
                  <c:v>Av Price/Vol 22.94</c:v>
                </c:pt>
                <c:pt idx="8">
                  <c:v>Av Price/Vol 64.33</c:v>
                </c:pt>
                <c:pt idx="9">
                  <c:v>Av Price/Vol 50.00</c:v>
                </c:pt>
                <c:pt idx="10">
                  <c:v>Av Price/Vol 64.12</c:v>
                </c:pt>
                <c:pt idx="11">
                  <c:v>Av Price/Vol 144.42</c:v>
                </c:pt>
                <c:pt idx="12">
                  <c:v>Av Price/Vol 48.88</c:v>
                </c:pt>
                <c:pt idx="13">
                  <c:v>Av Price/Vol 43.75</c:v>
                </c:pt>
                <c:pt idx="14">
                  <c:v>Av Price/Vol 39.54</c:v>
                </c:pt>
                <c:pt idx="15">
                  <c:v>Av Price/Vol 54.02</c:v>
                </c:pt>
              </c:strCache>
            </c:strRef>
          </c:cat>
          <c:val>
            <c:numRef>
              <c:f>Sheet1!$B$2:$B$17</c:f>
              <c:numCache>
                <c:formatCode>General</c:formatCode>
                <c:ptCount val="16"/>
                <c:pt idx="0">
                  <c:v>5.1833</c:v>
                </c:pt>
                <c:pt idx="1">
                  <c:v>4.9238999999999997</c:v>
                </c:pt>
                <c:pt idx="2">
                  <c:v>5.9749999999999996</c:v>
                </c:pt>
                <c:pt idx="3">
                  <c:v>4.4813000000000001</c:v>
                </c:pt>
                <c:pt idx="4">
                  <c:v>6.6741999999999999</c:v>
                </c:pt>
                <c:pt idx="5">
                  <c:v>5.1875999999999998</c:v>
                </c:pt>
                <c:pt idx="6">
                  <c:v>17.160900000000002</c:v>
                </c:pt>
                <c:pt idx="7">
                  <c:v>11.8851</c:v>
                </c:pt>
                <c:pt idx="8">
                  <c:v>20.446000000000002</c:v>
                </c:pt>
                <c:pt idx="9">
                  <c:v>16.218299999999999</c:v>
                </c:pt>
                <c:pt idx="10">
                  <c:v>19.776900000000001</c:v>
                </c:pt>
                <c:pt idx="11">
                  <c:v>41.504100000000001</c:v>
                </c:pt>
                <c:pt idx="12">
                  <c:v>16.485600000000002</c:v>
                </c:pt>
                <c:pt idx="13">
                  <c:v>15.817600000000001</c:v>
                </c:pt>
                <c:pt idx="14">
                  <c:v>14.601100000000001</c:v>
                </c:pt>
                <c:pt idx="15">
                  <c:v>18.1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2.65</c:v>
                </c:pt>
                <c:pt idx="1">
                  <c:v>Av Price/Vol 11.21</c:v>
                </c:pt>
                <c:pt idx="2">
                  <c:v>Av Price/Vol 15.20</c:v>
                </c:pt>
                <c:pt idx="3">
                  <c:v>Av Price/Vol 12.97</c:v>
                </c:pt>
                <c:pt idx="4">
                  <c:v>Av Price/Vol 16.84</c:v>
                </c:pt>
                <c:pt idx="5">
                  <c:v>Av Price/Vol 16.24</c:v>
                </c:pt>
                <c:pt idx="6">
                  <c:v>Av Price/Vol 48.50</c:v>
                </c:pt>
                <c:pt idx="7">
                  <c:v>Av Price/Vol 22.94</c:v>
                </c:pt>
                <c:pt idx="8">
                  <c:v>Av Price/Vol 64.33</c:v>
                </c:pt>
                <c:pt idx="9">
                  <c:v>Av Price/Vol 50.00</c:v>
                </c:pt>
                <c:pt idx="10">
                  <c:v>Av Price/Vol 64.12</c:v>
                </c:pt>
                <c:pt idx="11">
                  <c:v>Av Price/Vol 144.42</c:v>
                </c:pt>
                <c:pt idx="12">
                  <c:v>Av Price/Vol 48.88</c:v>
                </c:pt>
                <c:pt idx="13">
                  <c:v>Av Price/Vol 43.75</c:v>
                </c:pt>
                <c:pt idx="14">
                  <c:v>Av Price/Vol 39.54</c:v>
                </c:pt>
                <c:pt idx="15">
                  <c:v>Av Price/Vol 54.02</c:v>
                </c:pt>
              </c:strCache>
            </c:strRef>
          </c:cat>
          <c:val>
            <c:numRef>
              <c:f>Sheet1!$C$2:$C$17</c:f>
              <c:numCache>
                <c:formatCode>General</c:formatCode>
                <c:ptCount val="16"/>
                <c:pt idx="0">
                  <c:v>4.7336999999999998</c:v>
                </c:pt>
                <c:pt idx="1">
                  <c:v>4.0023</c:v>
                </c:pt>
                <c:pt idx="2">
                  <c:v>5.7499000000000002</c:v>
                </c:pt>
                <c:pt idx="3">
                  <c:v>5.3072999999999997</c:v>
                </c:pt>
                <c:pt idx="4">
                  <c:v>6.4010999999999996</c:v>
                </c:pt>
                <c:pt idx="5">
                  <c:v>8.2021999999999995</c:v>
                </c:pt>
                <c:pt idx="6">
                  <c:v>22.875399999999999</c:v>
                </c:pt>
                <c:pt idx="7">
                  <c:v>10.841100000000001</c:v>
                </c:pt>
                <c:pt idx="8">
                  <c:v>30.765699999999999</c:v>
                </c:pt>
                <c:pt idx="9">
                  <c:v>25.7545</c:v>
                </c:pt>
                <c:pt idx="10">
                  <c:v>33.614699999999999</c:v>
                </c:pt>
                <c:pt idx="11">
                  <c:v>65.508300000000006</c:v>
                </c:pt>
                <c:pt idx="12">
                  <c:v>21.882100000000001</c:v>
                </c:pt>
                <c:pt idx="13">
                  <c:v>20.402799999999999</c:v>
                </c:pt>
                <c:pt idx="14">
                  <c:v>18.611000000000001</c:v>
                </c:pt>
                <c:pt idx="15">
                  <c:v>26.268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2.65</c:v>
                </c:pt>
                <c:pt idx="1">
                  <c:v>Av Price/Vol 11.21</c:v>
                </c:pt>
                <c:pt idx="2">
                  <c:v>Av Price/Vol 15.20</c:v>
                </c:pt>
                <c:pt idx="3">
                  <c:v>Av Price/Vol 12.97</c:v>
                </c:pt>
                <c:pt idx="4">
                  <c:v>Av Price/Vol 16.84</c:v>
                </c:pt>
                <c:pt idx="5">
                  <c:v>Av Price/Vol 16.24</c:v>
                </c:pt>
                <c:pt idx="6">
                  <c:v>Av Price/Vol 48.50</c:v>
                </c:pt>
                <c:pt idx="7">
                  <c:v>Av Price/Vol 22.94</c:v>
                </c:pt>
                <c:pt idx="8">
                  <c:v>Av Price/Vol 64.33</c:v>
                </c:pt>
                <c:pt idx="9">
                  <c:v>Av Price/Vol 50.00</c:v>
                </c:pt>
                <c:pt idx="10">
                  <c:v>Av Price/Vol 64.12</c:v>
                </c:pt>
                <c:pt idx="11">
                  <c:v>Av Price/Vol 144.42</c:v>
                </c:pt>
                <c:pt idx="12">
                  <c:v>Av Price/Vol 48.88</c:v>
                </c:pt>
                <c:pt idx="13">
                  <c:v>Av Price/Vol 43.75</c:v>
                </c:pt>
                <c:pt idx="14">
                  <c:v>Av Price/Vol 39.54</c:v>
                </c:pt>
                <c:pt idx="15">
                  <c:v>Av Price/Vol 54.02</c:v>
                </c:pt>
              </c:strCache>
            </c:strRef>
          </c:cat>
          <c:val>
            <c:numRef>
              <c:f>Sheet1!$D$2:$D$17</c:f>
              <c:numCache>
                <c:formatCode>General</c:formatCode>
                <c:ptCount val="16"/>
                <c:pt idx="0">
                  <c:v>0.61909999999999998</c:v>
                </c:pt>
                <c:pt idx="1">
                  <c:v>0.40910000000000002</c:v>
                </c:pt>
                <c:pt idx="2">
                  <c:v>0.86619999999999997</c:v>
                </c:pt>
                <c:pt idx="3">
                  <c:v>0.99839999999999995</c:v>
                </c:pt>
                <c:pt idx="4">
                  <c:v>0.95650000000000002</c:v>
                </c:pt>
                <c:pt idx="5">
                  <c:v>0.2092</c:v>
                </c:pt>
                <c:pt idx="6">
                  <c:v>0.17080000000000001</c:v>
                </c:pt>
                <c:pt idx="7">
                  <c:v>-2.0162</c:v>
                </c:pt>
                <c:pt idx="8">
                  <c:v>1.7855000000000001</c:v>
                </c:pt>
                <c:pt idx="9">
                  <c:v>-8.4500000000000006E-2</c:v>
                </c:pt>
                <c:pt idx="10">
                  <c:v>-0.71350000000000002</c:v>
                </c:pt>
                <c:pt idx="11">
                  <c:v>7.0072999999999999</c:v>
                </c:pt>
                <c:pt idx="12">
                  <c:v>0.78169999999999995</c:v>
                </c:pt>
                <c:pt idx="13">
                  <c:v>0.248</c:v>
                </c:pt>
                <c:pt idx="14">
                  <c:v>-0.27579999999999999</c:v>
                </c:pt>
                <c:pt idx="15">
                  <c:v>0.6269000000000000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2.65</c:v>
                </c:pt>
                <c:pt idx="1">
                  <c:v>Av Price/Vol 11.21</c:v>
                </c:pt>
                <c:pt idx="2">
                  <c:v>Av Price/Vol 15.20</c:v>
                </c:pt>
                <c:pt idx="3">
                  <c:v>Av Price/Vol 12.97</c:v>
                </c:pt>
                <c:pt idx="4">
                  <c:v>Av Price/Vol 16.84</c:v>
                </c:pt>
                <c:pt idx="5">
                  <c:v>Av Price/Vol 16.24</c:v>
                </c:pt>
                <c:pt idx="6">
                  <c:v>Av Price/Vol 48.50</c:v>
                </c:pt>
                <c:pt idx="7">
                  <c:v>Av Price/Vol 22.94</c:v>
                </c:pt>
                <c:pt idx="8">
                  <c:v>Av Price/Vol 64.33</c:v>
                </c:pt>
                <c:pt idx="9">
                  <c:v>Av Price/Vol 50.00</c:v>
                </c:pt>
                <c:pt idx="10">
                  <c:v>Av Price/Vol 64.12</c:v>
                </c:pt>
                <c:pt idx="11">
                  <c:v>Av Price/Vol 144.42</c:v>
                </c:pt>
                <c:pt idx="12">
                  <c:v>Av Price/Vol 48.88</c:v>
                </c:pt>
                <c:pt idx="13">
                  <c:v>Av Price/Vol 43.75</c:v>
                </c:pt>
                <c:pt idx="14">
                  <c:v>Av Price/Vol 39.54</c:v>
                </c:pt>
                <c:pt idx="15">
                  <c:v>Av Price/Vol 54.02</c:v>
                </c:pt>
              </c:strCache>
            </c:strRef>
          </c:cat>
          <c:val>
            <c:numRef>
              <c:f>Sheet1!$E$2:$E$17</c:f>
              <c:numCache>
                <c:formatCode>General</c:formatCode>
                <c:ptCount val="16"/>
                <c:pt idx="0">
                  <c:v>2.1120426829268277</c:v>
                </c:pt>
                <c:pt idx="1">
                  <c:v>1.8682847896440142</c:v>
                </c:pt>
                <c:pt idx="2">
                  <c:v>2.5566239316239296</c:v>
                </c:pt>
                <c:pt idx="3">
                  <c:v>2.1620370370370381</c:v>
                </c:pt>
                <c:pt idx="4">
                  <c:v>2.8063829787234043</c:v>
                </c:pt>
                <c:pt idx="5">
                  <c:v>2.7197906112799739</c:v>
                </c:pt>
                <c:pt idx="6">
                  <c:v>8.0828729281767959</c:v>
                </c:pt>
                <c:pt idx="7">
                  <c:v>4.1462297392529939</c:v>
                </c:pt>
                <c:pt idx="8">
                  <c:v>10.683763132760244</c:v>
                </c:pt>
                <c:pt idx="9">
                  <c:v>8.3972303087120483</c:v>
                </c:pt>
                <c:pt idx="10">
                  <c:v>10.62573329831012</c:v>
                </c:pt>
                <c:pt idx="11">
                  <c:v>23.814336917562702</c:v>
                </c:pt>
                <c:pt idx="12">
                  <c:v>7.8955882352941176</c:v>
                </c:pt>
                <c:pt idx="13">
                  <c:v>7.2971230158730087</c:v>
                </c:pt>
                <c:pt idx="14">
                  <c:v>6.5916729370453995</c:v>
                </c:pt>
                <c:pt idx="15">
                  <c:v>9.00301204819277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1.05</c:v>
                </c:pt>
                <c:pt idx="1">
                  <c:v>Av Price/Vol 11.47</c:v>
                </c:pt>
                <c:pt idx="2">
                  <c:v>Av Price/Vol 14.83</c:v>
                </c:pt>
                <c:pt idx="3">
                  <c:v>Av Price/Vol 16.18</c:v>
                </c:pt>
                <c:pt idx="4">
                  <c:v>Av Price/Vol 17.04</c:v>
                </c:pt>
                <c:pt idx="5">
                  <c:v>Av Price/Vol 23.39</c:v>
                </c:pt>
                <c:pt idx="6">
                  <c:v>Av Price/Vol 41.50</c:v>
                </c:pt>
                <c:pt idx="7">
                  <c:v>Av Price/Vol 21.66</c:v>
                </c:pt>
                <c:pt idx="8">
                  <c:v>Av Price/Vol 69.88</c:v>
                </c:pt>
                <c:pt idx="9">
                  <c:v>Av Price/Vol 49.77</c:v>
                </c:pt>
                <c:pt idx="10">
                  <c:v>Av Price/Vol 92.62</c:v>
                </c:pt>
                <c:pt idx="11">
                  <c:v>Av Price/Vol 189.12</c:v>
                </c:pt>
                <c:pt idx="12">
                  <c:v>Av Price/Vol 46.76</c:v>
                </c:pt>
                <c:pt idx="13">
                  <c:v>Av Price/Vol 43.94</c:v>
                </c:pt>
                <c:pt idx="14">
                  <c:v>Av Price/Vol 40.12</c:v>
                </c:pt>
                <c:pt idx="15">
                  <c:v>Av Price/Vol 62.36</c:v>
                </c:pt>
              </c:strCache>
            </c:strRef>
          </c:cat>
          <c:val>
            <c:numRef>
              <c:f>Sheet1!$B$2:$B$17</c:f>
              <c:numCache>
                <c:formatCode>General</c:formatCode>
                <c:ptCount val="16"/>
                <c:pt idx="0">
                  <c:v>4.3708</c:v>
                </c:pt>
                <c:pt idx="1">
                  <c:v>5.0609000000000002</c:v>
                </c:pt>
                <c:pt idx="2">
                  <c:v>5.5217000000000001</c:v>
                </c:pt>
                <c:pt idx="3">
                  <c:v>6.0643000000000002</c:v>
                </c:pt>
                <c:pt idx="4">
                  <c:v>6.9191000000000003</c:v>
                </c:pt>
                <c:pt idx="5">
                  <c:v>8.6671999999999993</c:v>
                </c:pt>
                <c:pt idx="6">
                  <c:v>14.3225</c:v>
                </c:pt>
                <c:pt idx="7">
                  <c:v>11.1357</c:v>
                </c:pt>
                <c:pt idx="8">
                  <c:v>22.569700000000001</c:v>
                </c:pt>
                <c:pt idx="9">
                  <c:v>15.9823</c:v>
                </c:pt>
                <c:pt idx="10">
                  <c:v>30.3932</c:v>
                </c:pt>
                <c:pt idx="11">
                  <c:v>53.998899999999999</c:v>
                </c:pt>
                <c:pt idx="12">
                  <c:v>16.460999999999999</c:v>
                </c:pt>
                <c:pt idx="13">
                  <c:v>15.724399999999999</c:v>
                </c:pt>
                <c:pt idx="14">
                  <c:v>14.707700000000001</c:v>
                </c:pt>
                <c:pt idx="15">
                  <c:v>20.45530000000000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1.05</c:v>
                </c:pt>
                <c:pt idx="1">
                  <c:v>Av Price/Vol 11.47</c:v>
                </c:pt>
                <c:pt idx="2">
                  <c:v>Av Price/Vol 14.83</c:v>
                </c:pt>
                <c:pt idx="3">
                  <c:v>Av Price/Vol 16.18</c:v>
                </c:pt>
                <c:pt idx="4">
                  <c:v>Av Price/Vol 17.04</c:v>
                </c:pt>
                <c:pt idx="5">
                  <c:v>Av Price/Vol 23.39</c:v>
                </c:pt>
                <c:pt idx="6">
                  <c:v>Av Price/Vol 41.50</c:v>
                </c:pt>
                <c:pt idx="7">
                  <c:v>Av Price/Vol 21.66</c:v>
                </c:pt>
                <c:pt idx="8">
                  <c:v>Av Price/Vol 69.88</c:v>
                </c:pt>
                <c:pt idx="9">
                  <c:v>Av Price/Vol 49.77</c:v>
                </c:pt>
                <c:pt idx="10">
                  <c:v>Av Price/Vol 92.62</c:v>
                </c:pt>
                <c:pt idx="11">
                  <c:v>Av Price/Vol 189.12</c:v>
                </c:pt>
                <c:pt idx="12">
                  <c:v>Av Price/Vol 46.76</c:v>
                </c:pt>
                <c:pt idx="13">
                  <c:v>Av Price/Vol 43.94</c:v>
                </c:pt>
                <c:pt idx="14">
                  <c:v>Av Price/Vol 40.12</c:v>
                </c:pt>
                <c:pt idx="15">
                  <c:v>Av Price/Vol 62.36</c:v>
                </c:pt>
              </c:strCache>
            </c:strRef>
          </c:cat>
          <c:val>
            <c:numRef>
              <c:f>Sheet1!$C$2:$C$17</c:f>
              <c:numCache>
                <c:formatCode>General</c:formatCode>
                <c:ptCount val="16"/>
                <c:pt idx="0">
                  <c:v>4.5251000000000001</c:v>
                </c:pt>
                <c:pt idx="1">
                  <c:v>4.1849999999999996</c:v>
                </c:pt>
                <c:pt idx="2">
                  <c:v>6.4710000000000001</c:v>
                </c:pt>
                <c:pt idx="3">
                  <c:v>6.609</c:v>
                </c:pt>
                <c:pt idx="4">
                  <c:v>6.5724</c:v>
                </c:pt>
                <c:pt idx="5">
                  <c:v>10.183400000000001</c:v>
                </c:pt>
                <c:pt idx="6">
                  <c:v>18.7349</c:v>
                </c:pt>
                <c:pt idx="7">
                  <c:v>10.3621</c:v>
                </c:pt>
                <c:pt idx="8">
                  <c:v>33.093400000000003</c:v>
                </c:pt>
                <c:pt idx="9">
                  <c:v>24.964500000000001</c:v>
                </c:pt>
                <c:pt idx="10">
                  <c:v>44.049199999999999</c:v>
                </c:pt>
                <c:pt idx="11">
                  <c:v>90.813500000000005</c:v>
                </c:pt>
                <c:pt idx="12">
                  <c:v>21.361999999999998</c:v>
                </c:pt>
                <c:pt idx="13">
                  <c:v>20.385400000000001</c:v>
                </c:pt>
                <c:pt idx="14">
                  <c:v>18.806699999999999</c:v>
                </c:pt>
                <c:pt idx="15">
                  <c:v>28.43100000000000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1.05</c:v>
                </c:pt>
                <c:pt idx="1">
                  <c:v>Av Price/Vol 11.47</c:v>
                </c:pt>
                <c:pt idx="2">
                  <c:v>Av Price/Vol 14.83</c:v>
                </c:pt>
                <c:pt idx="3">
                  <c:v>Av Price/Vol 16.18</c:v>
                </c:pt>
                <c:pt idx="4">
                  <c:v>Av Price/Vol 17.04</c:v>
                </c:pt>
                <c:pt idx="5">
                  <c:v>Av Price/Vol 23.39</c:v>
                </c:pt>
                <c:pt idx="6">
                  <c:v>Av Price/Vol 41.50</c:v>
                </c:pt>
                <c:pt idx="7">
                  <c:v>Av Price/Vol 21.66</c:v>
                </c:pt>
                <c:pt idx="8">
                  <c:v>Av Price/Vol 69.88</c:v>
                </c:pt>
                <c:pt idx="9">
                  <c:v>Av Price/Vol 49.77</c:v>
                </c:pt>
                <c:pt idx="10">
                  <c:v>Av Price/Vol 92.62</c:v>
                </c:pt>
                <c:pt idx="11">
                  <c:v>Av Price/Vol 189.12</c:v>
                </c:pt>
                <c:pt idx="12">
                  <c:v>Av Price/Vol 46.76</c:v>
                </c:pt>
                <c:pt idx="13">
                  <c:v>Av Price/Vol 43.94</c:v>
                </c:pt>
                <c:pt idx="14">
                  <c:v>Av Price/Vol 40.12</c:v>
                </c:pt>
                <c:pt idx="15">
                  <c:v>Av Price/Vol 62.36</c:v>
                </c:pt>
              </c:strCache>
            </c:strRef>
          </c:cat>
          <c:val>
            <c:numRef>
              <c:f>Sheet1!$D$2:$D$17</c:f>
              <c:numCache>
                <c:formatCode>General</c:formatCode>
                <c:ptCount val="16"/>
                <c:pt idx="0">
                  <c:v>0.1784</c:v>
                </c:pt>
                <c:pt idx="1">
                  <c:v>0.31090000000000001</c:v>
                </c:pt>
                <c:pt idx="2">
                  <c:v>0.3579</c:v>
                </c:pt>
                <c:pt idx="3">
                  <c:v>0.67769999999999997</c:v>
                </c:pt>
                <c:pt idx="4">
                  <c:v>0.70960000000000001</c:v>
                </c:pt>
                <c:pt idx="5">
                  <c:v>0.64449999999999996</c:v>
                </c:pt>
                <c:pt idx="6">
                  <c:v>1.5258</c:v>
                </c:pt>
                <c:pt idx="7">
                  <c:v>-2.0379999999999998</c:v>
                </c:pt>
                <c:pt idx="8">
                  <c:v>2.2814999999999999</c:v>
                </c:pt>
                <c:pt idx="9">
                  <c:v>0.4733</c:v>
                </c:pt>
                <c:pt idx="10">
                  <c:v>2.2046000000000001</c:v>
                </c:pt>
                <c:pt idx="11">
                  <c:v>8.6312999999999995</c:v>
                </c:pt>
                <c:pt idx="12">
                  <c:v>0.95450000000000002</c:v>
                </c:pt>
                <c:pt idx="13">
                  <c:v>0.48909999999999998</c:v>
                </c:pt>
                <c:pt idx="14">
                  <c:v>-0.13689999999999999</c:v>
                </c:pt>
                <c:pt idx="15">
                  <c:v>3.083400000000000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1.05</c:v>
                </c:pt>
                <c:pt idx="1">
                  <c:v>Av Price/Vol 11.47</c:v>
                </c:pt>
                <c:pt idx="2">
                  <c:v>Av Price/Vol 14.83</c:v>
                </c:pt>
                <c:pt idx="3">
                  <c:v>Av Price/Vol 16.18</c:v>
                </c:pt>
                <c:pt idx="4">
                  <c:v>Av Price/Vol 17.04</c:v>
                </c:pt>
                <c:pt idx="5">
                  <c:v>Av Price/Vol 23.39</c:v>
                </c:pt>
                <c:pt idx="6">
                  <c:v>Av Price/Vol 41.50</c:v>
                </c:pt>
                <c:pt idx="7">
                  <c:v>Av Price/Vol 21.66</c:v>
                </c:pt>
                <c:pt idx="8">
                  <c:v>Av Price/Vol 69.88</c:v>
                </c:pt>
                <c:pt idx="9">
                  <c:v>Av Price/Vol 49.77</c:v>
                </c:pt>
                <c:pt idx="10">
                  <c:v>Av Price/Vol 92.62</c:v>
                </c:pt>
                <c:pt idx="11">
                  <c:v>Av Price/Vol 189.12</c:v>
                </c:pt>
                <c:pt idx="12">
                  <c:v>Av Price/Vol 46.76</c:v>
                </c:pt>
                <c:pt idx="13">
                  <c:v>Av Price/Vol 43.94</c:v>
                </c:pt>
                <c:pt idx="14">
                  <c:v>Av Price/Vol 40.12</c:v>
                </c:pt>
                <c:pt idx="15">
                  <c:v>Av Price/Vol 62.36</c:v>
                </c:pt>
              </c:strCache>
            </c:strRef>
          </c:cat>
          <c:val>
            <c:numRef>
              <c:f>Sheet1!$E$2:$E$17</c:f>
              <c:numCache>
                <c:formatCode>General</c:formatCode>
                <c:ptCount val="16"/>
                <c:pt idx="0">
                  <c:v>1.8239918608953007</c:v>
                </c:pt>
                <c:pt idx="1">
                  <c:v>1.9113632171186121</c:v>
                </c:pt>
                <c:pt idx="2">
                  <c:v>2.4743643475831232</c:v>
                </c:pt>
                <c:pt idx="3">
                  <c:v>2.6772406847935586</c:v>
                </c:pt>
                <c:pt idx="4">
                  <c:v>2.840214067278287</c:v>
                </c:pt>
                <c:pt idx="5">
                  <c:v>3.8990267639902676</c:v>
                </c:pt>
                <c:pt idx="6">
                  <c:v>6.9166666666666714</c:v>
                </c:pt>
                <c:pt idx="7">
                  <c:v>3.8983739837398383</c:v>
                </c:pt>
                <c:pt idx="8">
                  <c:v>11.653194147037818</c:v>
                </c:pt>
                <c:pt idx="9">
                  <c:v>8.2949607647675663</c:v>
                </c:pt>
                <c:pt idx="10">
                  <c:v>15.407903123008317</c:v>
                </c:pt>
                <c:pt idx="11">
                  <c:v>31.911146161934766</c:v>
                </c:pt>
                <c:pt idx="12">
                  <c:v>7.7940251572326984</c:v>
                </c:pt>
                <c:pt idx="13">
                  <c:v>7.3228331424207695</c:v>
                </c:pt>
                <c:pt idx="14">
                  <c:v>6.6828733191790475</c:v>
                </c:pt>
                <c:pt idx="15">
                  <c:v>10.39393939393940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1.81</c:v>
                </c:pt>
                <c:pt idx="1">
                  <c:v>Av Price/Vol 11.89</c:v>
                </c:pt>
                <c:pt idx="2">
                  <c:v>Av Price/Vol 15.35</c:v>
                </c:pt>
                <c:pt idx="3">
                  <c:v>Av Price/Vol 14.10</c:v>
                </c:pt>
                <c:pt idx="4">
                  <c:v>Av Price/Vol 17.06</c:v>
                </c:pt>
                <c:pt idx="5">
                  <c:v>Av Price/Vol 19.11</c:v>
                </c:pt>
                <c:pt idx="6">
                  <c:v>Av Price/Vol 48.55</c:v>
                </c:pt>
                <c:pt idx="7">
                  <c:v>Av Price/Vol 23.11</c:v>
                </c:pt>
                <c:pt idx="8">
                  <c:v>Av Price/Vol 71.40</c:v>
                </c:pt>
                <c:pt idx="9">
                  <c:v>Av Price/Vol 52.29</c:v>
                </c:pt>
                <c:pt idx="10">
                  <c:v>Av Price/Vol 96.43</c:v>
                </c:pt>
                <c:pt idx="11">
                  <c:v>Av Price/Vol 172.92</c:v>
                </c:pt>
                <c:pt idx="12">
                  <c:v>Av Price/Vol 48.44</c:v>
                </c:pt>
                <c:pt idx="13">
                  <c:v>Av Price/Vol 44.68</c:v>
                </c:pt>
                <c:pt idx="14">
                  <c:v>Av Price/Vol 40.00</c:v>
                </c:pt>
                <c:pt idx="15">
                  <c:v>Av Price/Vol 58.91</c:v>
                </c:pt>
              </c:strCache>
            </c:strRef>
          </c:cat>
          <c:val>
            <c:numRef>
              <c:f>Sheet1!$B$2:$B$17</c:f>
              <c:numCache>
                <c:formatCode>General</c:formatCode>
                <c:ptCount val="16"/>
                <c:pt idx="0">
                  <c:v>5.0273000000000003</c:v>
                </c:pt>
                <c:pt idx="1">
                  <c:v>5.1805000000000003</c:v>
                </c:pt>
                <c:pt idx="2">
                  <c:v>6.0479000000000003</c:v>
                </c:pt>
                <c:pt idx="3">
                  <c:v>5.1531000000000002</c:v>
                </c:pt>
                <c:pt idx="4">
                  <c:v>6.8583999999999996</c:v>
                </c:pt>
                <c:pt idx="5">
                  <c:v>6.6448</c:v>
                </c:pt>
                <c:pt idx="6">
                  <c:v>16.861999999999998</c:v>
                </c:pt>
                <c:pt idx="7">
                  <c:v>12.8935</c:v>
                </c:pt>
                <c:pt idx="8">
                  <c:v>23.523499999999999</c:v>
                </c:pt>
                <c:pt idx="9">
                  <c:v>17.0685</c:v>
                </c:pt>
                <c:pt idx="10">
                  <c:v>32.0565</c:v>
                </c:pt>
                <c:pt idx="11">
                  <c:v>51.466900000000003</c:v>
                </c:pt>
                <c:pt idx="12">
                  <c:v>17.0869</c:v>
                </c:pt>
                <c:pt idx="13">
                  <c:v>15.857799999999999</c:v>
                </c:pt>
                <c:pt idx="14">
                  <c:v>14.618600000000001</c:v>
                </c:pt>
                <c:pt idx="15">
                  <c:v>20.399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1.81</c:v>
                </c:pt>
                <c:pt idx="1">
                  <c:v>Av Price/Vol 11.89</c:v>
                </c:pt>
                <c:pt idx="2">
                  <c:v>Av Price/Vol 15.35</c:v>
                </c:pt>
                <c:pt idx="3">
                  <c:v>Av Price/Vol 14.10</c:v>
                </c:pt>
                <c:pt idx="4">
                  <c:v>Av Price/Vol 17.06</c:v>
                </c:pt>
                <c:pt idx="5">
                  <c:v>Av Price/Vol 19.11</c:v>
                </c:pt>
                <c:pt idx="6">
                  <c:v>Av Price/Vol 48.55</c:v>
                </c:pt>
                <c:pt idx="7">
                  <c:v>Av Price/Vol 23.11</c:v>
                </c:pt>
                <c:pt idx="8">
                  <c:v>Av Price/Vol 71.40</c:v>
                </c:pt>
                <c:pt idx="9">
                  <c:v>Av Price/Vol 52.29</c:v>
                </c:pt>
                <c:pt idx="10">
                  <c:v>Av Price/Vol 96.43</c:v>
                </c:pt>
                <c:pt idx="11">
                  <c:v>Av Price/Vol 172.92</c:v>
                </c:pt>
                <c:pt idx="12">
                  <c:v>Av Price/Vol 48.44</c:v>
                </c:pt>
                <c:pt idx="13">
                  <c:v>Av Price/Vol 44.68</c:v>
                </c:pt>
                <c:pt idx="14">
                  <c:v>Av Price/Vol 40.00</c:v>
                </c:pt>
                <c:pt idx="15">
                  <c:v>Av Price/Vol 58.91</c:v>
                </c:pt>
              </c:strCache>
            </c:strRef>
          </c:cat>
          <c:val>
            <c:numRef>
              <c:f>Sheet1!$C$2:$C$17</c:f>
              <c:numCache>
                <c:formatCode>General</c:formatCode>
                <c:ptCount val="16"/>
                <c:pt idx="0">
                  <c:v>4.6087999999999996</c:v>
                </c:pt>
                <c:pt idx="1">
                  <c:v>4.3166000000000002</c:v>
                </c:pt>
                <c:pt idx="2">
                  <c:v>6.4265999999999996</c:v>
                </c:pt>
                <c:pt idx="3">
                  <c:v>5.8739999999999997</c:v>
                </c:pt>
                <c:pt idx="4">
                  <c:v>6.5788000000000002</c:v>
                </c:pt>
                <c:pt idx="5">
                  <c:v>8.9332999999999991</c:v>
                </c:pt>
                <c:pt idx="6">
                  <c:v>22.386900000000001</c:v>
                </c:pt>
                <c:pt idx="7">
                  <c:v>11.537000000000001</c:v>
                </c:pt>
                <c:pt idx="8">
                  <c:v>34.339700000000001</c:v>
                </c:pt>
                <c:pt idx="9">
                  <c:v>26.304500000000001</c:v>
                </c:pt>
                <c:pt idx="10">
                  <c:v>47.239800000000002</c:v>
                </c:pt>
                <c:pt idx="11">
                  <c:v>85.252600000000001</c:v>
                </c:pt>
                <c:pt idx="12">
                  <c:v>22.277999999999999</c:v>
                </c:pt>
                <c:pt idx="13">
                  <c:v>21.216899999999999</c:v>
                </c:pt>
                <c:pt idx="14">
                  <c:v>18.799700000000001</c:v>
                </c:pt>
                <c:pt idx="15">
                  <c:v>27.84519999999999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1.81</c:v>
                </c:pt>
                <c:pt idx="1">
                  <c:v>Av Price/Vol 11.89</c:v>
                </c:pt>
                <c:pt idx="2">
                  <c:v>Av Price/Vol 15.35</c:v>
                </c:pt>
                <c:pt idx="3">
                  <c:v>Av Price/Vol 14.10</c:v>
                </c:pt>
                <c:pt idx="4">
                  <c:v>Av Price/Vol 17.06</c:v>
                </c:pt>
                <c:pt idx="5">
                  <c:v>Av Price/Vol 19.11</c:v>
                </c:pt>
                <c:pt idx="6">
                  <c:v>Av Price/Vol 48.55</c:v>
                </c:pt>
                <c:pt idx="7">
                  <c:v>Av Price/Vol 23.11</c:v>
                </c:pt>
                <c:pt idx="8">
                  <c:v>Av Price/Vol 71.40</c:v>
                </c:pt>
                <c:pt idx="9">
                  <c:v>Av Price/Vol 52.29</c:v>
                </c:pt>
                <c:pt idx="10">
                  <c:v>Av Price/Vol 96.43</c:v>
                </c:pt>
                <c:pt idx="11">
                  <c:v>Av Price/Vol 172.92</c:v>
                </c:pt>
                <c:pt idx="12">
                  <c:v>Av Price/Vol 48.44</c:v>
                </c:pt>
                <c:pt idx="13">
                  <c:v>Av Price/Vol 44.68</c:v>
                </c:pt>
                <c:pt idx="14">
                  <c:v>Av Price/Vol 40.00</c:v>
                </c:pt>
                <c:pt idx="15">
                  <c:v>Av Price/Vol 58.91</c:v>
                </c:pt>
              </c:strCache>
            </c:strRef>
          </c:cat>
          <c:val>
            <c:numRef>
              <c:f>Sheet1!$D$2:$D$17</c:f>
              <c:numCache>
                <c:formatCode>General</c:formatCode>
                <c:ptCount val="16"/>
                <c:pt idx="0">
                  <c:v>0.19489999999999999</c:v>
                </c:pt>
                <c:pt idx="1">
                  <c:v>0.41289999999999999</c:v>
                </c:pt>
                <c:pt idx="2">
                  <c:v>0.34870000000000001</c:v>
                </c:pt>
                <c:pt idx="3">
                  <c:v>0.72099999999999997</c:v>
                </c:pt>
                <c:pt idx="4">
                  <c:v>0.77639999999999998</c:v>
                </c:pt>
                <c:pt idx="5">
                  <c:v>0.37919999999999998</c:v>
                </c:pt>
                <c:pt idx="6">
                  <c:v>1.2061999999999999</c:v>
                </c:pt>
                <c:pt idx="7">
                  <c:v>-2.7875999999999999</c:v>
                </c:pt>
                <c:pt idx="8">
                  <c:v>1.5569</c:v>
                </c:pt>
                <c:pt idx="9">
                  <c:v>0.1754</c:v>
                </c:pt>
                <c:pt idx="10">
                  <c:v>1.0273000000000001</c:v>
                </c:pt>
                <c:pt idx="11">
                  <c:v>4.2823000000000002</c:v>
                </c:pt>
                <c:pt idx="12">
                  <c:v>0.86129999999999995</c:v>
                </c:pt>
                <c:pt idx="13">
                  <c:v>0.13950000000000001</c:v>
                </c:pt>
                <c:pt idx="14">
                  <c:v>-9.0499999999999997E-2</c:v>
                </c:pt>
                <c:pt idx="15">
                  <c:v>0.847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1.81</c:v>
                </c:pt>
                <c:pt idx="1">
                  <c:v>Av Price/Vol 11.89</c:v>
                </c:pt>
                <c:pt idx="2">
                  <c:v>Av Price/Vol 15.35</c:v>
                </c:pt>
                <c:pt idx="3">
                  <c:v>Av Price/Vol 14.10</c:v>
                </c:pt>
                <c:pt idx="4">
                  <c:v>Av Price/Vol 17.06</c:v>
                </c:pt>
                <c:pt idx="5">
                  <c:v>Av Price/Vol 19.11</c:v>
                </c:pt>
                <c:pt idx="6">
                  <c:v>Av Price/Vol 48.55</c:v>
                </c:pt>
                <c:pt idx="7">
                  <c:v>Av Price/Vol 23.11</c:v>
                </c:pt>
                <c:pt idx="8">
                  <c:v>Av Price/Vol 71.40</c:v>
                </c:pt>
                <c:pt idx="9">
                  <c:v>Av Price/Vol 52.29</c:v>
                </c:pt>
                <c:pt idx="10">
                  <c:v>Av Price/Vol 96.43</c:v>
                </c:pt>
                <c:pt idx="11">
                  <c:v>Av Price/Vol 172.92</c:v>
                </c:pt>
                <c:pt idx="12">
                  <c:v>Av Price/Vol 48.44</c:v>
                </c:pt>
                <c:pt idx="13">
                  <c:v>Av Price/Vol 44.68</c:v>
                </c:pt>
                <c:pt idx="14">
                  <c:v>Av Price/Vol 40.00</c:v>
                </c:pt>
                <c:pt idx="15">
                  <c:v>Av Price/Vol 58.91</c:v>
                </c:pt>
              </c:strCache>
            </c:strRef>
          </c:cat>
          <c:val>
            <c:numRef>
              <c:f>Sheet1!$E$2:$E$17</c:f>
              <c:numCache>
                <c:formatCode>General</c:formatCode>
                <c:ptCount val="16"/>
                <c:pt idx="0">
                  <c:v>1.9671559034572843</c:v>
                </c:pt>
                <c:pt idx="1">
                  <c:v>1.9821021202361757</c:v>
                </c:pt>
                <c:pt idx="2">
                  <c:v>2.5656330079755869</c:v>
                </c:pt>
                <c:pt idx="3">
                  <c:v>2.3496143958868894</c:v>
                </c:pt>
                <c:pt idx="4">
                  <c:v>2.8427299703264062</c:v>
                </c:pt>
                <c:pt idx="5">
                  <c:v>3.1918600806718254</c:v>
                </c:pt>
                <c:pt idx="6">
                  <c:v>8.0910290237466977</c:v>
                </c:pt>
                <c:pt idx="7">
                  <c:v>4.3285848465873515</c:v>
                </c:pt>
                <c:pt idx="8">
                  <c:v>11.89649504781419</c:v>
                </c:pt>
                <c:pt idx="9">
                  <c:v>8.7127531855550711</c:v>
                </c:pt>
                <c:pt idx="10">
                  <c:v>16.09219718587029</c:v>
                </c:pt>
                <c:pt idx="11">
                  <c:v>28.475443262411275</c:v>
                </c:pt>
                <c:pt idx="12">
                  <c:v>8.0452292441140063</c:v>
                </c:pt>
                <c:pt idx="13">
                  <c:v>7.443462586828451</c:v>
                </c:pt>
                <c:pt idx="14">
                  <c:v>6.666226622662264</c:v>
                </c:pt>
                <c:pt idx="15">
                  <c:v>9.81848404255319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3.98</c:v>
                </c:pt>
                <c:pt idx="1">
                  <c:v>Av Price/Vol 12.00</c:v>
                </c:pt>
                <c:pt idx="2">
                  <c:v>Av Price/Vol 15.83</c:v>
                </c:pt>
                <c:pt idx="3">
                  <c:v>Av Price/Vol 14.13</c:v>
                </c:pt>
                <c:pt idx="4">
                  <c:v>Av Price/Vol 17.04</c:v>
                </c:pt>
                <c:pt idx="5">
                  <c:v>Av Price/Vol 23.15</c:v>
                </c:pt>
                <c:pt idx="6">
                  <c:v>Av Price/Vol 48.99</c:v>
                </c:pt>
                <c:pt idx="7">
                  <c:v>Av Price/Vol 24.48</c:v>
                </c:pt>
                <c:pt idx="8">
                  <c:v>Av Price/Vol 86.60</c:v>
                </c:pt>
                <c:pt idx="9">
                  <c:v>Av Price/Vol 53.78</c:v>
                </c:pt>
                <c:pt idx="10">
                  <c:v>Av Price/Vol 103.52</c:v>
                </c:pt>
                <c:pt idx="11">
                  <c:v>Av Price/Vol 208.25</c:v>
                </c:pt>
                <c:pt idx="12">
                  <c:v>Av Price/Vol 51.50</c:v>
                </c:pt>
                <c:pt idx="13">
                  <c:v>Av Price/Vol 44.71</c:v>
                </c:pt>
                <c:pt idx="14">
                  <c:v>Av Price/Vol 39.92</c:v>
                </c:pt>
                <c:pt idx="15">
                  <c:v>Av Price/Vol 64.63</c:v>
                </c:pt>
              </c:strCache>
            </c:strRef>
          </c:cat>
          <c:val>
            <c:numRef>
              <c:f>Sheet1!$B$2:$B$17</c:f>
              <c:numCache>
                <c:formatCode>General</c:formatCode>
                <c:ptCount val="16"/>
                <c:pt idx="0">
                  <c:v>5.3356000000000003</c:v>
                </c:pt>
                <c:pt idx="1">
                  <c:v>5.1917</c:v>
                </c:pt>
                <c:pt idx="2">
                  <c:v>6.5667</c:v>
                </c:pt>
                <c:pt idx="3">
                  <c:v>5.1142000000000003</c:v>
                </c:pt>
                <c:pt idx="4">
                  <c:v>6.8590999999999998</c:v>
                </c:pt>
                <c:pt idx="5">
                  <c:v>8.6285000000000007</c:v>
                </c:pt>
                <c:pt idx="6">
                  <c:v>17.125499999999999</c:v>
                </c:pt>
                <c:pt idx="7">
                  <c:v>13.861700000000001</c:v>
                </c:pt>
                <c:pt idx="8">
                  <c:v>28.6752</c:v>
                </c:pt>
                <c:pt idx="9">
                  <c:v>17.641400000000001</c:v>
                </c:pt>
                <c:pt idx="10">
                  <c:v>34.310600000000001</c:v>
                </c:pt>
                <c:pt idx="11">
                  <c:v>63.565300000000001</c:v>
                </c:pt>
                <c:pt idx="12">
                  <c:v>18.1325</c:v>
                </c:pt>
                <c:pt idx="13">
                  <c:v>15.9261</c:v>
                </c:pt>
                <c:pt idx="14">
                  <c:v>14.6271</c:v>
                </c:pt>
                <c:pt idx="15">
                  <c:v>22.14369999999999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3.98</c:v>
                </c:pt>
                <c:pt idx="1">
                  <c:v>Av Price/Vol 12.00</c:v>
                </c:pt>
                <c:pt idx="2">
                  <c:v>Av Price/Vol 15.83</c:v>
                </c:pt>
                <c:pt idx="3">
                  <c:v>Av Price/Vol 14.13</c:v>
                </c:pt>
                <c:pt idx="4">
                  <c:v>Av Price/Vol 17.04</c:v>
                </c:pt>
                <c:pt idx="5">
                  <c:v>Av Price/Vol 23.15</c:v>
                </c:pt>
                <c:pt idx="6">
                  <c:v>Av Price/Vol 48.99</c:v>
                </c:pt>
                <c:pt idx="7">
                  <c:v>Av Price/Vol 24.48</c:v>
                </c:pt>
                <c:pt idx="8">
                  <c:v>Av Price/Vol 86.60</c:v>
                </c:pt>
                <c:pt idx="9">
                  <c:v>Av Price/Vol 53.78</c:v>
                </c:pt>
                <c:pt idx="10">
                  <c:v>Av Price/Vol 103.52</c:v>
                </c:pt>
                <c:pt idx="11">
                  <c:v>Av Price/Vol 208.25</c:v>
                </c:pt>
                <c:pt idx="12">
                  <c:v>Av Price/Vol 51.50</c:v>
                </c:pt>
                <c:pt idx="13">
                  <c:v>Av Price/Vol 44.71</c:v>
                </c:pt>
                <c:pt idx="14">
                  <c:v>Av Price/Vol 39.92</c:v>
                </c:pt>
                <c:pt idx="15">
                  <c:v>Av Price/Vol 64.63</c:v>
                </c:pt>
              </c:strCache>
            </c:strRef>
          </c:cat>
          <c:val>
            <c:numRef>
              <c:f>Sheet1!$C$2:$C$17</c:f>
              <c:numCache>
                <c:formatCode>General</c:formatCode>
                <c:ptCount val="16"/>
                <c:pt idx="0">
                  <c:v>5.9405999999999999</c:v>
                </c:pt>
                <c:pt idx="1">
                  <c:v>4.4378000000000002</c:v>
                </c:pt>
                <c:pt idx="2">
                  <c:v>6.2901999999999996</c:v>
                </c:pt>
                <c:pt idx="3">
                  <c:v>5.8536999999999999</c:v>
                </c:pt>
                <c:pt idx="4">
                  <c:v>6.5629</c:v>
                </c:pt>
                <c:pt idx="5">
                  <c:v>10.1699</c:v>
                </c:pt>
                <c:pt idx="6">
                  <c:v>22.8124</c:v>
                </c:pt>
                <c:pt idx="7">
                  <c:v>12.029500000000001</c:v>
                </c:pt>
                <c:pt idx="8">
                  <c:v>42.197400000000002</c:v>
                </c:pt>
                <c:pt idx="9">
                  <c:v>27.073</c:v>
                </c:pt>
                <c:pt idx="10">
                  <c:v>51.135399999999997</c:v>
                </c:pt>
                <c:pt idx="11">
                  <c:v>105.21810000000001</c:v>
                </c:pt>
                <c:pt idx="12">
                  <c:v>23.722799999999999</c:v>
                </c:pt>
                <c:pt idx="13">
                  <c:v>21.358000000000001</c:v>
                </c:pt>
                <c:pt idx="14">
                  <c:v>18.8123</c:v>
                </c:pt>
                <c:pt idx="15">
                  <c:v>30.70810000000000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3.98</c:v>
                </c:pt>
                <c:pt idx="1">
                  <c:v>Av Price/Vol 12.00</c:v>
                </c:pt>
                <c:pt idx="2">
                  <c:v>Av Price/Vol 15.83</c:v>
                </c:pt>
                <c:pt idx="3">
                  <c:v>Av Price/Vol 14.13</c:v>
                </c:pt>
                <c:pt idx="4">
                  <c:v>Av Price/Vol 17.04</c:v>
                </c:pt>
                <c:pt idx="5">
                  <c:v>Av Price/Vol 23.15</c:v>
                </c:pt>
                <c:pt idx="6">
                  <c:v>Av Price/Vol 48.99</c:v>
                </c:pt>
                <c:pt idx="7">
                  <c:v>Av Price/Vol 24.48</c:v>
                </c:pt>
                <c:pt idx="8">
                  <c:v>Av Price/Vol 86.60</c:v>
                </c:pt>
                <c:pt idx="9">
                  <c:v>Av Price/Vol 53.78</c:v>
                </c:pt>
                <c:pt idx="10">
                  <c:v>Av Price/Vol 103.52</c:v>
                </c:pt>
                <c:pt idx="11">
                  <c:v>Av Price/Vol 208.25</c:v>
                </c:pt>
                <c:pt idx="12">
                  <c:v>Av Price/Vol 51.50</c:v>
                </c:pt>
                <c:pt idx="13">
                  <c:v>Av Price/Vol 44.71</c:v>
                </c:pt>
                <c:pt idx="14">
                  <c:v>Av Price/Vol 39.92</c:v>
                </c:pt>
                <c:pt idx="15">
                  <c:v>Av Price/Vol 64.63</c:v>
                </c:pt>
              </c:strCache>
            </c:strRef>
          </c:cat>
          <c:val>
            <c:numRef>
              <c:f>Sheet1!$D$2:$D$17</c:f>
              <c:numCache>
                <c:formatCode>General</c:formatCode>
                <c:ptCount val="16"/>
                <c:pt idx="0">
                  <c:v>0.2515</c:v>
                </c:pt>
                <c:pt idx="1">
                  <c:v>0.3715</c:v>
                </c:pt>
                <c:pt idx="2">
                  <c:v>0.37140000000000001</c:v>
                </c:pt>
                <c:pt idx="3">
                  <c:v>0.80730000000000002</c:v>
                </c:pt>
                <c:pt idx="4">
                  <c:v>0.77629999999999999</c:v>
                </c:pt>
                <c:pt idx="5">
                  <c:v>0.49580000000000002</c:v>
                </c:pt>
                <c:pt idx="6">
                  <c:v>0.67969999999999997</c:v>
                </c:pt>
                <c:pt idx="7">
                  <c:v>-3.0895000000000001</c:v>
                </c:pt>
                <c:pt idx="8">
                  <c:v>1.0525</c:v>
                </c:pt>
                <c:pt idx="9">
                  <c:v>5.6099999999999997E-2</c:v>
                </c:pt>
                <c:pt idx="10">
                  <c:v>0.49159999999999998</c:v>
                </c:pt>
                <c:pt idx="11">
                  <c:v>2.1208</c:v>
                </c:pt>
                <c:pt idx="12">
                  <c:v>0.47189999999999999</c:v>
                </c:pt>
                <c:pt idx="13">
                  <c:v>-6.9900000000000004E-2</c:v>
                </c:pt>
                <c:pt idx="14">
                  <c:v>-0.17760000000000001</c:v>
                </c:pt>
                <c:pt idx="15">
                  <c:v>0.9720999999999999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3.98</c:v>
                </c:pt>
                <c:pt idx="1">
                  <c:v>Av Price/Vol 12.00</c:v>
                </c:pt>
                <c:pt idx="2">
                  <c:v>Av Price/Vol 15.83</c:v>
                </c:pt>
                <c:pt idx="3">
                  <c:v>Av Price/Vol 14.13</c:v>
                </c:pt>
                <c:pt idx="4">
                  <c:v>Av Price/Vol 17.04</c:v>
                </c:pt>
                <c:pt idx="5">
                  <c:v>Av Price/Vol 23.15</c:v>
                </c:pt>
                <c:pt idx="6">
                  <c:v>Av Price/Vol 48.99</c:v>
                </c:pt>
                <c:pt idx="7">
                  <c:v>Av Price/Vol 24.48</c:v>
                </c:pt>
                <c:pt idx="8">
                  <c:v>Av Price/Vol 86.60</c:v>
                </c:pt>
                <c:pt idx="9">
                  <c:v>Av Price/Vol 53.78</c:v>
                </c:pt>
                <c:pt idx="10">
                  <c:v>Av Price/Vol 103.52</c:v>
                </c:pt>
                <c:pt idx="11">
                  <c:v>Av Price/Vol 208.25</c:v>
                </c:pt>
                <c:pt idx="12">
                  <c:v>Av Price/Vol 51.50</c:v>
                </c:pt>
                <c:pt idx="13">
                  <c:v>Av Price/Vol 44.71</c:v>
                </c:pt>
                <c:pt idx="14">
                  <c:v>Av Price/Vol 39.92</c:v>
                </c:pt>
                <c:pt idx="15">
                  <c:v>Av Price/Vol 64.63</c:v>
                </c:pt>
              </c:strCache>
            </c:strRef>
          </c:cat>
          <c:val>
            <c:numRef>
              <c:f>Sheet1!$E$2:$E$17</c:f>
              <c:numCache>
                <c:formatCode>General</c:formatCode>
                <c:ptCount val="16"/>
                <c:pt idx="0">
                  <c:v>2.3065558633425676</c:v>
                </c:pt>
                <c:pt idx="1">
                  <c:v>2.000255061374145</c:v>
                </c:pt>
                <c:pt idx="2">
                  <c:v>2.646255890186441</c:v>
                </c:pt>
                <c:pt idx="3">
                  <c:v>2.3550446998722836</c:v>
                </c:pt>
                <c:pt idx="4">
                  <c:v>2.8396755365595832</c:v>
                </c:pt>
                <c:pt idx="5">
                  <c:v>3.8588420328320048</c:v>
                </c:pt>
                <c:pt idx="6">
                  <c:v>8.1655204034846385</c:v>
                </c:pt>
                <c:pt idx="7">
                  <c:v>4.560667393222273</c:v>
                </c:pt>
                <c:pt idx="8">
                  <c:v>14.413178205054134</c:v>
                </c:pt>
                <c:pt idx="9">
                  <c:v>8.9584010500838378</c:v>
                </c:pt>
                <c:pt idx="10">
                  <c:v>17.208396714329247</c:v>
                </c:pt>
                <c:pt idx="11">
                  <c:v>34.324085491163146</c:v>
                </c:pt>
                <c:pt idx="12">
                  <c:v>8.4811923877490383</c:v>
                </c:pt>
                <c:pt idx="13">
                  <c:v>7.4438123477221509</c:v>
                </c:pt>
                <c:pt idx="14">
                  <c:v>6.6525507415048679</c:v>
                </c:pt>
                <c:pt idx="15">
                  <c:v>10.77123069936421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3.46</c:v>
                </c:pt>
                <c:pt idx="1">
                  <c:v>Av Price/Vol 11.90</c:v>
                </c:pt>
                <c:pt idx="2">
                  <c:v>Av Price/Vol 15.48</c:v>
                </c:pt>
                <c:pt idx="3">
                  <c:v>Av Price/Vol 13.95</c:v>
                </c:pt>
                <c:pt idx="4">
                  <c:v>Av Price/Vol 17.42</c:v>
                </c:pt>
                <c:pt idx="5">
                  <c:v>Av Price/Vol 19.08</c:v>
                </c:pt>
                <c:pt idx="6">
                  <c:v>Av Price/Vol 49.47</c:v>
                </c:pt>
                <c:pt idx="7">
                  <c:v>Av Price/Vol 22.02</c:v>
                </c:pt>
                <c:pt idx="8">
                  <c:v>Av Price/Vol 70.82</c:v>
                </c:pt>
                <c:pt idx="9">
                  <c:v>Av Price/Vol 52.09</c:v>
                </c:pt>
                <c:pt idx="10">
                  <c:v>Av Price/Vol 96.24</c:v>
                </c:pt>
                <c:pt idx="11">
                  <c:v>Av Price/Vol 169.10</c:v>
                </c:pt>
                <c:pt idx="12">
                  <c:v>Av Price/Vol 48.70</c:v>
                </c:pt>
                <c:pt idx="13">
                  <c:v>Av Price/Vol 44.02</c:v>
                </c:pt>
                <c:pt idx="14">
                  <c:v>Av Price/Vol 40.06</c:v>
                </c:pt>
                <c:pt idx="15">
                  <c:v>Av Price/Vol 61.73</c:v>
                </c:pt>
              </c:strCache>
            </c:strRef>
          </c:cat>
          <c:val>
            <c:numRef>
              <c:f>Sheet1!$B$2:$B$17</c:f>
              <c:numCache>
                <c:formatCode>General</c:formatCode>
                <c:ptCount val="16"/>
                <c:pt idx="0">
                  <c:v>5.4379</c:v>
                </c:pt>
                <c:pt idx="1">
                  <c:v>5.1866000000000003</c:v>
                </c:pt>
                <c:pt idx="2">
                  <c:v>6.1318999999999999</c:v>
                </c:pt>
                <c:pt idx="3">
                  <c:v>5.0667</c:v>
                </c:pt>
                <c:pt idx="4">
                  <c:v>6.7317999999999998</c:v>
                </c:pt>
                <c:pt idx="5">
                  <c:v>6.5872999999999999</c:v>
                </c:pt>
                <c:pt idx="6">
                  <c:v>17.2074</c:v>
                </c:pt>
                <c:pt idx="7">
                  <c:v>12.1015</c:v>
                </c:pt>
                <c:pt idx="8">
                  <c:v>23.374600000000001</c:v>
                </c:pt>
                <c:pt idx="9">
                  <c:v>17.050799999999999</c:v>
                </c:pt>
                <c:pt idx="10">
                  <c:v>31.988900000000001</c:v>
                </c:pt>
                <c:pt idx="11">
                  <c:v>51.206499999999998</c:v>
                </c:pt>
                <c:pt idx="12">
                  <c:v>17.196300000000001</c:v>
                </c:pt>
                <c:pt idx="13">
                  <c:v>15.797700000000001</c:v>
                </c:pt>
                <c:pt idx="14">
                  <c:v>14.6083</c:v>
                </c:pt>
                <c:pt idx="15">
                  <c:v>21.20230000000000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3.46</c:v>
                </c:pt>
                <c:pt idx="1">
                  <c:v>Av Price/Vol 11.90</c:v>
                </c:pt>
                <c:pt idx="2">
                  <c:v>Av Price/Vol 15.48</c:v>
                </c:pt>
                <c:pt idx="3">
                  <c:v>Av Price/Vol 13.95</c:v>
                </c:pt>
                <c:pt idx="4">
                  <c:v>Av Price/Vol 17.42</c:v>
                </c:pt>
                <c:pt idx="5">
                  <c:v>Av Price/Vol 19.08</c:v>
                </c:pt>
                <c:pt idx="6">
                  <c:v>Av Price/Vol 49.47</c:v>
                </c:pt>
                <c:pt idx="7">
                  <c:v>Av Price/Vol 22.02</c:v>
                </c:pt>
                <c:pt idx="8">
                  <c:v>Av Price/Vol 70.82</c:v>
                </c:pt>
                <c:pt idx="9">
                  <c:v>Av Price/Vol 52.09</c:v>
                </c:pt>
                <c:pt idx="10">
                  <c:v>Av Price/Vol 96.24</c:v>
                </c:pt>
                <c:pt idx="11">
                  <c:v>Av Price/Vol 169.10</c:v>
                </c:pt>
                <c:pt idx="12">
                  <c:v>Av Price/Vol 48.70</c:v>
                </c:pt>
                <c:pt idx="13">
                  <c:v>Av Price/Vol 44.02</c:v>
                </c:pt>
                <c:pt idx="14">
                  <c:v>Av Price/Vol 40.06</c:v>
                </c:pt>
                <c:pt idx="15">
                  <c:v>Av Price/Vol 61.73</c:v>
                </c:pt>
              </c:strCache>
            </c:strRef>
          </c:cat>
          <c:val>
            <c:numRef>
              <c:f>Sheet1!$C$2:$C$17</c:f>
              <c:numCache>
                <c:formatCode>General</c:formatCode>
                <c:ptCount val="16"/>
                <c:pt idx="0">
                  <c:v>5.3833000000000002</c:v>
                </c:pt>
                <c:pt idx="1">
                  <c:v>4.3247999999999998</c:v>
                </c:pt>
                <c:pt idx="2">
                  <c:v>6.3834</c:v>
                </c:pt>
                <c:pt idx="3">
                  <c:v>5.8174999999999999</c:v>
                </c:pt>
                <c:pt idx="4">
                  <c:v>7.0907</c:v>
                </c:pt>
                <c:pt idx="5">
                  <c:v>9.0381999999999998</c:v>
                </c:pt>
                <c:pt idx="6">
                  <c:v>22.784500000000001</c:v>
                </c:pt>
                <c:pt idx="7">
                  <c:v>11.010300000000001</c:v>
                </c:pt>
                <c:pt idx="8">
                  <c:v>34.124499999999998</c:v>
                </c:pt>
                <c:pt idx="9">
                  <c:v>26.135100000000001</c:v>
                </c:pt>
                <c:pt idx="10">
                  <c:v>47.159500000000001</c:v>
                </c:pt>
                <c:pt idx="11">
                  <c:v>83.255300000000005</c:v>
                </c:pt>
                <c:pt idx="12">
                  <c:v>22.3794</c:v>
                </c:pt>
                <c:pt idx="13">
                  <c:v>20.745100000000001</c:v>
                </c:pt>
                <c:pt idx="14">
                  <c:v>18.790900000000001</c:v>
                </c:pt>
                <c:pt idx="15">
                  <c:v>28.99500000000000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3.46</c:v>
                </c:pt>
                <c:pt idx="1">
                  <c:v>Av Price/Vol 11.90</c:v>
                </c:pt>
                <c:pt idx="2">
                  <c:v>Av Price/Vol 15.48</c:v>
                </c:pt>
                <c:pt idx="3">
                  <c:v>Av Price/Vol 13.95</c:v>
                </c:pt>
                <c:pt idx="4">
                  <c:v>Av Price/Vol 17.42</c:v>
                </c:pt>
                <c:pt idx="5">
                  <c:v>Av Price/Vol 19.08</c:v>
                </c:pt>
                <c:pt idx="6">
                  <c:v>Av Price/Vol 49.47</c:v>
                </c:pt>
                <c:pt idx="7">
                  <c:v>Av Price/Vol 22.02</c:v>
                </c:pt>
                <c:pt idx="8">
                  <c:v>Av Price/Vol 70.82</c:v>
                </c:pt>
                <c:pt idx="9">
                  <c:v>Av Price/Vol 52.09</c:v>
                </c:pt>
                <c:pt idx="10">
                  <c:v>Av Price/Vol 96.24</c:v>
                </c:pt>
                <c:pt idx="11">
                  <c:v>Av Price/Vol 169.10</c:v>
                </c:pt>
                <c:pt idx="12">
                  <c:v>Av Price/Vol 48.70</c:v>
                </c:pt>
                <c:pt idx="13">
                  <c:v>Av Price/Vol 44.02</c:v>
                </c:pt>
                <c:pt idx="14">
                  <c:v>Av Price/Vol 40.06</c:v>
                </c:pt>
                <c:pt idx="15">
                  <c:v>Av Price/Vol 61.73</c:v>
                </c:pt>
              </c:strCache>
            </c:strRef>
          </c:cat>
          <c:val>
            <c:numRef>
              <c:f>Sheet1!$D$2:$D$17</c:f>
              <c:numCache>
                <c:formatCode>General</c:formatCode>
                <c:ptCount val="16"/>
                <c:pt idx="0">
                  <c:v>0.3216</c:v>
                </c:pt>
                <c:pt idx="1">
                  <c:v>0.40429999999999999</c:v>
                </c:pt>
                <c:pt idx="2">
                  <c:v>0.41789999999999999</c:v>
                </c:pt>
                <c:pt idx="3">
                  <c:v>0.74419999999999997</c:v>
                </c:pt>
                <c:pt idx="4">
                  <c:v>0.66710000000000003</c:v>
                </c:pt>
                <c:pt idx="5">
                  <c:v>0.39340000000000003</c:v>
                </c:pt>
                <c:pt idx="6">
                  <c:v>1.0684</c:v>
                </c:pt>
                <c:pt idx="7">
                  <c:v>-2.6095000000000002</c:v>
                </c:pt>
                <c:pt idx="8">
                  <c:v>1.4498</c:v>
                </c:pt>
                <c:pt idx="9">
                  <c:v>0.22470000000000001</c:v>
                </c:pt>
                <c:pt idx="10">
                  <c:v>0.9798</c:v>
                </c:pt>
                <c:pt idx="11">
                  <c:v>4.9230999999999998</c:v>
                </c:pt>
                <c:pt idx="12">
                  <c:v>0.71889999999999998</c:v>
                </c:pt>
                <c:pt idx="13">
                  <c:v>9.5500000000000002E-2</c:v>
                </c:pt>
                <c:pt idx="14">
                  <c:v>-0.03</c:v>
                </c:pt>
                <c:pt idx="15">
                  <c:v>1.241100000000000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3.46</c:v>
                </c:pt>
                <c:pt idx="1">
                  <c:v>Av Price/Vol 11.90</c:v>
                </c:pt>
                <c:pt idx="2">
                  <c:v>Av Price/Vol 15.48</c:v>
                </c:pt>
                <c:pt idx="3">
                  <c:v>Av Price/Vol 13.95</c:v>
                </c:pt>
                <c:pt idx="4">
                  <c:v>Av Price/Vol 17.42</c:v>
                </c:pt>
                <c:pt idx="5">
                  <c:v>Av Price/Vol 19.08</c:v>
                </c:pt>
                <c:pt idx="6">
                  <c:v>Av Price/Vol 49.47</c:v>
                </c:pt>
                <c:pt idx="7">
                  <c:v>Av Price/Vol 22.02</c:v>
                </c:pt>
                <c:pt idx="8">
                  <c:v>Av Price/Vol 70.82</c:v>
                </c:pt>
                <c:pt idx="9">
                  <c:v>Av Price/Vol 52.09</c:v>
                </c:pt>
                <c:pt idx="10">
                  <c:v>Av Price/Vol 96.24</c:v>
                </c:pt>
                <c:pt idx="11">
                  <c:v>Av Price/Vol 169.10</c:v>
                </c:pt>
                <c:pt idx="12">
                  <c:v>Av Price/Vol 48.70</c:v>
                </c:pt>
                <c:pt idx="13">
                  <c:v>Av Price/Vol 44.02</c:v>
                </c:pt>
                <c:pt idx="14">
                  <c:v>Av Price/Vol 40.06</c:v>
                </c:pt>
                <c:pt idx="15">
                  <c:v>Av Price/Vol 61.73</c:v>
                </c:pt>
              </c:strCache>
            </c:strRef>
          </c:cat>
          <c:val>
            <c:numRef>
              <c:f>Sheet1!$E$2:$E$17</c:f>
              <c:numCache>
                <c:formatCode>General</c:formatCode>
                <c:ptCount val="16"/>
                <c:pt idx="0">
                  <c:v>2.2295104285792076</c:v>
                </c:pt>
                <c:pt idx="1">
                  <c:v>1.9831393793472425</c:v>
                </c:pt>
                <c:pt idx="2">
                  <c:v>2.5871147149020297</c:v>
                </c:pt>
                <c:pt idx="3">
                  <c:v>2.3256726457399064</c:v>
                </c:pt>
                <c:pt idx="4">
                  <c:v>2.8979495861550024</c:v>
                </c:pt>
                <c:pt idx="5">
                  <c:v>3.203789636504252</c:v>
                </c:pt>
                <c:pt idx="6">
                  <c:v>8.2445233866193028</c:v>
                </c:pt>
                <c:pt idx="7">
                  <c:v>4.1004595907041255</c:v>
                </c:pt>
                <c:pt idx="8">
                  <c:v>11.801825614999656</c:v>
                </c:pt>
                <c:pt idx="9">
                  <c:v>8.683448637243961</c:v>
                </c:pt>
                <c:pt idx="10">
                  <c:v>16.04255445497515</c:v>
                </c:pt>
                <c:pt idx="11">
                  <c:v>28.081808227749118</c:v>
                </c:pt>
                <c:pt idx="12">
                  <c:v>8.0740740740740744</c:v>
                </c:pt>
                <c:pt idx="13">
                  <c:v>7.3285959943354237</c:v>
                </c:pt>
                <c:pt idx="14">
                  <c:v>6.673905317031557</c:v>
                </c:pt>
                <c:pt idx="15">
                  <c:v>10.28770685579196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2.42</c:v>
                </c:pt>
                <c:pt idx="1">
                  <c:v>Av Price/Vol 11.79</c:v>
                </c:pt>
                <c:pt idx="2">
                  <c:v>Av Price/Vol 15.10</c:v>
                </c:pt>
                <c:pt idx="3">
                  <c:v>Av Price/Vol 14.11</c:v>
                </c:pt>
                <c:pt idx="4">
                  <c:v>Av Price/Vol 17.10</c:v>
                </c:pt>
                <c:pt idx="5">
                  <c:v>Av Price/Vol 19.28</c:v>
                </c:pt>
                <c:pt idx="6">
                  <c:v>Av Price/Vol 49.76</c:v>
                </c:pt>
                <c:pt idx="7">
                  <c:v>Av Price/Vol 21.39</c:v>
                </c:pt>
                <c:pt idx="8">
                  <c:v>Av Price/Vol 69.80</c:v>
                </c:pt>
                <c:pt idx="9">
                  <c:v>Av Price/Vol 51.55</c:v>
                </c:pt>
                <c:pt idx="10">
                  <c:v>Av Price/Vol 91.79</c:v>
                </c:pt>
                <c:pt idx="11">
                  <c:v>Av Price/Vol 139.68</c:v>
                </c:pt>
                <c:pt idx="12">
                  <c:v>Av Price/Vol 47.54</c:v>
                </c:pt>
                <c:pt idx="13">
                  <c:v>Av Price/Vol 44.42</c:v>
                </c:pt>
                <c:pt idx="14">
                  <c:v>Av Price/Vol 40.03</c:v>
                </c:pt>
                <c:pt idx="15">
                  <c:v>Av Price/Vol 57.79</c:v>
                </c:pt>
              </c:strCache>
            </c:strRef>
          </c:cat>
          <c:val>
            <c:numRef>
              <c:f>Sheet1!$B$2:$B$17</c:f>
              <c:numCache>
                <c:formatCode>General</c:formatCode>
                <c:ptCount val="16"/>
                <c:pt idx="0">
                  <c:v>5.1151999999999997</c:v>
                </c:pt>
                <c:pt idx="1">
                  <c:v>5.1524000000000001</c:v>
                </c:pt>
                <c:pt idx="2">
                  <c:v>5.7816000000000001</c:v>
                </c:pt>
                <c:pt idx="3">
                  <c:v>5.1025999999999998</c:v>
                </c:pt>
                <c:pt idx="4">
                  <c:v>6.8311000000000002</c:v>
                </c:pt>
                <c:pt idx="5">
                  <c:v>6.8025000000000002</c:v>
                </c:pt>
                <c:pt idx="6">
                  <c:v>17.302900000000001</c:v>
                </c:pt>
                <c:pt idx="7">
                  <c:v>11.4672</c:v>
                </c:pt>
                <c:pt idx="8">
                  <c:v>22.966699999999999</c:v>
                </c:pt>
                <c:pt idx="9">
                  <c:v>16.749500000000001</c:v>
                </c:pt>
                <c:pt idx="10">
                  <c:v>30.599399999999999</c:v>
                </c:pt>
                <c:pt idx="11">
                  <c:v>42.182000000000002</c:v>
                </c:pt>
                <c:pt idx="12">
                  <c:v>16.949200000000001</c:v>
                </c:pt>
                <c:pt idx="13">
                  <c:v>15.8102</c:v>
                </c:pt>
                <c:pt idx="14">
                  <c:v>14.627800000000001</c:v>
                </c:pt>
                <c:pt idx="15">
                  <c:v>20.02159999999999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2.42</c:v>
                </c:pt>
                <c:pt idx="1">
                  <c:v>Av Price/Vol 11.79</c:v>
                </c:pt>
                <c:pt idx="2">
                  <c:v>Av Price/Vol 15.10</c:v>
                </c:pt>
                <c:pt idx="3">
                  <c:v>Av Price/Vol 14.11</c:v>
                </c:pt>
                <c:pt idx="4">
                  <c:v>Av Price/Vol 17.10</c:v>
                </c:pt>
                <c:pt idx="5">
                  <c:v>Av Price/Vol 19.28</c:v>
                </c:pt>
                <c:pt idx="6">
                  <c:v>Av Price/Vol 49.76</c:v>
                </c:pt>
                <c:pt idx="7">
                  <c:v>Av Price/Vol 21.39</c:v>
                </c:pt>
                <c:pt idx="8">
                  <c:v>Av Price/Vol 69.80</c:v>
                </c:pt>
                <c:pt idx="9">
                  <c:v>Av Price/Vol 51.55</c:v>
                </c:pt>
                <c:pt idx="10">
                  <c:v>Av Price/Vol 91.79</c:v>
                </c:pt>
                <c:pt idx="11">
                  <c:v>Av Price/Vol 139.68</c:v>
                </c:pt>
                <c:pt idx="12">
                  <c:v>Av Price/Vol 47.54</c:v>
                </c:pt>
                <c:pt idx="13">
                  <c:v>Av Price/Vol 44.42</c:v>
                </c:pt>
                <c:pt idx="14">
                  <c:v>Av Price/Vol 40.03</c:v>
                </c:pt>
                <c:pt idx="15">
                  <c:v>Av Price/Vol 57.79</c:v>
                </c:pt>
              </c:strCache>
            </c:strRef>
          </c:cat>
          <c:val>
            <c:numRef>
              <c:f>Sheet1!$C$2:$C$17</c:f>
              <c:numCache>
                <c:formatCode>General</c:formatCode>
                <c:ptCount val="16"/>
                <c:pt idx="0">
                  <c:v>4.9873000000000003</c:v>
                </c:pt>
                <c:pt idx="1">
                  <c:v>4.2755999999999998</c:v>
                </c:pt>
                <c:pt idx="2">
                  <c:v>6.5185000000000004</c:v>
                </c:pt>
                <c:pt idx="3">
                  <c:v>5.8728999999999996</c:v>
                </c:pt>
                <c:pt idx="4">
                  <c:v>6.6204000000000001</c:v>
                </c:pt>
                <c:pt idx="5">
                  <c:v>9.1679999999999993</c:v>
                </c:pt>
                <c:pt idx="6">
                  <c:v>22.945399999999999</c:v>
                </c:pt>
                <c:pt idx="7">
                  <c:v>10.5038</c:v>
                </c:pt>
                <c:pt idx="8">
                  <c:v>33.745800000000003</c:v>
                </c:pt>
                <c:pt idx="9">
                  <c:v>25.946999999999999</c:v>
                </c:pt>
                <c:pt idx="10">
                  <c:v>44.764499999999998</c:v>
                </c:pt>
                <c:pt idx="11">
                  <c:v>69.128900000000002</c:v>
                </c:pt>
                <c:pt idx="12">
                  <c:v>21.974499999999999</c:v>
                </c:pt>
                <c:pt idx="13">
                  <c:v>20.803799999999999</c:v>
                </c:pt>
                <c:pt idx="14">
                  <c:v>18.815000000000001</c:v>
                </c:pt>
                <c:pt idx="15">
                  <c:v>27.14819999999999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2.42</c:v>
                </c:pt>
                <c:pt idx="1">
                  <c:v>Av Price/Vol 11.79</c:v>
                </c:pt>
                <c:pt idx="2">
                  <c:v>Av Price/Vol 15.10</c:v>
                </c:pt>
                <c:pt idx="3">
                  <c:v>Av Price/Vol 14.11</c:v>
                </c:pt>
                <c:pt idx="4">
                  <c:v>Av Price/Vol 17.10</c:v>
                </c:pt>
                <c:pt idx="5">
                  <c:v>Av Price/Vol 19.28</c:v>
                </c:pt>
                <c:pt idx="6">
                  <c:v>Av Price/Vol 49.76</c:v>
                </c:pt>
                <c:pt idx="7">
                  <c:v>Av Price/Vol 21.39</c:v>
                </c:pt>
                <c:pt idx="8">
                  <c:v>Av Price/Vol 69.80</c:v>
                </c:pt>
                <c:pt idx="9">
                  <c:v>Av Price/Vol 51.55</c:v>
                </c:pt>
                <c:pt idx="10">
                  <c:v>Av Price/Vol 91.79</c:v>
                </c:pt>
                <c:pt idx="11">
                  <c:v>Av Price/Vol 139.68</c:v>
                </c:pt>
                <c:pt idx="12">
                  <c:v>Av Price/Vol 47.54</c:v>
                </c:pt>
                <c:pt idx="13">
                  <c:v>Av Price/Vol 44.42</c:v>
                </c:pt>
                <c:pt idx="14">
                  <c:v>Av Price/Vol 40.03</c:v>
                </c:pt>
                <c:pt idx="15">
                  <c:v>Av Price/Vol 57.79</c:v>
                </c:pt>
              </c:strCache>
            </c:strRef>
          </c:cat>
          <c:val>
            <c:numRef>
              <c:f>Sheet1!$D$2:$D$17</c:f>
              <c:numCache>
                <c:formatCode>General</c:formatCode>
                <c:ptCount val="16"/>
                <c:pt idx="0">
                  <c:v>0.19539999999999999</c:v>
                </c:pt>
                <c:pt idx="1">
                  <c:v>0.3891</c:v>
                </c:pt>
                <c:pt idx="2">
                  <c:v>0.31979999999999997</c:v>
                </c:pt>
                <c:pt idx="3">
                  <c:v>0.77780000000000005</c:v>
                </c:pt>
                <c:pt idx="4">
                  <c:v>0.78369999999999995</c:v>
                </c:pt>
                <c:pt idx="5">
                  <c:v>0.40360000000000001</c:v>
                </c:pt>
                <c:pt idx="6">
                  <c:v>1.1893</c:v>
                </c:pt>
                <c:pt idx="7">
                  <c:v>-2.4123000000000001</c:v>
                </c:pt>
                <c:pt idx="8">
                  <c:v>1.3819999999999999</c:v>
                </c:pt>
                <c:pt idx="9">
                  <c:v>0.24759999999999999</c:v>
                </c:pt>
                <c:pt idx="10">
                  <c:v>1.0619000000000001</c:v>
                </c:pt>
                <c:pt idx="11">
                  <c:v>3.6766999999999999</c:v>
                </c:pt>
                <c:pt idx="12">
                  <c:v>0.62270000000000003</c:v>
                </c:pt>
                <c:pt idx="13">
                  <c:v>0.3629</c:v>
                </c:pt>
                <c:pt idx="14">
                  <c:v>-0.1104</c:v>
                </c:pt>
                <c:pt idx="15">
                  <c:v>0.9872999999999999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2.42</c:v>
                </c:pt>
                <c:pt idx="1">
                  <c:v>Av Price/Vol 11.79</c:v>
                </c:pt>
                <c:pt idx="2">
                  <c:v>Av Price/Vol 15.10</c:v>
                </c:pt>
                <c:pt idx="3">
                  <c:v>Av Price/Vol 14.11</c:v>
                </c:pt>
                <c:pt idx="4">
                  <c:v>Av Price/Vol 17.10</c:v>
                </c:pt>
                <c:pt idx="5">
                  <c:v>Av Price/Vol 19.28</c:v>
                </c:pt>
                <c:pt idx="6">
                  <c:v>Av Price/Vol 49.76</c:v>
                </c:pt>
                <c:pt idx="7">
                  <c:v>Av Price/Vol 21.39</c:v>
                </c:pt>
                <c:pt idx="8">
                  <c:v>Av Price/Vol 69.80</c:v>
                </c:pt>
                <c:pt idx="9">
                  <c:v>Av Price/Vol 51.55</c:v>
                </c:pt>
                <c:pt idx="10">
                  <c:v>Av Price/Vol 91.79</c:v>
                </c:pt>
                <c:pt idx="11">
                  <c:v>Av Price/Vol 139.68</c:v>
                </c:pt>
                <c:pt idx="12">
                  <c:v>Av Price/Vol 47.54</c:v>
                </c:pt>
                <c:pt idx="13">
                  <c:v>Av Price/Vol 44.42</c:v>
                </c:pt>
                <c:pt idx="14">
                  <c:v>Av Price/Vol 40.03</c:v>
                </c:pt>
                <c:pt idx="15">
                  <c:v>Av Price/Vol 57.79</c:v>
                </c:pt>
              </c:strCache>
            </c:strRef>
          </c:cat>
          <c:val>
            <c:numRef>
              <c:f>Sheet1!$E$2:$E$17</c:f>
              <c:numCache>
                <c:formatCode>General</c:formatCode>
                <c:ptCount val="16"/>
                <c:pt idx="0">
                  <c:v>2.060480088684236</c:v>
                </c:pt>
                <c:pt idx="1">
                  <c:v>1.963776583313857</c:v>
                </c:pt>
                <c:pt idx="2">
                  <c:v>2.5243830477755975</c:v>
                </c:pt>
                <c:pt idx="3">
                  <c:v>2.3521481481481494</c:v>
                </c:pt>
                <c:pt idx="4">
                  <c:v>2.8479322881163354</c:v>
                </c:pt>
                <c:pt idx="5">
                  <c:v>3.275236215763663</c:v>
                </c:pt>
                <c:pt idx="6">
                  <c:v>8.2938689217758981</c:v>
                </c:pt>
                <c:pt idx="7">
                  <c:v>3.9130965802329967</c:v>
                </c:pt>
                <c:pt idx="8">
                  <c:v>11.631424781695616</c:v>
                </c:pt>
                <c:pt idx="9">
                  <c:v>8.5915539109416894</c:v>
                </c:pt>
                <c:pt idx="10">
                  <c:v>15.296978776529265</c:v>
                </c:pt>
                <c:pt idx="11">
                  <c:v>23.166896446078439</c:v>
                </c:pt>
                <c:pt idx="12">
                  <c:v>7.9143389199255099</c:v>
                </c:pt>
                <c:pt idx="13">
                  <c:v>7.3967811622380744</c:v>
                </c:pt>
                <c:pt idx="14">
                  <c:v>6.6670510883109335</c:v>
                </c:pt>
                <c:pt idx="15">
                  <c:v>9.631449080305076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rgbClr val="FF808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F5F0E605-DAB7-4C5D-B707-059D46A381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87DC127E-8778-4D01-BF37-CA3BA889E4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097BC108-4013-405D-BD06-DE701073F3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6AF90FE-490E-4936-A143-5B95905C68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AA9C623-41C3-4F4C-A742-C2CDF98236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AC7B4DE4-F3B5-4B1C-9277-8CE8B935A2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6F993EFD-5BED-4142-8D14-6A24A645BC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22FD3DED-668D-4D5D-A40F-B15BB08E5E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46.166899999999998</c:v>
                </c:pt>
                <c:pt idx="1">
                  <c:v>45.022399999999998</c:v>
                </c:pt>
                <c:pt idx="2">
                  <c:v>43.219799999999999</c:v>
                </c:pt>
                <c:pt idx="3">
                  <c:v>44.5471</c:v>
                </c:pt>
                <c:pt idx="4">
                  <c:v>42.490400000000001</c:v>
                </c:pt>
              </c:numCache>
            </c:numRef>
          </c:xVal>
          <c:yVal>
            <c:numRef>
              <c:f>Sheet1!$B$2:$B$6</c:f>
              <c:numCache>
                <c:formatCode>General</c:formatCode>
                <c:ptCount val="5"/>
                <c:pt idx="0">
                  <c:v>0.39600000000000002</c:v>
                </c:pt>
                <c:pt idx="1">
                  <c:v>0.39539999999999997</c:v>
                </c:pt>
                <c:pt idx="2">
                  <c:v>0.39450000000000002</c:v>
                </c:pt>
                <c:pt idx="3">
                  <c:v>0.39500000000000002</c:v>
                </c:pt>
                <c:pt idx="4">
                  <c:v>0.39150000000000001</c:v>
                </c:pt>
              </c:numCache>
            </c:numRef>
          </c:yVal>
          <c:bubbleSize>
            <c:numRef>
              <c:f>Sheet1!$C$2:$C$6</c:f>
              <c:numCache>
                <c:formatCode>General</c:formatCode>
                <c:ptCount val="5"/>
                <c:pt idx="0">
                  <c:v>2678832.1698000012</c:v>
                </c:pt>
                <c:pt idx="1">
                  <c:v>1617744.0439000011</c:v>
                </c:pt>
                <c:pt idx="2">
                  <c:v>15552351.4198</c:v>
                </c:pt>
                <c:pt idx="3">
                  <c:v>4090981.8744999971</c:v>
                </c:pt>
                <c:pt idx="4">
                  <c:v>6679155.4854999986</c:v>
                </c:pt>
              </c:numCache>
            </c:numRef>
          </c:bubbleSize>
          <c:bubble3D val="0"/>
          <c:extLst>
            <c:ext xmlns:c15="http://schemas.microsoft.com/office/drawing/2012/chart" uri="{02D57815-91ED-43cb-92C2-25804820EDAC}">
              <c15:datalabelsRange>
                <c15:f>Sheet1!$E$2:$E$29</c15:f>
                <c15:dlblRangeCache>
                  <c:ptCount val="28"/>
                  <c:pt idx="0">
                    <c:v>NICOLAS QCA</c:v>
                  </c:pt>
                  <c:pt idx="1">
                    <c:v>NICOLAS CCP</c:v>
                  </c:pt>
                  <c:pt idx="2">
                    <c:v>NICOLAS QCN</c:v>
                  </c:pt>
                  <c:pt idx="3">
                    <c:v>NICOLAS QCT</c:v>
                  </c:pt>
                  <c:pt idx="4">
                    <c:v>NICOLAS VCN</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5.400279999999995"/>
          <c:min val="33.992319999999999"/>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940911776656898"/>
        <c:crossBetween val="midCat"/>
      </c:valAx>
      <c:valAx>
        <c:axId val="1011451359"/>
        <c:scaling>
          <c:orientation val="minMax"/>
          <c:max val="0.83519999999999994"/>
          <c:min val="7.3200000000000029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3.5911083967281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3.38</c:v>
                </c:pt>
                <c:pt idx="1">
                  <c:v>Av Price/Vol 12.02</c:v>
                </c:pt>
                <c:pt idx="2">
                  <c:v>Av Price/Vol 15.58</c:v>
                </c:pt>
                <c:pt idx="3">
                  <c:v>Av Price/Vol 14.62</c:v>
                </c:pt>
                <c:pt idx="4">
                  <c:v>Av Price/Vol 16.94</c:v>
                </c:pt>
                <c:pt idx="5">
                  <c:v>Av Price/Vol 22.15</c:v>
                </c:pt>
                <c:pt idx="6">
                  <c:v>Av Price/Vol 46.45</c:v>
                </c:pt>
                <c:pt idx="7">
                  <c:v>Av Price/Vol 23.25</c:v>
                </c:pt>
                <c:pt idx="8">
                  <c:v>Av Price/Vol 71.44</c:v>
                </c:pt>
                <c:pt idx="9">
                  <c:v>Av Price/Vol 51.91</c:v>
                </c:pt>
                <c:pt idx="10">
                  <c:v>Av Price/Vol 95.07</c:v>
                </c:pt>
                <c:pt idx="11">
                  <c:v>Av Price/Vol 181.48</c:v>
                </c:pt>
                <c:pt idx="12">
                  <c:v>Av Price/Vol 48.15</c:v>
                </c:pt>
                <c:pt idx="13">
                  <c:v>Av Price/Vol 44.06</c:v>
                </c:pt>
                <c:pt idx="14">
                  <c:v>Av Price/Vol 39.95</c:v>
                </c:pt>
                <c:pt idx="15">
                  <c:v>Av Price/Vol 63.67</c:v>
                </c:pt>
              </c:strCache>
            </c:strRef>
          </c:cat>
          <c:val>
            <c:numRef>
              <c:f>Sheet1!$B$2:$B$17</c:f>
              <c:numCache>
                <c:formatCode>General</c:formatCode>
                <c:ptCount val="16"/>
                <c:pt idx="0">
                  <c:v>5.5027999999999997</c:v>
                </c:pt>
                <c:pt idx="1">
                  <c:v>5.2343999999999999</c:v>
                </c:pt>
                <c:pt idx="2">
                  <c:v>6.2354000000000003</c:v>
                </c:pt>
                <c:pt idx="3">
                  <c:v>5.3341000000000003</c:v>
                </c:pt>
                <c:pt idx="4">
                  <c:v>6.8680000000000003</c:v>
                </c:pt>
                <c:pt idx="5">
                  <c:v>8.1411999999999995</c:v>
                </c:pt>
                <c:pt idx="6">
                  <c:v>16.370200000000001</c:v>
                </c:pt>
                <c:pt idx="7">
                  <c:v>12.9521</c:v>
                </c:pt>
                <c:pt idx="8">
                  <c:v>23.683199999999999</c:v>
                </c:pt>
                <c:pt idx="9">
                  <c:v>16.9604</c:v>
                </c:pt>
                <c:pt idx="10">
                  <c:v>31.636600000000001</c:v>
                </c:pt>
                <c:pt idx="11">
                  <c:v>55.087400000000002</c:v>
                </c:pt>
                <c:pt idx="12">
                  <c:v>17.082799999999999</c:v>
                </c:pt>
                <c:pt idx="13">
                  <c:v>15.731199999999999</c:v>
                </c:pt>
                <c:pt idx="14">
                  <c:v>14.6038</c:v>
                </c:pt>
                <c:pt idx="15">
                  <c:v>21.99210000000000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3.38</c:v>
                </c:pt>
                <c:pt idx="1">
                  <c:v>Av Price/Vol 12.02</c:v>
                </c:pt>
                <c:pt idx="2">
                  <c:v>Av Price/Vol 15.58</c:v>
                </c:pt>
                <c:pt idx="3">
                  <c:v>Av Price/Vol 14.62</c:v>
                </c:pt>
                <c:pt idx="4">
                  <c:v>Av Price/Vol 16.94</c:v>
                </c:pt>
                <c:pt idx="5">
                  <c:v>Av Price/Vol 22.15</c:v>
                </c:pt>
                <c:pt idx="6">
                  <c:v>Av Price/Vol 46.45</c:v>
                </c:pt>
                <c:pt idx="7">
                  <c:v>Av Price/Vol 23.25</c:v>
                </c:pt>
                <c:pt idx="8">
                  <c:v>Av Price/Vol 71.44</c:v>
                </c:pt>
                <c:pt idx="9">
                  <c:v>Av Price/Vol 51.91</c:v>
                </c:pt>
                <c:pt idx="10">
                  <c:v>Av Price/Vol 95.07</c:v>
                </c:pt>
                <c:pt idx="11">
                  <c:v>Av Price/Vol 181.48</c:v>
                </c:pt>
                <c:pt idx="12">
                  <c:v>Av Price/Vol 48.15</c:v>
                </c:pt>
                <c:pt idx="13">
                  <c:v>Av Price/Vol 44.06</c:v>
                </c:pt>
                <c:pt idx="14">
                  <c:v>Av Price/Vol 39.95</c:v>
                </c:pt>
                <c:pt idx="15">
                  <c:v>Av Price/Vol 63.67</c:v>
                </c:pt>
              </c:strCache>
            </c:strRef>
          </c:cat>
          <c:val>
            <c:numRef>
              <c:f>Sheet1!$C$2:$C$17</c:f>
              <c:numCache>
                <c:formatCode>General</c:formatCode>
                <c:ptCount val="16"/>
                <c:pt idx="0">
                  <c:v>5.2962999999999996</c:v>
                </c:pt>
                <c:pt idx="1">
                  <c:v>4.3861999999999997</c:v>
                </c:pt>
                <c:pt idx="2">
                  <c:v>6.3636999999999997</c:v>
                </c:pt>
                <c:pt idx="3">
                  <c:v>6.0237999999999996</c:v>
                </c:pt>
                <c:pt idx="4">
                  <c:v>6.5852000000000004</c:v>
                </c:pt>
                <c:pt idx="5">
                  <c:v>9.8391000000000002</c:v>
                </c:pt>
                <c:pt idx="6">
                  <c:v>21.4923</c:v>
                </c:pt>
                <c:pt idx="7">
                  <c:v>11.3278</c:v>
                </c:pt>
                <c:pt idx="8">
                  <c:v>34.512599999999999</c:v>
                </c:pt>
                <c:pt idx="9">
                  <c:v>26.1327</c:v>
                </c:pt>
                <c:pt idx="10">
                  <c:v>46.9255</c:v>
                </c:pt>
                <c:pt idx="11">
                  <c:v>90.832300000000004</c:v>
                </c:pt>
                <c:pt idx="12">
                  <c:v>22.132100000000001</c:v>
                </c:pt>
                <c:pt idx="13">
                  <c:v>20.7514</c:v>
                </c:pt>
                <c:pt idx="14">
                  <c:v>18.814299999999999</c:v>
                </c:pt>
                <c:pt idx="15">
                  <c:v>30.08899999999999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3.38</c:v>
                </c:pt>
                <c:pt idx="1">
                  <c:v>Av Price/Vol 12.02</c:v>
                </c:pt>
                <c:pt idx="2">
                  <c:v>Av Price/Vol 15.58</c:v>
                </c:pt>
                <c:pt idx="3">
                  <c:v>Av Price/Vol 14.62</c:v>
                </c:pt>
                <c:pt idx="4">
                  <c:v>Av Price/Vol 16.94</c:v>
                </c:pt>
                <c:pt idx="5">
                  <c:v>Av Price/Vol 22.15</c:v>
                </c:pt>
                <c:pt idx="6">
                  <c:v>Av Price/Vol 46.45</c:v>
                </c:pt>
                <c:pt idx="7">
                  <c:v>Av Price/Vol 23.25</c:v>
                </c:pt>
                <c:pt idx="8">
                  <c:v>Av Price/Vol 71.44</c:v>
                </c:pt>
                <c:pt idx="9">
                  <c:v>Av Price/Vol 51.91</c:v>
                </c:pt>
                <c:pt idx="10">
                  <c:v>Av Price/Vol 95.07</c:v>
                </c:pt>
                <c:pt idx="11">
                  <c:v>Av Price/Vol 181.48</c:v>
                </c:pt>
                <c:pt idx="12">
                  <c:v>Av Price/Vol 48.15</c:v>
                </c:pt>
                <c:pt idx="13">
                  <c:v>Av Price/Vol 44.06</c:v>
                </c:pt>
                <c:pt idx="14">
                  <c:v>Av Price/Vol 39.95</c:v>
                </c:pt>
                <c:pt idx="15">
                  <c:v>Av Price/Vol 63.67</c:v>
                </c:pt>
              </c:strCache>
            </c:strRef>
          </c:cat>
          <c:val>
            <c:numRef>
              <c:f>Sheet1!$D$2:$D$17</c:f>
              <c:numCache>
                <c:formatCode>General</c:formatCode>
                <c:ptCount val="16"/>
                <c:pt idx="0">
                  <c:v>0.30149999999999999</c:v>
                </c:pt>
                <c:pt idx="1">
                  <c:v>0.3921</c:v>
                </c:pt>
                <c:pt idx="2">
                  <c:v>0.41839999999999999</c:v>
                </c:pt>
                <c:pt idx="3">
                  <c:v>0.75109999999999999</c:v>
                </c:pt>
                <c:pt idx="4">
                  <c:v>0.66049999999999998</c:v>
                </c:pt>
                <c:pt idx="5">
                  <c:v>0.51229999999999998</c:v>
                </c:pt>
                <c:pt idx="6">
                  <c:v>0.84760000000000002</c:v>
                </c:pt>
                <c:pt idx="7">
                  <c:v>-2.7513000000000001</c:v>
                </c:pt>
                <c:pt idx="8">
                  <c:v>1.3009999999999999</c:v>
                </c:pt>
                <c:pt idx="9">
                  <c:v>0.15090000000000001</c:v>
                </c:pt>
                <c:pt idx="10">
                  <c:v>0.72599999999999998</c:v>
                </c:pt>
                <c:pt idx="11">
                  <c:v>3.9777999999999998</c:v>
                </c:pt>
                <c:pt idx="12">
                  <c:v>0.60260000000000002</c:v>
                </c:pt>
                <c:pt idx="13">
                  <c:v>0.20810000000000001</c:v>
                </c:pt>
                <c:pt idx="14">
                  <c:v>-0.13070000000000001</c:v>
                </c:pt>
                <c:pt idx="15">
                  <c:v>0.9802999999999999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3.38</c:v>
                </c:pt>
                <c:pt idx="1">
                  <c:v>Av Price/Vol 12.02</c:v>
                </c:pt>
                <c:pt idx="2">
                  <c:v>Av Price/Vol 15.58</c:v>
                </c:pt>
                <c:pt idx="3">
                  <c:v>Av Price/Vol 14.62</c:v>
                </c:pt>
                <c:pt idx="4">
                  <c:v>Av Price/Vol 16.94</c:v>
                </c:pt>
                <c:pt idx="5">
                  <c:v>Av Price/Vol 22.15</c:v>
                </c:pt>
                <c:pt idx="6">
                  <c:v>Av Price/Vol 46.45</c:v>
                </c:pt>
                <c:pt idx="7">
                  <c:v>Av Price/Vol 23.25</c:v>
                </c:pt>
                <c:pt idx="8">
                  <c:v>Av Price/Vol 71.44</c:v>
                </c:pt>
                <c:pt idx="9">
                  <c:v>Av Price/Vol 51.91</c:v>
                </c:pt>
                <c:pt idx="10">
                  <c:v>Av Price/Vol 95.07</c:v>
                </c:pt>
                <c:pt idx="11">
                  <c:v>Av Price/Vol 181.48</c:v>
                </c:pt>
                <c:pt idx="12">
                  <c:v>Av Price/Vol 48.15</c:v>
                </c:pt>
                <c:pt idx="13">
                  <c:v>Av Price/Vol 44.06</c:v>
                </c:pt>
                <c:pt idx="14">
                  <c:v>Av Price/Vol 39.95</c:v>
                </c:pt>
                <c:pt idx="15">
                  <c:v>Av Price/Vol 63.67</c:v>
                </c:pt>
              </c:strCache>
            </c:strRef>
          </c:cat>
          <c:val>
            <c:numRef>
              <c:f>Sheet1!$E$2:$E$17</c:f>
              <c:numCache>
                <c:formatCode>General</c:formatCode>
                <c:ptCount val="16"/>
                <c:pt idx="0">
                  <c:v>2.2224822587951034</c:v>
                </c:pt>
                <c:pt idx="1">
                  <c:v>2.0025659037249528</c:v>
                </c:pt>
                <c:pt idx="2">
                  <c:v>2.6038890964180461</c:v>
                </c:pt>
                <c:pt idx="3">
                  <c:v>2.4229957805907167</c:v>
                </c:pt>
                <c:pt idx="4">
                  <c:v>2.8227461087527788</c:v>
                </c:pt>
                <c:pt idx="5">
                  <c:v>3.6985193309569548</c:v>
                </c:pt>
                <c:pt idx="6">
                  <c:v>7.7420267489711918</c:v>
                </c:pt>
                <c:pt idx="7">
                  <c:v>4.306860261157663</c:v>
                </c:pt>
                <c:pt idx="8">
                  <c:v>11.913264508055695</c:v>
                </c:pt>
                <c:pt idx="9">
                  <c:v>8.6508594899212241</c:v>
                </c:pt>
                <c:pt idx="10">
                  <c:v>15.863411261235999</c:v>
                </c:pt>
                <c:pt idx="11">
                  <c:v>30.095950383071894</c:v>
                </c:pt>
                <c:pt idx="12">
                  <c:v>7.986239414934559</c:v>
                </c:pt>
                <c:pt idx="13">
                  <c:v>7.3381447103238644</c:v>
                </c:pt>
                <c:pt idx="14">
                  <c:v>6.657473995789303</c:v>
                </c:pt>
                <c:pt idx="15">
                  <c:v>10.61230714029421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8</c:v>
                </c:pt>
                <c:pt idx="1">
                  <c:v>Av Price/Unit 93.48</c:v>
                </c:pt>
                <c:pt idx="2">
                  <c:v>Av Price/Unit 21.25</c:v>
                </c:pt>
                <c:pt idx="3">
                  <c:v>Av Price/Unit 45.96</c:v>
                </c:pt>
                <c:pt idx="4">
                  <c:v>Av Price/Unit 59.90</c:v>
                </c:pt>
                <c:pt idx="5">
                  <c:v>Av Price/Unit 98.35</c:v>
                </c:pt>
                <c:pt idx="6">
                  <c:v>Av Price/Unit 29.22</c:v>
                </c:pt>
                <c:pt idx="7">
                  <c:v>Av Price/Unit 29.84</c:v>
                </c:pt>
                <c:pt idx="8">
                  <c:v>Av Price/Unit 29.47</c:v>
                </c:pt>
                <c:pt idx="9">
                  <c:v>Av Price/Unit 30.38</c:v>
                </c:pt>
                <c:pt idx="10">
                  <c:v>Av Price/Unit 41.77</c:v>
                </c:pt>
                <c:pt idx="11">
                  <c:v>Av Price/Unit 29.52</c:v>
                </c:pt>
              </c:strCache>
            </c:strRef>
          </c:cat>
          <c:val>
            <c:numRef>
              <c:f>Sheet1!$B$2:$B$13</c:f>
              <c:numCache>
                <c:formatCode>General</c:formatCode>
                <c:ptCount val="12"/>
                <c:pt idx="0">
                  <c:v>18.173055143522113</c:v>
                </c:pt>
                <c:pt idx="1">
                  <c:v>29.846510463733654</c:v>
                </c:pt>
                <c:pt idx="2">
                  <c:v>3.6134988670970882</c:v>
                </c:pt>
                <c:pt idx="3">
                  <c:v>15.806317351298063</c:v>
                </c:pt>
                <c:pt idx="4">
                  <c:v>20.131353289473683</c:v>
                </c:pt>
                <c:pt idx="5">
                  <c:v>31.741321492007113</c:v>
                </c:pt>
                <c:pt idx="6">
                  <c:v>10.12196360770578</c:v>
                </c:pt>
                <c:pt idx="7">
                  <c:v>11.450670696557244</c:v>
                </c:pt>
                <c:pt idx="8">
                  <c:v>10.766153137410642</c:v>
                </c:pt>
                <c:pt idx="9">
                  <c:v>11.449227761688043</c:v>
                </c:pt>
                <c:pt idx="10">
                  <c:v>14.943870006863419</c:v>
                </c:pt>
                <c:pt idx="11">
                  <c:v>11.00984930898321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8</c:v>
                </c:pt>
                <c:pt idx="1">
                  <c:v>Av Price/Unit 93.48</c:v>
                </c:pt>
                <c:pt idx="2">
                  <c:v>Av Price/Unit 21.25</c:v>
                </c:pt>
                <c:pt idx="3">
                  <c:v>Av Price/Unit 45.96</c:v>
                </c:pt>
                <c:pt idx="4">
                  <c:v>Av Price/Unit 59.90</c:v>
                </c:pt>
                <c:pt idx="5">
                  <c:v>Av Price/Unit 98.35</c:v>
                </c:pt>
                <c:pt idx="6">
                  <c:v>Av Price/Unit 29.22</c:v>
                </c:pt>
                <c:pt idx="7">
                  <c:v>Av Price/Unit 29.84</c:v>
                </c:pt>
                <c:pt idx="8">
                  <c:v>Av Price/Unit 29.47</c:v>
                </c:pt>
                <c:pt idx="9">
                  <c:v>Av Price/Unit 30.38</c:v>
                </c:pt>
                <c:pt idx="10">
                  <c:v>Av Price/Unit 41.77</c:v>
                </c:pt>
                <c:pt idx="11">
                  <c:v>Av Price/Unit 29.52</c:v>
                </c:pt>
              </c:strCache>
            </c:strRef>
          </c:cat>
          <c:val>
            <c:numRef>
              <c:f>Sheet1!$C$2:$C$13</c:f>
              <c:numCache>
                <c:formatCode>General</c:formatCode>
                <c:ptCount val="12"/>
                <c:pt idx="0">
                  <c:v>27.898393778122578</c:v>
                </c:pt>
                <c:pt idx="1">
                  <c:v>47.893745541022589</c:v>
                </c:pt>
                <c:pt idx="2">
                  <c:v>13.388868595444023</c:v>
                </c:pt>
                <c:pt idx="3">
                  <c:v>22.316553927045678</c:v>
                </c:pt>
                <c:pt idx="4">
                  <c:v>29.20798125</c:v>
                </c:pt>
                <c:pt idx="5">
                  <c:v>49.745495559502665</c:v>
                </c:pt>
                <c:pt idx="6">
                  <c:v>15.242434290718037</c:v>
                </c:pt>
                <c:pt idx="7">
                  <c:v>14.104472297838271</c:v>
                </c:pt>
                <c:pt idx="8">
                  <c:v>14.194727720413027</c:v>
                </c:pt>
                <c:pt idx="9">
                  <c:v>13.874155730244103</c:v>
                </c:pt>
                <c:pt idx="10">
                  <c:v>20.579369663692521</c:v>
                </c:pt>
                <c:pt idx="11">
                  <c:v>13.74073652517275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8</c:v>
                </c:pt>
                <c:pt idx="1">
                  <c:v>Av Price/Unit 93.48</c:v>
                </c:pt>
                <c:pt idx="2">
                  <c:v>Av Price/Unit 21.25</c:v>
                </c:pt>
                <c:pt idx="3">
                  <c:v>Av Price/Unit 45.96</c:v>
                </c:pt>
                <c:pt idx="4">
                  <c:v>Av Price/Unit 59.90</c:v>
                </c:pt>
                <c:pt idx="5">
                  <c:v>Av Price/Unit 98.35</c:v>
                </c:pt>
                <c:pt idx="6">
                  <c:v>Av Price/Unit 29.22</c:v>
                </c:pt>
                <c:pt idx="7">
                  <c:v>Av Price/Unit 29.84</c:v>
                </c:pt>
                <c:pt idx="8">
                  <c:v>Av Price/Unit 29.47</c:v>
                </c:pt>
                <c:pt idx="9">
                  <c:v>Av Price/Unit 30.38</c:v>
                </c:pt>
                <c:pt idx="10">
                  <c:v>Av Price/Unit 41.77</c:v>
                </c:pt>
                <c:pt idx="11">
                  <c:v>Av Price/Unit 29.52</c:v>
                </c:pt>
              </c:strCache>
            </c:strRef>
          </c:cat>
          <c:val>
            <c:numRef>
              <c:f>Sheet1!$D$2:$D$13</c:f>
              <c:numCache>
                <c:formatCode>General</c:formatCode>
                <c:ptCount val="12"/>
                <c:pt idx="0">
                  <c:v>-1.0881046702870449</c:v>
                </c:pt>
                <c:pt idx="1">
                  <c:v>0.15973078345886904</c:v>
                </c:pt>
                <c:pt idx="2">
                  <c:v>0.70756472570755236</c:v>
                </c:pt>
                <c:pt idx="3">
                  <c:v>0.17735471574103912</c:v>
                </c:pt>
                <c:pt idx="4">
                  <c:v>0.57607899436091259</c:v>
                </c:pt>
                <c:pt idx="5">
                  <c:v>0.46922202486678088</c:v>
                </c:pt>
                <c:pt idx="6">
                  <c:v>-1.0126757734967811</c:v>
                </c:pt>
                <c:pt idx="7">
                  <c:v>-0.69158548171870748</c:v>
                </c:pt>
                <c:pt idx="8">
                  <c:v>-0.40663054011119826</c:v>
                </c:pt>
                <c:pt idx="9">
                  <c:v>-5.1515239277328817E-3</c:v>
                </c:pt>
                <c:pt idx="10">
                  <c:v>-0.71484342255777023</c:v>
                </c:pt>
                <c:pt idx="11">
                  <c:v>-0.1520336788417182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8</c:v>
                </c:pt>
                <c:pt idx="1">
                  <c:v>Av Price/Unit 93.48</c:v>
                </c:pt>
                <c:pt idx="2">
                  <c:v>Av Price/Unit 21.25</c:v>
                </c:pt>
                <c:pt idx="3">
                  <c:v>Av Price/Unit 45.96</c:v>
                </c:pt>
                <c:pt idx="4">
                  <c:v>Av Price/Unit 59.90</c:v>
                </c:pt>
                <c:pt idx="5">
                  <c:v>Av Price/Unit 98.35</c:v>
                </c:pt>
                <c:pt idx="6">
                  <c:v>Av Price/Unit 29.22</c:v>
                </c:pt>
                <c:pt idx="7">
                  <c:v>Av Price/Unit 29.84</c:v>
                </c:pt>
                <c:pt idx="8">
                  <c:v>Av Price/Unit 29.47</c:v>
                </c:pt>
                <c:pt idx="9">
                  <c:v>Av Price/Unit 30.38</c:v>
                </c:pt>
                <c:pt idx="10">
                  <c:v>Av Price/Unit 41.77</c:v>
                </c:pt>
                <c:pt idx="11">
                  <c:v>Av Price/Unit 29.52</c:v>
                </c:pt>
              </c:strCache>
            </c:strRef>
          </c:cat>
          <c:val>
            <c:numRef>
              <c:f>Sheet1!$E$2:$E$13</c:f>
              <c:numCache>
                <c:formatCode>General</c:formatCode>
                <c:ptCount val="12"/>
                <c:pt idx="0">
                  <c:v>8.9966640806827005</c:v>
                </c:pt>
                <c:pt idx="1">
                  <c:v>15.579997357643009</c:v>
                </c:pt>
                <c:pt idx="2">
                  <c:v>3.5419864376497365</c:v>
                </c:pt>
                <c:pt idx="3">
                  <c:v>7.6600394347683212</c:v>
                </c:pt>
                <c:pt idx="4">
                  <c:v>9.9830827067669166</c:v>
                </c:pt>
                <c:pt idx="5">
                  <c:v>16.391207815275298</c:v>
                </c:pt>
                <c:pt idx="6">
                  <c:v>4.8703444249853991</c:v>
                </c:pt>
                <c:pt idx="7">
                  <c:v>4.9727115025353594</c:v>
                </c:pt>
                <c:pt idx="8">
                  <c:v>4.9108419380460679</c:v>
                </c:pt>
                <c:pt idx="9">
                  <c:v>5.0636463936008838</c:v>
                </c:pt>
                <c:pt idx="10">
                  <c:v>6.9616792495996327</c:v>
                </c:pt>
                <c:pt idx="11">
                  <c:v>4.91971043106284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30</c:v>
                </c:pt>
                <c:pt idx="1">
                  <c:v>Av Price/Unit 54.26</c:v>
                </c:pt>
                <c:pt idx="2">
                  <c:v>Av Price/Unit 46.07</c:v>
                </c:pt>
                <c:pt idx="3">
                  <c:v>Av Price/Unit 21.33</c:v>
                </c:pt>
                <c:pt idx="4">
                  <c:v>Av Price/Unit 41.92</c:v>
                </c:pt>
                <c:pt idx="5">
                  <c:v>Av Price/Unit 29.46</c:v>
                </c:pt>
                <c:pt idx="6">
                  <c:v>Av Price/Unit 30.55</c:v>
                </c:pt>
                <c:pt idx="7">
                  <c:v>Av Price/Unit 98.14</c:v>
                </c:pt>
                <c:pt idx="8">
                  <c:v>Av Price/Unit 37.26</c:v>
                </c:pt>
                <c:pt idx="9">
                  <c:v>Av Price/Unit 29.91</c:v>
                </c:pt>
                <c:pt idx="10">
                  <c:v>Av Price/Unit 57.52</c:v>
                </c:pt>
                <c:pt idx="11">
                  <c:v>Av Price/Unit 60.46</c:v>
                </c:pt>
              </c:strCache>
            </c:strRef>
          </c:cat>
          <c:val>
            <c:numRef>
              <c:f>Sheet1!$B$2:$B$13</c:f>
              <c:numCache>
                <c:formatCode>General</c:formatCode>
                <c:ptCount val="12"/>
                <c:pt idx="0">
                  <c:v>29.951883288312622</c:v>
                </c:pt>
                <c:pt idx="1">
                  <c:v>18.185763407214257</c:v>
                </c:pt>
                <c:pt idx="2">
                  <c:v>15.853434293948126</c:v>
                </c:pt>
                <c:pt idx="3">
                  <c:v>3.5979885625965999</c:v>
                </c:pt>
                <c:pt idx="4">
                  <c:v>14.506429684975767</c:v>
                </c:pt>
                <c:pt idx="5">
                  <c:v>10.093124851419766</c:v>
                </c:pt>
                <c:pt idx="6">
                  <c:v>11.309679907264297</c:v>
                </c:pt>
                <c:pt idx="7">
                  <c:v>31.535699571428569</c:v>
                </c:pt>
                <c:pt idx="8">
                  <c:v>12.770112376779847</c:v>
                </c:pt>
                <c:pt idx="9">
                  <c:v>10.704660296096902</c:v>
                </c:pt>
                <c:pt idx="10">
                  <c:v>19.508916358839052</c:v>
                </c:pt>
                <c:pt idx="11">
                  <c:v>20.15509740412979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30</c:v>
                </c:pt>
                <c:pt idx="1">
                  <c:v>Av Price/Unit 54.26</c:v>
                </c:pt>
                <c:pt idx="2">
                  <c:v>Av Price/Unit 46.07</c:v>
                </c:pt>
                <c:pt idx="3">
                  <c:v>Av Price/Unit 21.33</c:v>
                </c:pt>
                <c:pt idx="4">
                  <c:v>Av Price/Unit 41.92</c:v>
                </c:pt>
                <c:pt idx="5">
                  <c:v>Av Price/Unit 29.46</c:v>
                </c:pt>
                <c:pt idx="6">
                  <c:v>Av Price/Unit 30.55</c:v>
                </c:pt>
                <c:pt idx="7">
                  <c:v>Av Price/Unit 98.14</c:v>
                </c:pt>
                <c:pt idx="8">
                  <c:v>Av Price/Unit 37.26</c:v>
                </c:pt>
                <c:pt idx="9">
                  <c:v>Av Price/Unit 29.91</c:v>
                </c:pt>
                <c:pt idx="10">
                  <c:v>Av Price/Unit 57.52</c:v>
                </c:pt>
                <c:pt idx="11">
                  <c:v>Av Price/Unit 60.46</c:v>
                </c:pt>
              </c:strCache>
            </c:strRef>
          </c:cat>
          <c:val>
            <c:numRef>
              <c:f>Sheet1!$C$2:$C$13</c:f>
              <c:numCache>
                <c:formatCode>General</c:formatCode>
                <c:ptCount val="12"/>
                <c:pt idx="0">
                  <c:v>47.842068611561317</c:v>
                </c:pt>
                <c:pt idx="1">
                  <c:v>27.858919382877012</c:v>
                </c:pt>
                <c:pt idx="2">
                  <c:v>22.31404726224784</c:v>
                </c:pt>
                <c:pt idx="3">
                  <c:v>13.413333075734156</c:v>
                </c:pt>
                <c:pt idx="4">
                  <c:v>20.562884046849756</c:v>
                </c:pt>
                <c:pt idx="5">
                  <c:v>15.276373101474794</c:v>
                </c:pt>
                <c:pt idx="6">
                  <c:v>13.901641973945685</c:v>
                </c:pt>
                <c:pt idx="7">
                  <c:v>49.832152857142866</c:v>
                </c:pt>
                <c:pt idx="8">
                  <c:v>18.348776807228916</c:v>
                </c:pt>
                <c:pt idx="9">
                  <c:v>14.230059219380886</c:v>
                </c:pt>
                <c:pt idx="10">
                  <c:v>27.61438179419525</c:v>
                </c:pt>
                <c:pt idx="11">
                  <c:v>29.21421545722713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30</c:v>
                </c:pt>
                <c:pt idx="1">
                  <c:v>Av Price/Unit 54.26</c:v>
                </c:pt>
                <c:pt idx="2">
                  <c:v>Av Price/Unit 46.07</c:v>
                </c:pt>
                <c:pt idx="3">
                  <c:v>Av Price/Unit 21.33</c:v>
                </c:pt>
                <c:pt idx="4">
                  <c:v>Av Price/Unit 41.92</c:v>
                </c:pt>
                <c:pt idx="5">
                  <c:v>Av Price/Unit 29.46</c:v>
                </c:pt>
                <c:pt idx="6">
                  <c:v>Av Price/Unit 30.55</c:v>
                </c:pt>
                <c:pt idx="7">
                  <c:v>Av Price/Unit 98.14</c:v>
                </c:pt>
                <c:pt idx="8">
                  <c:v>Av Price/Unit 37.26</c:v>
                </c:pt>
                <c:pt idx="9">
                  <c:v>Av Price/Unit 29.91</c:v>
                </c:pt>
                <c:pt idx="10">
                  <c:v>Av Price/Unit 57.52</c:v>
                </c:pt>
                <c:pt idx="11">
                  <c:v>Av Price/Unit 60.46</c:v>
                </c:pt>
              </c:strCache>
            </c:strRef>
          </c:cat>
          <c:val>
            <c:numRef>
              <c:f>Sheet1!$D$2:$D$13</c:f>
              <c:numCache>
                <c:formatCode>General</c:formatCode>
                <c:ptCount val="12"/>
                <c:pt idx="0">
                  <c:v>-4.4837307161245121E-2</c:v>
                </c:pt>
                <c:pt idx="1">
                  <c:v>-0.8273590612777042</c:v>
                </c:pt>
                <c:pt idx="2">
                  <c:v>0.22752840217739134</c:v>
                </c:pt>
                <c:pt idx="3">
                  <c:v>0.76531125422176771</c:v>
                </c:pt>
                <c:pt idx="4">
                  <c:v>-0.13629003769520409</c:v>
                </c:pt>
                <c:pt idx="5">
                  <c:v>-0.82239251595861518</c:v>
                </c:pt>
                <c:pt idx="6">
                  <c:v>0.24757265032751974</c:v>
                </c:pt>
                <c:pt idx="7">
                  <c:v>0.41726661904762352</c:v>
                </c:pt>
                <c:pt idx="8">
                  <c:v>-7.1746066082500448E-2</c:v>
                </c:pt>
                <c:pt idx="9">
                  <c:v>-6.2632495887555706E-3</c:v>
                </c:pt>
                <c:pt idx="10">
                  <c:v>0.8120445910290286</c:v>
                </c:pt>
                <c:pt idx="11">
                  <c:v>1.015151248770898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30</c:v>
                </c:pt>
                <c:pt idx="1">
                  <c:v>Av Price/Unit 54.26</c:v>
                </c:pt>
                <c:pt idx="2">
                  <c:v>Av Price/Unit 46.07</c:v>
                </c:pt>
                <c:pt idx="3">
                  <c:v>Av Price/Unit 21.33</c:v>
                </c:pt>
                <c:pt idx="4">
                  <c:v>Av Price/Unit 41.92</c:v>
                </c:pt>
                <c:pt idx="5">
                  <c:v>Av Price/Unit 29.46</c:v>
                </c:pt>
                <c:pt idx="6">
                  <c:v>Av Price/Unit 30.55</c:v>
                </c:pt>
                <c:pt idx="7">
                  <c:v>Av Price/Unit 98.14</c:v>
                </c:pt>
                <c:pt idx="8">
                  <c:v>Av Price/Unit 37.26</c:v>
                </c:pt>
                <c:pt idx="9">
                  <c:v>Av Price/Unit 29.91</c:v>
                </c:pt>
                <c:pt idx="10">
                  <c:v>Av Price/Unit 57.52</c:v>
                </c:pt>
                <c:pt idx="11">
                  <c:v>Av Price/Unit 60.46</c:v>
                </c:pt>
              </c:strCache>
            </c:strRef>
          </c:cat>
          <c:val>
            <c:numRef>
              <c:f>Sheet1!$E$2:$E$13</c:f>
              <c:numCache>
                <c:formatCode>General</c:formatCode>
                <c:ptCount val="12"/>
                <c:pt idx="0">
                  <c:v>15.549822918542512</c:v>
                </c:pt>
                <c:pt idx="1">
                  <c:v>9.0434593654932645</c:v>
                </c:pt>
                <c:pt idx="2">
                  <c:v>7.6789945565161704</c:v>
                </c:pt>
                <c:pt idx="3">
                  <c:v>3.5553265785105026</c:v>
                </c:pt>
                <c:pt idx="4">
                  <c:v>6.9866047388260615</c:v>
                </c:pt>
                <c:pt idx="5">
                  <c:v>4.9094210873871891</c:v>
                </c:pt>
                <c:pt idx="6">
                  <c:v>5.0917789063075007</c:v>
                </c:pt>
                <c:pt idx="7">
                  <c:v>16.357023809523806</c:v>
                </c:pt>
                <c:pt idx="8">
                  <c:v>6.2094286235852447</c:v>
                </c:pt>
                <c:pt idx="9">
                  <c:v>4.9856811724241075</c:v>
                </c:pt>
                <c:pt idx="10">
                  <c:v>9.5870712401055407</c:v>
                </c:pt>
                <c:pt idx="11">
                  <c:v>10.07689282202556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17</c:v>
                </c:pt>
                <c:pt idx="1">
                  <c:v>Av Price/Unit 21.21</c:v>
                </c:pt>
                <c:pt idx="2">
                  <c:v>Av Price/Unit 93.53</c:v>
                </c:pt>
                <c:pt idx="3">
                  <c:v>Av Price/Unit 45.89</c:v>
                </c:pt>
                <c:pt idx="4">
                  <c:v>Av Price/Unit 29.33</c:v>
                </c:pt>
                <c:pt idx="5">
                  <c:v>Av Price/Unit 41.97</c:v>
                </c:pt>
                <c:pt idx="6">
                  <c:v>Av Price/Unit 59.86</c:v>
                </c:pt>
                <c:pt idx="7">
                  <c:v>Av Price/Unit 97.95</c:v>
                </c:pt>
                <c:pt idx="8">
                  <c:v>Av Price/Unit 30.18</c:v>
                </c:pt>
                <c:pt idx="9">
                  <c:v>Av Price/Unit 29.36</c:v>
                </c:pt>
                <c:pt idx="10">
                  <c:v>Av Price/Unit 37.38</c:v>
                </c:pt>
                <c:pt idx="11">
                  <c:v>Av Price/Unit 45.54</c:v>
                </c:pt>
              </c:strCache>
            </c:strRef>
          </c:cat>
          <c:val>
            <c:numRef>
              <c:f>Sheet1!$B$2:$B$13</c:f>
              <c:numCache>
                <c:formatCode>General</c:formatCode>
                <c:ptCount val="12"/>
                <c:pt idx="0">
                  <c:v>18.173772398809042</c:v>
                </c:pt>
                <c:pt idx="1">
                  <c:v>3.6161074044990529</c:v>
                </c:pt>
                <c:pt idx="2">
                  <c:v>30.089512634470129</c:v>
                </c:pt>
                <c:pt idx="3">
                  <c:v>15.797059640928332</c:v>
                </c:pt>
                <c:pt idx="4">
                  <c:v>10.166313997036239</c:v>
                </c:pt>
                <c:pt idx="5">
                  <c:v>14.839611304347825</c:v>
                </c:pt>
                <c:pt idx="6">
                  <c:v>20.14546042848141</c:v>
                </c:pt>
                <c:pt idx="7">
                  <c:v>31.696168976719008</c:v>
                </c:pt>
                <c:pt idx="8">
                  <c:v>11.4451852336048</c:v>
                </c:pt>
                <c:pt idx="9">
                  <c:v>10.749768686868688</c:v>
                </c:pt>
                <c:pt idx="10">
                  <c:v>12.803870080695217</c:v>
                </c:pt>
                <c:pt idx="11">
                  <c:v>15.08433836428289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17</c:v>
                </c:pt>
                <c:pt idx="1">
                  <c:v>Av Price/Unit 21.21</c:v>
                </c:pt>
                <c:pt idx="2">
                  <c:v>Av Price/Unit 93.53</c:v>
                </c:pt>
                <c:pt idx="3">
                  <c:v>Av Price/Unit 45.89</c:v>
                </c:pt>
                <c:pt idx="4">
                  <c:v>Av Price/Unit 29.33</c:v>
                </c:pt>
                <c:pt idx="5">
                  <c:v>Av Price/Unit 41.97</c:v>
                </c:pt>
                <c:pt idx="6">
                  <c:v>Av Price/Unit 59.86</c:v>
                </c:pt>
                <c:pt idx="7">
                  <c:v>Av Price/Unit 97.95</c:v>
                </c:pt>
                <c:pt idx="8">
                  <c:v>Av Price/Unit 30.18</c:v>
                </c:pt>
                <c:pt idx="9">
                  <c:v>Av Price/Unit 29.36</c:v>
                </c:pt>
                <c:pt idx="10">
                  <c:v>Av Price/Unit 37.38</c:v>
                </c:pt>
                <c:pt idx="11">
                  <c:v>Av Price/Unit 45.54</c:v>
                </c:pt>
              </c:strCache>
            </c:strRef>
          </c:cat>
          <c:val>
            <c:numRef>
              <c:f>Sheet1!$C$2:$C$13</c:f>
              <c:numCache>
                <c:formatCode>General</c:formatCode>
                <c:ptCount val="12"/>
                <c:pt idx="0">
                  <c:v>27.896165840508573</c:v>
                </c:pt>
                <c:pt idx="1">
                  <c:v>13.384754136449722</c:v>
                </c:pt>
                <c:pt idx="2">
                  <c:v>47.774572442206448</c:v>
                </c:pt>
                <c:pt idx="3">
                  <c:v>22.317046445774341</c:v>
                </c:pt>
                <c:pt idx="4">
                  <c:v>15.19024065741614</c:v>
                </c:pt>
                <c:pt idx="5">
                  <c:v>20.575440512820514</c:v>
                </c:pt>
                <c:pt idx="6">
                  <c:v>29.211685192186522</c:v>
                </c:pt>
                <c:pt idx="7">
                  <c:v>49.764524634542504</c:v>
                </c:pt>
                <c:pt idx="8">
                  <c:v>14.098683154736392</c:v>
                </c:pt>
                <c:pt idx="9">
                  <c:v>14.204141616161616</c:v>
                </c:pt>
                <c:pt idx="10">
                  <c:v>18.337667411545624</c:v>
                </c:pt>
                <c:pt idx="11">
                  <c:v>22.32649656262346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17</c:v>
                </c:pt>
                <c:pt idx="1">
                  <c:v>Av Price/Unit 21.21</c:v>
                </c:pt>
                <c:pt idx="2">
                  <c:v>Av Price/Unit 93.53</c:v>
                </c:pt>
                <c:pt idx="3">
                  <c:v>Av Price/Unit 45.89</c:v>
                </c:pt>
                <c:pt idx="4">
                  <c:v>Av Price/Unit 29.33</c:v>
                </c:pt>
                <c:pt idx="5">
                  <c:v>Av Price/Unit 41.97</c:v>
                </c:pt>
                <c:pt idx="6">
                  <c:v>Av Price/Unit 59.86</c:v>
                </c:pt>
                <c:pt idx="7">
                  <c:v>Av Price/Unit 97.95</c:v>
                </c:pt>
                <c:pt idx="8">
                  <c:v>Av Price/Unit 30.18</c:v>
                </c:pt>
                <c:pt idx="9">
                  <c:v>Av Price/Unit 29.36</c:v>
                </c:pt>
                <c:pt idx="10">
                  <c:v>Av Price/Unit 37.38</c:v>
                </c:pt>
                <c:pt idx="11">
                  <c:v>Av Price/Unit 45.54</c:v>
                </c:pt>
              </c:strCache>
            </c:strRef>
          </c:cat>
          <c:val>
            <c:numRef>
              <c:f>Sheet1!$D$2:$D$13</c:f>
              <c:numCache>
                <c:formatCode>General</c:formatCode>
                <c:ptCount val="12"/>
                <c:pt idx="0">
                  <c:v>-0.92781770875244973</c:v>
                </c:pt>
                <c:pt idx="1">
                  <c:v>0.67605194235299138</c:v>
                </c:pt>
                <c:pt idx="2">
                  <c:v>7.8045082780207053E-2</c:v>
                </c:pt>
                <c:pt idx="3">
                  <c:v>0.12352630759500016</c:v>
                </c:pt>
                <c:pt idx="4">
                  <c:v>-0.9127089496609635</c:v>
                </c:pt>
                <c:pt idx="5">
                  <c:v>-0.43697675213675069</c:v>
                </c:pt>
                <c:pt idx="6">
                  <c:v>0.52654478050830988</c:v>
                </c:pt>
                <c:pt idx="7">
                  <c:v>0.16175720988991316</c:v>
                </c:pt>
                <c:pt idx="8">
                  <c:v>-0.3915251964566373</c:v>
                </c:pt>
                <c:pt idx="9">
                  <c:v>-0.48978177328843486</c:v>
                </c:pt>
                <c:pt idx="10">
                  <c:v>5.0070970411724147E-3</c:v>
                </c:pt>
                <c:pt idx="11">
                  <c:v>0.5362874226261098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17</c:v>
                </c:pt>
                <c:pt idx="1">
                  <c:v>Av Price/Unit 21.21</c:v>
                </c:pt>
                <c:pt idx="2">
                  <c:v>Av Price/Unit 93.53</c:v>
                </c:pt>
                <c:pt idx="3">
                  <c:v>Av Price/Unit 45.89</c:v>
                </c:pt>
                <c:pt idx="4">
                  <c:v>Av Price/Unit 29.33</c:v>
                </c:pt>
                <c:pt idx="5">
                  <c:v>Av Price/Unit 41.97</c:v>
                </c:pt>
                <c:pt idx="6">
                  <c:v>Av Price/Unit 59.86</c:v>
                </c:pt>
                <c:pt idx="7">
                  <c:v>Av Price/Unit 97.95</c:v>
                </c:pt>
                <c:pt idx="8">
                  <c:v>Av Price/Unit 30.18</c:v>
                </c:pt>
                <c:pt idx="9">
                  <c:v>Av Price/Unit 29.36</c:v>
                </c:pt>
                <c:pt idx="10">
                  <c:v>Av Price/Unit 37.38</c:v>
                </c:pt>
                <c:pt idx="11">
                  <c:v>Av Price/Unit 45.54</c:v>
                </c:pt>
              </c:strCache>
            </c:strRef>
          </c:cat>
          <c:val>
            <c:numRef>
              <c:f>Sheet1!$E$2:$E$13</c:f>
              <c:numCache>
                <c:formatCode>General</c:formatCode>
                <c:ptCount val="12"/>
                <c:pt idx="0">
                  <c:v>9.0284193020573458</c:v>
                </c:pt>
                <c:pt idx="1">
                  <c:v>3.5353826966603537</c:v>
                </c:pt>
                <c:pt idx="2">
                  <c:v>15.588426031891352</c:v>
                </c:pt>
                <c:pt idx="3">
                  <c:v>7.6475210431567158</c:v>
                </c:pt>
                <c:pt idx="4">
                  <c:v>4.8887691409582805</c:v>
                </c:pt>
                <c:pt idx="5">
                  <c:v>6.9956150130063133</c:v>
                </c:pt>
                <c:pt idx="6">
                  <c:v>9.9767380802352328</c:v>
                </c:pt>
                <c:pt idx="7">
                  <c:v>16.324490164230287</c:v>
                </c:pt>
                <c:pt idx="8">
                  <c:v>5.0304686383769086</c:v>
                </c:pt>
                <c:pt idx="9">
                  <c:v>4.8928170594837228</c:v>
                </c:pt>
                <c:pt idx="10">
                  <c:v>6.2293089178564021</c:v>
                </c:pt>
                <c:pt idx="11">
                  <c:v>7.589424469906485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2</c:v>
                </c:pt>
                <c:pt idx="2">
                  <c:v>Av Price/Unit 46.07</c:v>
                </c:pt>
                <c:pt idx="3">
                  <c:v>Av Price/Unit 93.31</c:v>
                </c:pt>
                <c:pt idx="4">
                  <c:v>Av Price/Unit 29.67</c:v>
                </c:pt>
                <c:pt idx="5">
                  <c:v>Av Price/Unit 42.06</c:v>
                </c:pt>
                <c:pt idx="6">
                  <c:v>Av Price/Unit 29.28</c:v>
                </c:pt>
                <c:pt idx="7">
                  <c:v>Av Price/Unit 37.08</c:v>
                </c:pt>
                <c:pt idx="8">
                  <c:v>Av Price/Unit 30.45</c:v>
                </c:pt>
                <c:pt idx="9">
                  <c:v>Av Price/Unit 30.11</c:v>
                </c:pt>
                <c:pt idx="10">
                  <c:v>Av Price/Unit 97.82</c:v>
                </c:pt>
                <c:pt idx="11">
                  <c:v>Av Price/Unit 29.03</c:v>
                </c:pt>
              </c:strCache>
            </c:strRef>
          </c:cat>
          <c:val>
            <c:numRef>
              <c:f>Sheet1!$B$2:$B$13</c:f>
              <c:numCache>
                <c:formatCode>General</c:formatCode>
                <c:ptCount val="12"/>
                <c:pt idx="0">
                  <c:v>18.188374541617819</c:v>
                </c:pt>
                <c:pt idx="1">
                  <c:v>3.5993317570826271</c:v>
                </c:pt>
                <c:pt idx="2">
                  <c:v>15.851500164728099</c:v>
                </c:pt>
                <c:pt idx="3">
                  <c:v>30.049730782169899</c:v>
                </c:pt>
                <c:pt idx="4">
                  <c:v>10.710384155656689</c:v>
                </c:pt>
                <c:pt idx="5">
                  <c:v>14.590902845376265</c:v>
                </c:pt>
                <c:pt idx="6">
                  <c:v>10.060380946364267</c:v>
                </c:pt>
                <c:pt idx="7">
                  <c:v>12.780227392838828</c:v>
                </c:pt>
                <c:pt idx="8">
                  <c:v>11.29904943817197</c:v>
                </c:pt>
                <c:pt idx="9">
                  <c:v>11.443117352563188</c:v>
                </c:pt>
                <c:pt idx="10">
                  <c:v>31.632711498565445</c:v>
                </c:pt>
                <c:pt idx="11">
                  <c:v>11.12351191860465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2</c:v>
                </c:pt>
                <c:pt idx="2">
                  <c:v>Av Price/Unit 46.07</c:v>
                </c:pt>
                <c:pt idx="3">
                  <c:v>Av Price/Unit 93.31</c:v>
                </c:pt>
                <c:pt idx="4">
                  <c:v>Av Price/Unit 29.67</c:v>
                </c:pt>
                <c:pt idx="5">
                  <c:v>Av Price/Unit 42.06</c:v>
                </c:pt>
                <c:pt idx="6">
                  <c:v>Av Price/Unit 29.28</c:v>
                </c:pt>
                <c:pt idx="7">
                  <c:v>Av Price/Unit 37.08</c:v>
                </c:pt>
                <c:pt idx="8">
                  <c:v>Av Price/Unit 30.45</c:v>
                </c:pt>
                <c:pt idx="9">
                  <c:v>Av Price/Unit 30.11</c:v>
                </c:pt>
                <c:pt idx="10">
                  <c:v>Av Price/Unit 97.82</c:v>
                </c:pt>
                <c:pt idx="11">
                  <c:v>Av Price/Unit 29.03</c:v>
                </c:pt>
              </c:strCache>
            </c:strRef>
          </c:cat>
          <c:val>
            <c:numRef>
              <c:f>Sheet1!$C$2:$C$13</c:f>
              <c:numCache>
                <c:formatCode>General</c:formatCode>
                <c:ptCount val="12"/>
                <c:pt idx="0">
                  <c:v>27.850808679953104</c:v>
                </c:pt>
                <c:pt idx="1">
                  <c:v>13.411214448403008</c:v>
                </c:pt>
                <c:pt idx="2">
                  <c:v>22.314150159705903</c:v>
                </c:pt>
                <c:pt idx="3">
                  <c:v>47.794082253994965</c:v>
                </c:pt>
                <c:pt idx="4">
                  <c:v>14.226770502616331</c:v>
                </c:pt>
                <c:pt idx="5">
                  <c:v>20.566067548886902</c:v>
                </c:pt>
                <c:pt idx="6">
                  <c:v>15.31490767578495</c:v>
                </c:pt>
                <c:pt idx="7">
                  <c:v>18.345448034750081</c:v>
                </c:pt>
                <c:pt idx="8">
                  <c:v>13.90373581956832</c:v>
                </c:pt>
                <c:pt idx="9">
                  <c:v>14.096500793945452</c:v>
                </c:pt>
                <c:pt idx="10">
                  <c:v>49.791268152725671</c:v>
                </c:pt>
                <c:pt idx="11">
                  <c:v>13.88689186046511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2</c:v>
                </c:pt>
                <c:pt idx="2">
                  <c:v>Av Price/Unit 46.07</c:v>
                </c:pt>
                <c:pt idx="3">
                  <c:v>Av Price/Unit 93.31</c:v>
                </c:pt>
                <c:pt idx="4">
                  <c:v>Av Price/Unit 29.67</c:v>
                </c:pt>
                <c:pt idx="5">
                  <c:v>Av Price/Unit 42.06</c:v>
                </c:pt>
                <c:pt idx="6">
                  <c:v>Av Price/Unit 29.28</c:v>
                </c:pt>
                <c:pt idx="7">
                  <c:v>Av Price/Unit 37.08</c:v>
                </c:pt>
                <c:pt idx="8">
                  <c:v>Av Price/Unit 30.45</c:v>
                </c:pt>
                <c:pt idx="9">
                  <c:v>Av Price/Unit 30.11</c:v>
                </c:pt>
                <c:pt idx="10">
                  <c:v>Av Price/Unit 97.82</c:v>
                </c:pt>
                <c:pt idx="11">
                  <c:v>Av Price/Unit 29.03</c:v>
                </c:pt>
              </c:strCache>
            </c:strRef>
          </c:cat>
          <c:val>
            <c:numRef>
              <c:f>Sheet1!$D$2:$D$13</c:f>
              <c:numCache>
                <c:formatCode>General</c:formatCode>
                <c:ptCount val="12"/>
                <c:pt idx="0">
                  <c:v>-0.98456405549042358</c:v>
                </c:pt>
                <c:pt idx="1">
                  <c:v>0.75397298489350817</c:v>
                </c:pt>
                <c:pt idx="2">
                  <c:v>0.22778533116375144</c:v>
                </c:pt>
                <c:pt idx="3">
                  <c:v>-8.4070955985410478E-2</c:v>
                </c:pt>
                <c:pt idx="4">
                  <c:v>-0.21529505068933119</c:v>
                </c:pt>
                <c:pt idx="5">
                  <c:v>-0.1061395328744652</c:v>
                </c:pt>
                <c:pt idx="6">
                  <c:v>-0.9781202743206947</c:v>
                </c:pt>
                <c:pt idx="7">
                  <c:v>-0.22582826360190111</c:v>
                </c:pt>
                <c:pt idx="8">
                  <c:v>0.16988052868421377</c:v>
                </c:pt>
                <c:pt idx="9">
                  <c:v>-0.45070387167404391</c:v>
                </c:pt>
                <c:pt idx="10">
                  <c:v>8.9942955933224766E-2</c:v>
                </c:pt>
                <c:pt idx="11">
                  <c:v>-0.816138136766337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2</c:v>
                </c:pt>
                <c:pt idx="2">
                  <c:v>Av Price/Unit 46.07</c:v>
                </c:pt>
                <c:pt idx="3">
                  <c:v>Av Price/Unit 93.31</c:v>
                </c:pt>
                <c:pt idx="4">
                  <c:v>Av Price/Unit 29.67</c:v>
                </c:pt>
                <c:pt idx="5">
                  <c:v>Av Price/Unit 42.06</c:v>
                </c:pt>
                <c:pt idx="6">
                  <c:v>Av Price/Unit 29.28</c:v>
                </c:pt>
                <c:pt idx="7">
                  <c:v>Av Price/Unit 37.08</c:v>
                </c:pt>
                <c:pt idx="8">
                  <c:v>Av Price/Unit 30.45</c:v>
                </c:pt>
                <c:pt idx="9">
                  <c:v>Av Price/Unit 30.11</c:v>
                </c:pt>
                <c:pt idx="10">
                  <c:v>Av Price/Unit 97.82</c:v>
                </c:pt>
                <c:pt idx="11">
                  <c:v>Av Price/Unit 29.03</c:v>
                </c:pt>
              </c:strCache>
            </c:strRef>
          </c:cat>
          <c:val>
            <c:numRef>
              <c:f>Sheet1!$E$2:$E$13</c:f>
              <c:numCache>
                <c:formatCode>General</c:formatCode>
                <c:ptCount val="12"/>
                <c:pt idx="0">
                  <c:v>9.0109183274716642</c:v>
                </c:pt>
                <c:pt idx="1">
                  <c:v>3.552903838075828</c:v>
                </c:pt>
                <c:pt idx="2">
                  <c:v>7.6786797645593481</c:v>
                </c:pt>
                <c:pt idx="3">
                  <c:v>15.551948416035881</c:v>
                </c:pt>
                <c:pt idx="4">
                  <c:v>4.9443620227617489</c:v>
                </c:pt>
                <c:pt idx="5">
                  <c:v>7.0101661722777413</c:v>
                </c:pt>
                <c:pt idx="6">
                  <c:v>4.8794336695657021</c:v>
                </c:pt>
                <c:pt idx="7">
                  <c:v>6.1799694327974004</c:v>
                </c:pt>
                <c:pt idx="8">
                  <c:v>5.0745331572849022</c:v>
                </c:pt>
                <c:pt idx="9">
                  <c:v>5.0177828549669181</c:v>
                </c:pt>
                <c:pt idx="10">
                  <c:v>16.302784521444853</c:v>
                </c:pt>
                <c:pt idx="11">
                  <c:v>4.838853128460686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31</c:v>
                </c:pt>
                <c:pt idx="1">
                  <c:v>Av Price/Unit 21.32</c:v>
                </c:pt>
                <c:pt idx="2">
                  <c:v>Av Price/Unit 46.49</c:v>
                </c:pt>
                <c:pt idx="3">
                  <c:v>Av Price/Unit 93.04</c:v>
                </c:pt>
                <c:pt idx="4">
                  <c:v>Av Price/Unit 42.09</c:v>
                </c:pt>
                <c:pt idx="5">
                  <c:v>Av Price/Unit 29.73</c:v>
                </c:pt>
                <c:pt idx="6">
                  <c:v>Av Price/Unit 97.67</c:v>
                </c:pt>
                <c:pt idx="7">
                  <c:v>Av Price/Unit 29.18</c:v>
                </c:pt>
                <c:pt idx="8">
                  <c:v>Av Price/Unit 37.58</c:v>
                </c:pt>
                <c:pt idx="9">
                  <c:v>Av Price/Unit 30.60</c:v>
                </c:pt>
                <c:pt idx="10">
                  <c:v>Av Price/Unit 60.23</c:v>
                </c:pt>
                <c:pt idx="11">
                  <c:v>Av Price/Unit 45.62</c:v>
                </c:pt>
              </c:strCache>
            </c:strRef>
          </c:cat>
          <c:val>
            <c:numRef>
              <c:f>Sheet1!$B$2:$B$13</c:f>
              <c:numCache>
                <c:formatCode>General</c:formatCode>
                <c:ptCount val="12"/>
                <c:pt idx="0">
                  <c:v>18.187625448464576</c:v>
                </c:pt>
                <c:pt idx="1">
                  <c:v>3.6033179087506508</c:v>
                </c:pt>
                <c:pt idx="2">
                  <c:v>15.855633987008209</c:v>
                </c:pt>
                <c:pt idx="3">
                  <c:v>30.217047800586514</c:v>
                </c:pt>
                <c:pt idx="4">
                  <c:v>14.605814867617109</c:v>
                </c:pt>
                <c:pt idx="5">
                  <c:v>10.739800609756097</c:v>
                </c:pt>
                <c:pt idx="6">
                  <c:v>31.612613738630927</c:v>
                </c:pt>
                <c:pt idx="7">
                  <c:v>10.064382428979409</c:v>
                </c:pt>
                <c:pt idx="8">
                  <c:v>12.771571633888049</c:v>
                </c:pt>
                <c:pt idx="9">
                  <c:v>11.334627173169064</c:v>
                </c:pt>
                <c:pt idx="10">
                  <c:v>20.137745951704542</c:v>
                </c:pt>
                <c:pt idx="11">
                  <c:v>15.0797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31</c:v>
                </c:pt>
                <c:pt idx="1">
                  <c:v>Av Price/Unit 21.32</c:v>
                </c:pt>
                <c:pt idx="2">
                  <c:v>Av Price/Unit 46.49</c:v>
                </c:pt>
                <c:pt idx="3">
                  <c:v>Av Price/Unit 93.04</c:v>
                </c:pt>
                <c:pt idx="4">
                  <c:v>Av Price/Unit 42.09</c:v>
                </c:pt>
                <c:pt idx="5">
                  <c:v>Av Price/Unit 29.73</c:v>
                </c:pt>
                <c:pt idx="6">
                  <c:v>Av Price/Unit 97.67</c:v>
                </c:pt>
                <c:pt idx="7">
                  <c:v>Av Price/Unit 29.18</c:v>
                </c:pt>
                <c:pt idx="8">
                  <c:v>Av Price/Unit 37.58</c:v>
                </c:pt>
                <c:pt idx="9">
                  <c:v>Av Price/Unit 30.60</c:v>
                </c:pt>
                <c:pt idx="10">
                  <c:v>Av Price/Unit 60.23</c:v>
                </c:pt>
                <c:pt idx="11">
                  <c:v>Av Price/Unit 45.62</c:v>
                </c:pt>
              </c:strCache>
            </c:strRef>
          </c:cat>
          <c:val>
            <c:numRef>
              <c:f>Sheet1!$C$2:$C$13</c:f>
              <c:numCache>
                <c:formatCode>General</c:formatCode>
                <c:ptCount val="12"/>
                <c:pt idx="0">
                  <c:v>27.853135512313774</c:v>
                </c:pt>
                <c:pt idx="1">
                  <c:v>13.404927071587625</c:v>
                </c:pt>
                <c:pt idx="2">
                  <c:v>22.313930236548597</c:v>
                </c:pt>
                <c:pt idx="3">
                  <c:v>47.712026659557452</c:v>
                </c:pt>
                <c:pt idx="4">
                  <c:v>20.566629531568232</c:v>
                </c:pt>
                <c:pt idx="5">
                  <c:v>14.209868902439025</c:v>
                </c:pt>
                <c:pt idx="6">
                  <c:v>49.799738152225942</c:v>
                </c:pt>
                <c:pt idx="7">
                  <c:v>15.310198542011122</c:v>
                </c:pt>
                <c:pt idx="8">
                  <c:v>18.348296577155818</c:v>
                </c:pt>
                <c:pt idx="9">
                  <c:v>13.896728199863109</c:v>
                </c:pt>
                <c:pt idx="10">
                  <c:v>29.209659694602273</c:v>
                </c:pt>
                <c:pt idx="11">
                  <c:v>22.26674857142857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31</c:v>
                </c:pt>
                <c:pt idx="1">
                  <c:v>Av Price/Unit 21.32</c:v>
                </c:pt>
                <c:pt idx="2">
                  <c:v>Av Price/Unit 46.49</c:v>
                </c:pt>
                <c:pt idx="3">
                  <c:v>Av Price/Unit 93.04</c:v>
                </c:pt>
                <c:pt idx="4">
                  <c:v>Av Price/Unit 42.09</c:v>
                </c:pt>
                <c:pt idx="5">
                  <c:v>Av Price/Unit 29.73</c:v>
                </c:pt>
                <c:pt idx="6">
                  <c:v>Av Price/Unit 97.67</c:v>
                </c:pt>
                <c:pt idx="7">
                  <c:v>Av Price/Unit 29.18</c:v>
                </c:pt>
                <c:pt idx="8">
                  <c:v>Av Price/Unit 37.58</c:v>
                </c:pt>
                <c:pt idx="9">
                  <c:v>Av Price/Unit 30.60</c:v>
                </c:pt>
                <c:pt idx="10">
                  <c:v>Av Price/Unit 60.23</c:v>
                </c:pt>
                <c:pt idx="11">
                  <c:v>Av Price/Unit 45.62</c:v>
                </c:pt>
              </c:strCache>
            </c:strRef>
          </c:cat>
          <c:val>
            <c:numRef>
              <c:f>Sheet1!$D$2:$D$13</c:f>
              <c:numCache>
                <c:formatCode>General</c:formatCode>
                <c:ptCount val="12"/>
                <c:pt idx="0">
                  <c:v>-0.78546351981352558</c:v>
                </c:pt>
                <c:pt idx="1">
                  <c:v>0.76239982944047213</c:v>
                </c:pt>
                <c:pt idx="2">
                  <c:v>0.57623466928136935</c:v>
                </c:pt>
                <c:pt idx="3">
                  <c:v>-0.39486136141472628</c:v>
                </c:pt>
                <c:pt idx="4">
                  <c:v>-9.4736126466877124E-2</c:v>
                </c:pt>
                <c:pt idx="5">
                  <c:v>-0.17530072905620386</c:v>
                </c:pt>
                <c:pt idx="6">
                  <c:v>-2.293111536620529E-2</c:v>
                </c:pt>
                <c:pt idx="7">
                  <c:v>-1.0563536048900275</c:v>
                </c:pt>
                <c:pt idx="8">
                  <c:v>0.1960042044881547</c:v>
                </c:pt>
                <c:pt idx="9">
                  <c:v>0.26587825690166866</c:v>
                </c:pt>
                <c:pt idx="10">
                  <c:v>0.84613128551136185</c:v>
                </c:pt>
                <c:pt idx="11">
                  <c:v>0.6732978256963164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31</c:v>
                </c:pt>
                <c:pt idx="1">
                  <c:v>Av Price/Unit 21.32</c:v>
                </c:pt>
                <c:pt idx="2">
                  <c:v>Av Price/Unit 46.49</c:v>
                </c:pt>
                <c:pt idx="3">
                  <c:v>Av Price/Unit 93.04</c:v>
                </c:pt>
                <c:pt idx="4">
                  <c:v>Av Price/Unit 42.09</c:v>
                </c:pt>
                <c:pt idx="5">
                  <c:v>Av Price/Unit 29.73</c:v>
                </c:pt>
                <c:pt idx="6">
                  <c:v>Av Price/Unit 97.67</c:v>
                </c:pt>
                <c:pt idx="7">
                  <c:v>Av Price/Unit 29.18</c:v>
                </c:pt>
                <c:pt idx="8">
                  <c:v>Av Price/Unit 37.58</c:v>
                </c:pt>
                <c:pt idx="9">
                  <c:v>Av Price/Unit 30.60</c:v>
                </c:pt>
                <c:pt idx="10">
                  <c:v>Av Price/Unit 60.23</c:v>
                </c:pt>
                <c:pt idx="11">
                  <c:v>Av Price/Unit 45.62</c:v>
                </c:pt>
              </c:strCache>
            </c:strRef>
          </c:cat>
          <c:val>
            <c:numRef>
              <c:f>Sheet1!$E$2:$E$13</c:f>
              <c:numCache>
                <c:formatCode>General</c:formatCode>
                <c:ptCount val="12"/>
                <c:pt idx="0">
                  <c:v>9.0510540184453205</c:v>
                </c:pt>
                <c:pt idx="1">
                  <c:v>3.5541289619557466</c:v>
                </c:pt>
                <c:pt idx="2">
                  <c:v>7.7491522653919986</c:v>
                </c:pt>
                <c:pt idx="3">
                  <c:v>15.506842619745836</c:v>
                </c:pt>
                <c:pt idx="4">
                  <c:v>7.0155416545436884</c:v>
                </c:pt>
                <c:pt idx="5">
                  <c:v>4.9548647932131491</c:v>
                </c:pt>
                <c:pt idx="6">
                  <c:v>16.277884155098132</c:v>
                </c:pt>
                <c:pt idx="7">
                  <c:v>4.8636454732201031</c:v>
                </c:pt>
                <c:pt idx="8">
                  <c:v>6.2631744831063969</c:v>
                </c:pt>
                <c:pt idx="9">
                  <c:v>5.0994467259867653</c:v>
                </c:pt>
                <c:pt idx="10">
                  <c:v>10.038707386363637</c:v>
                </c:pt>
                <c:pt idx="11">
                  <c:v>7.603953279424975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4</c:v>
                </c:pt>
                <c:pt idx="1">
                  <c:v>Av Price/Unit 21.28</c:v>
                </c:pt>
                <c:pt idx="2">
                  <c:v>Av Price/Unit 46.06</c:v>
                </c:pt>
                <c:pt idx="3">
                  <c:v>Av Price/Unit 93.47</c:v>
                </c:pt>
                <c:pt idx="4">
                  <c:v>Av Price/Unit 29.27</c:v>
                </c:pt>
                <c:pt idx="5">
                  <c:v>Av Price/Unit 29.60</c:v>
                </c:pt>
                <c:pt idx="6">
                  <c:v>Av Price/Unit 42.05</c:v>
                </c:pt>
                <c:pt idx="7">
                  <c:v>Av Price/Unit 37.16</c:v>
                </c:pt>
                <c:pt idx="8">
                  <c:v>Av Price/Unit 30.10</c:v>
                </c:pt>
                <c:pt idx="9">
                  <c:v>Av Price/Unit 30.45</c:v>
                </c:pt>
                <c:pt idx="10">
                  <c:v>Av Price/Unit 98.09</c:v>
                </c:pt>
                <c:pt idx="11">
                  <c:v>Av Price/Unit 29.12</c:v>
                </c:pt>
              </c:strCache>
            </c:strRef>
          </c:cat>
          <c:val>
            <c:numRef>
              <c:f>Sheet1!$B$2:$B$13</c:f>
              <c:numCache>
                <c:formatCode>General</c:formatCode>
                <c:ptCount val="12"/>
                <c:pt idx="0">
                  <c:v>18.183700159560466</c:v>
                </c:pt>
                <c:pt idx="1">
                  <c:v>3.6043271779713746</c:v>
                </c:pt>
                <c:pt idx="2">
                  <c:v>15.840063378110232</c:v>
                </c:pt>
                <c:pt idx="3">
                  <c:v>30.081258966520679</c:v>
                </c:pt>
                <c:pt idx="4">
                  <c:v>10.084361500783702</c:v>
                </c:pt>
                <c:pt idx="5">
                  <c:v>10.723691123038812</c:v>
                </c:pt>
                <c:pt idx="6">
                  <c:v>14.644514153224035</c:v>
                </c:pt>
                <c:pt idx="7">
                  <c:v>12.784544722280884</c:v>
                </c:pt>
                <c:pt idx="8">
                  <c:v>11.443937414565607</c:v>
                </c:pt>
                <c:pt idx="9">
                  <c:v>11.320845365343633</c:v>
                </c:pt>
                <c:pt idx="10">
                  <c:v>31.672391755793221</c:v>
                </c:pt>
                <c:pt idx="11">
                  <c:v>11.10519049056074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4</c:v>
                </c:pt>
                <c:pt idx="1">
                  <c:v>Av Price/Unit 21.28</c:v>
                </c:pt>
                <c:pt idx="2">
                  <c:v>Av Price/Unit 46.06</c:v>
                </c:pt>
                <c:pt idx="3">
                  <c:v>Av Price/Unit 93.47</c:v>
                </c:pt>
                <c:pt idx="4">
                  <c:v>Av Price/Unit 29.27</c:v>
                </c:pt>
                <c:pt idx="5">
                  <c:v>Av Price/Unit 29.60</c:v>
                </c:pt>
                <c:pt idx="6">
                  <c:v>Av Price/Unit 42.05</c:v>
                </c:pt>
                <c:pt idx="7">
                  <c:v>Av Price/Unit 37.16</c:v>
                </c:pt>
                <c:pt idx="8">
                  <c:v>Av Price/Unit 30.10</c:v>
                </c:pt>
                <c:pt idx="9">
                  <c:v>Av Price/Unit 30.45</c:v>
                </c:pt>
                <c:pt idx="10">
                  <c:v>Av Price/Unit 98.09</c:v>
                </c:pt>
                <c:pt idx="11">
                  <c:v>Av Price/Unit 29.12</c:v>
                </c:pt>
              </c:strCache>
            </c:strRef>
          </c:cat>
          <c:val>
            <c:numRef>
              <c:f>Sheet1!$C$2:$C$13</c:f>
              <c:numCache>
                <c:formatCode>General</c:formatCode>
                <c:ptCount val="12"/>
                <c:pt idx="0">
                  <c:v>27.865328240557965</c:v>
                </c:pt>
                <c:pt idx="1">
                  <c:v>13.403335146235221</c:v>
                </c:pt>
                <c:pt idx="2">
                  <c:v>22.314758607300391</c:v>
                </c:pt>
                <c:pt idx="3">
                  <c:v>47.778620205167385</c:v>
                </c:pt>
                <c:pt idx="4">
                  <c:v>15.286686226489023</c:v>
                </c:pt>
                <c:pt idx="5">
                  <c:v>14.219124814203139</c:v>
                </c:pt>
                <c:pt idx="6">
                  <c:v>20.568087974154992</c:v>
                </c:pt>
                <c:pt idx="7">
                  <c:v>18.344027235480464</c:v>
                </c:pt>
                <c:pt idx="8">
                  <c:v>14.097366255315915</c:v>
                </c:pt>
                <c:pt idx="9">
                  <c:v>13.899442753448351</c:v>
                </c:pt>
                <c:pt idx="10">
                  <c:v>49.774545306001166</c:v>
                </c:pt>
                <c:pt idx="11">
                  <c:v>13.86333288651835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4</c:v>
                </c:pt>
                <c:pt idx="1">
                  <c:v>Av Price/Unit 21.28</c:v>
                </c:pt>
                <c:pt idx="2">
                  <c:v>Av Price/Unit 46.06</c:v>
                </c:pt>
                <c:pt idx="3">
                  <c:v>Av Price/Unit 93.47</c:v>
                </c:pt>
                <c:pt idx="4">
                  <c:v>Av Price/Unit 29.27</c:v>
                </c:pt>
                <c:pt idx="5">
                  <c:v>Av Price/Unit 29.60</c:v>
                </c:pt>
                <c:pt idx="6">
                  <c:v>Av Price/Unit 42.05</c:v>
                </c:pt>
                <c:pt idx="7">
                  <c:v>Av Price/Unit 37.16</c:v>
                </c:pt>
                <c:pt idx="8">
                  <c:v>Av Price/Unit 30.10</c:v>
                </c:pt>
                <c:pt idx="9">
                  <c:v>Av Price/Unit 30.45</c:v>
                </c:pt>
                <c:pt idx="10">
                  <c:v>Av Price/Unit 98.09</c:v>
                </c:pt>
                <c:pt idx="11">
                  <c:v>Av Price/Unit 29.12</c:v>
                </c:pt>
              </c:strCache>
            </c:strRef>
          </c:cat>
          <c:val>
            <c:numRef>
              <c:f>Sheet1!$D$2:$D$13</c:f>
              <c:numCache>
                <c:formatCode>General</c:formatCode>
                <c:ptCount val="12"/>
                <c:pt idx="0">
                  <c:v>-1.0128061683006564</c:v>
                </c:pt>
                <c:pt idx="1">
                  <c:v>0.72432187685818405</c:v>
                </c:pt>
                <c:pt idx="2">
                  <c:v>0.23010382721160738</c:v>
                </c:pt>
                <c:pt idx="3">
                  <c:v>3.0541450868554421E-2</c:v>
                </c:pt>
                <c:pt idx="4">
                  <c:v>-0.98256623749813343</c:v>
                </c:pt>
                <c:pt idx="5">
                  <c:v>-0.27570375624238608</c:v>
                </c:pt>
                <c:pt idx="6">
                  <c:v>-0.17256725711689569</c:v>
                </c:pt>
                <c:pt idx="7">
                  <c:v>-0.15780462231608539</c:v>
                </c:pt>
                <c:pt idx="8">
                  <c:v>-0.45816335497671901</c:v>
                </c:pt>
                <c:pt idx="9">
                  <c:v>0.1571532023699298</c:v>
                </c:pt>
                <c:pt idx="10">
                  <c:v>0.29375416419092915</c:v>
                </c:pt>
                <c:pt idx="11">
                  <c:v>-0.7051052814622487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4</c:v>
                </c:pt>
                <c:pt idx="1">
                  <c:v>Av Price/Unit 21.28</c:v>
                </c:pt>
                <c:pt idx="2">
                  <c:v>Av Price/Unit 46.06</c:v>
                </c:pt>
                <c:pt idx="3">
                  <c:v>Av Price/Unit 93.47</c:v>
                </c:pt>
                <c:pt idx="4">
                  <c:v>Av Price/Unit 29.27</c:v>
                </c:pt>
                <c:pt idx="5">
                  <c:v>Av Price/Unit 29.60</c:v>
                </c:pt>
                <c:pt idx="6">
                  <c:v>Av Price/Unit 42.05</c:v>
                </c:pt>
                <c:pt idx="7">
                  <c:v>Av Price/Unit 37.16</c:v>
                </c:pt>
                <c:pt idx="8">
                  <c:v>Av Price/Unit 30.10</c:v>
                </c:pt>
                <c:pt idx="9">
                  <c:v>Av Price/Unit 30.45</c:v>
                </c:pt>
                <c:pt idx="10">
                  <c:v>Av Price/Unit 98.09</c:v>
                </c:pt>
                <c:pt idx="11">
                  <c:v>Av Price/Unit 29.12</c:v>
                </c:pt>
              </c:strCache>
            </c:strRef>
          </c:cat>
          <c:val>
            <c:numRef>
              <c:f>Sheet1!$E$2:$E$13</c:f>
              <c:numCache>
                <c:formatCode>General</c:formatCode>
                <c:ptCount val="12"/>
                <c:pt idx="0">
                  <c:v>9.0072391652410282</c:v>
                </c:pt>
                <c:pt idx="1">
                  <c:v>3.5463968402129611</c:v>
                </c:pt>
                <c:pt idx="2">
                  <c:v>7.67697820159598</c:v>
                </c:pt>
                <c:pt idx="3">
                  <c:v>15.578084124511358</c:v>
                </c:pt>
                <c:pt idx="4">
                  <c:v>4.8776962979549134</c:v>
                </c:pt>
                <c:pt idx="5">
                  <c:v>4.9334129605599486</c:v>
                </c:pt>
                <c:pt idx="6">
                  <c:v>7.0080069740524209</c:v>
                </c:pt>
                <c:pt idx="7">
                  <c:v>6.1941534670890546</c:v>
                </c:pt>
                <c:pt idx="8">
                  <c:v>5.016628062980967</c:v>
                </c:pt>
                <c:pt idx="9">
                  <c:v>5.0754882642323862</c:v>
                </c:pt>
                <c:pt idx="10">
                  <c:v>16.348138245197063</c:v>
                </c:pt>
                <c:pt idx="11">
                  <c:v>4.852683619123373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8</c:v>
                </c:pt>
                <c:pt idx="1">
                  <c:v>Av Price/Unit 21.32</c:v>
                </c:pt>
                <c:pt idx="2">
                  <c:v>Av Price/Unit 46.08</c:v>
                </c:pt>
                <c:pt idx="3">
                  <c:v>Av Price/Unit 29.32</c:v>
                </c:pt>
                <c:pt idx="4">
                  <c:v>Av Price/Unit 93.45</c:v>
                </c:pt>
                <c:pt idx="5">
                  <c:v>Av Price/Unit 29.66</c:v>
                </c:pt>
                <c:pt idx="6">
                  <c:v>Av Price/Unit 42.17</c:v>
                </c:pt>
                <c:pt idx="7">
                  <c:v>Av Price/Unit 37.17</c:v>
                </c:pt>
                <c:pt idx="8">
                  <c:v>Av Price/Unit 30.17</c:v>
                </c:pt>
                <c:pt idx="9">
                  <c:v>Av Price/Unit 30.45</c:v>
                </c:pt>
                <c:pt idx="10">
                  <c:v>Av Price/Unit 29.15</c:v>
                </c:pt>
                <c:pt idx="11">
                  <c:v>Av Price/Unit 45.45</c:v>
                </c:pt>
              </c:strCache>
            </c:strRef>
          </c:cat>
          <c:val>
            <c:numRef>
              <c:f>Sheet1!$B$2:$B$13</c:f>
              <c:numCache>
                <c:formatCode>General</c:formatCode>
                <c:ptCount val="12"/>
                <c:pt idx="0">
                  <c:v>18.186456707247693</c:v>
                </c:pt>
                <c:pt idx="1">
                  <c:v>3.6010738107850409</c:v>
                </c:pt>
                <c:pt idx="2">
                  <c:v>15.85064746720173</c:v>
                </c:pt>
                <c:pt idx="3">
                  <c:v>10.075775032754201</c:v>
                </c:pt>
                <c:pt idx="4">
                  <c:v>30.069014140761926</c:v>
                </c:pt>
                <c:pt idx="5">
                  <c:v>10.710940945674043</c:v>
                </c:pt>
                <c:pt idx="6">
                  <c:v>14.624497382836275</c:v>
                </c:pt>
                <c:pt idx="7">
                  <c:v>12.78107721127849</c:v>
                </c:pt>
                <c:pt idx="8">
                  <c:v>11.442031177143825</c:v>
                </c:pt>
                <c:pt idx="9">
                  <c:v>11.294494046495666</c:v>
                </c:pt>
                <c:pt idx="10">
                  <c:v>11.121067275510205</c:v>
                </c:pt>
                <c:pt idx="11">
                  <c:v>15.07983681062033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8</c:v>
                </c:pt>
                <c:pt idx="1">
                  <c:v>Av Price/Unit 21.32</c:v>
                </c:pt>
                <c:pt idx="2">
                  <c:v>Av Price/Unit 46.08</c:v>
                </c:pt>
                <c:pt idx="3">
                  <c:v>Av Price/Unit 29.32</c:v>
                </c:pt>
                <c:pt idx="4">
                  <c:v>Av Price/Unit 93.45</c:v>
                </c:pt>
                <c:pt idx="5">
                  <c:v>Av Price/Unit 29.66</c:v>
                </c:pt>
                <c:pt idx="6">
                  <c:v>Av Price/Unit 42.17</c:v>
                </c:pt>
                <c:pt idx="7">
                  <c:v>Av Price/Unit 37.17</c:v>
                </c:pt>
                <c:pt idx="8">
                  <c:v>Av Price/Unit 30.17</c:v>
                </c:pt>
                <c:pt idx="9">
                  <c:v>Av Price/Unit 30.45</c:v>
                </c:pt>
                <c:pt idx="10">
                  <c:v>Av Price/Unit 29.15</c:v>
                </c:pt>
                <c:pt idx="11">
                  <c:v>Av Price/Unit 45.45</c:v>
                </c:pt>
              </c:strCache>
            </c:strRef>
          </c:cat>
          <c:val>
            <c:numRef>
              <c:f>Sheet1!$C$2:$C$13</c:f>
              <c:numCache>
                <c:formatCode>General</c:formatCode>
                <c:ptCount val="12"/>
                <c:pt idx="0">
                  <c:v>27.856765855046081</c:v>
                </c:pt>
                <c:pt idx="1">
                  <c:v>13.408466698449693</c:v>
                </c:pt>
                <c:pt idx="2">
                  <c:v>22.31419552400062</c:v>
                </c:pt>
                <c:pt idx="3">
                  <c:v>15.296791187695813</c:v>
                </c:pt>
                <c:pt idx="4">
                  <c:v>47.784625311318145</c:v>
                </c:pt>
                <c:pt idx="5">
                  <c:v>14.226450591786008</c:v>
                </c:pt>
                <c:pt idx="6">
                  <c:v>20.56733361112412</c:v>
                </c:pt>
                <c:pt idx="7">
                  <c:v>18.345168366164543</c:v>
                </c:pt>
                <c:pt idx="8">
                  <c:v>14.095354486880591</c:v>
                </c:pt>
                <c:pt idx="9">
                  <c:v>13.904633078836751</c:v>
                </c:pt>
                <c:pt idx="10">
                  <c:v>13.883748367346939</c:v>
                </c:pt>
                <c:pt idx="11">
                  <c:v>22.26825975579775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8</c:v>
                </c:pt>
                <c:pt idx="1">
                  <c:v>Av Price/Unit 21.32</c:v>
                </c:pt>
                <c:pt idx="2">
                  <c:v>Av Price/Unit 46.08</c:v>
                </c:pt>
                <c:pt idx="3">
                  <c:v>Av Price/Unit 29.32</c:v>
                </c:pt>
                <c:pt idx="4">
                  <c:v>Av Price/Unit 93.45</c:v>
                </c:pt>
                <c:pt idx="5">
                  <c:v>Av Price/Unit 29.66</c:v>
                </c:pt>
                <c:pt idx="6">
                  <c:v>Av Price/Unit 42.17</c:v>
                </c:pt>
                <c:pt idx="7">
                  <c:v>Av Price/Unit 37.17</c:v>
                </c:pt>
                <c:pt idx="8">
                  <c:v>Av Price/Unit 30.17</c:v>
                </c:pt>
                <c:pt idx="9">
                  <c:v>Av Price/Unit 30.45</c:v>
                </c:pt>
                <c:pt idx="10">
                  <c:v>Av Price/Unit 29.15</c:v>
                </c:pt>
                <c:pt idx="11">
                  <c:v>Av Price/Unit 45.45</c:v>
                </c:pt>
              </c:strCache>
            </c:strRef>
          </c:cat>
          <c:val>
            <c:numRef>
              <c:f>Sheet1!$D$2:$D$13</c:f>
              <c:numCache>
                <c:formatCode>General</c:formatCode>
                <c:ptCount val="12"/>
                <c:pt idx="0">
                  <c:v>-1.0600568488388191</c:v>
                </c:pt>
                <c:pt idx="1">
                  <c:v>0.75855521653658897</c:v>
                </c:pt>
                <c:pt idx="2">
                  <c:v>0.23283735967484631</c:v>
                </c:pt>
                <c:pt idx="3">
                  <c:v>-0.94303522263362538</c:v>
                </c:pt>
                <c:pt idx="4">
                  <c:v>1.8635553300754282E-2</c:v>
                </c:pt>
                <c:pt idx="5">
                  <c:v>-0.22455560914506023</c:v>
                </c:pt>
                <c:pt idx="6">
                  <c:v>-4.6146895141781386E-2</c:v>
                </c:pt>
                <c:pt idx="7">
                  <c:v>-0.14949922893152845</c:v>
                </c:pt>
                <c:pt idx="8">
                  <c:v>-0.39926802029022213</c:v>
                </c:pt>
                <c:pt idx="9">
                  <c:v>0.17182309056074985</c:v>
                </c:pt>
                <c:pt idx="10">
                  <c:v>-0.71348911224489697</c:v>
                </c:pt>
                <c:pt idx="11">
                  <c:v>0.5285867628178877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8</c:v>
                </c:pt>
                <c:pt idx="1">
                  <c:v>Av Price/Unit 21.32</c:v>
                </c:pt>
                <c:pt idx="2">
                  <c:v>Av Price/Unit 46.08</c:v>
                </c:pt>
                <c:pt idx="3">
                  <c:v>Av Price/Unit 29.32</c:v>
                </c:pt>
                <c:pt idx="4">
                  <c:v>Av Price/Unit 93.45</c:v>
                </c:pt>
                <c:pt idx="5">
                  <c:v>Av Price/Unit 29.66</c:v>
                </c:pt>
                <c:pt idx="6">
                  <c:v>Av Price/Unit 42.17</c:v>
                </c:pt>
                <c:pt idx="7">
                  <c:v>Av Price/Unit 37.17</c:v>
                </c:pt>
                <c:pt idx="8">
                  <c:v>Av Price/Unit 30.17</c:v>
                </c:pt>
                <c:pt idx="9">
                  <c:v>Av Price/Unit 30.45</c:v>
                </c:pt>
                <c:pt idx="10">
                  <c:v>Av Price/Unit 29.15</c:v>
                </c:pt>
                <c:pt idx="11">
                  <c:v>Av Price/Unit 45.45</c:v>
                </c:pt>
              </c:strCache>
            </c:strRef>
          </c:cat>
          <c:val>
            <c:numRef>
              <c:f>Sheet1!$E$2:$E$13</c:f>
              <c:numCache>
                <c:formatCode>General</c:formatCode>
                <c:ptCount val="12"/>
                <c:pt idx="0">
                  <c:v>8.996627729105823</c:v>
                </c:pt>
                <c:pt idx="1">
                  <c:v>3.5536191451542654</c:v>
                </c:pt>
                <c:pt idx="2">
                  <c:v>7.6795287338581035</c:v>
                </c:pt>
                <c:pt idx="3">
                  <c:v>4.8859061995632791</c:v>
                </c:pt>
                <c:pt idx="4">
                  <c:v>15.574455001076158</c:v>
                </c:pt>
                <c:pt idx="5">
                  <c:v>4.9425573046119808</c:v>
                </c:pt>
                <c:pt idx="6">
                  <c:v>7.0291368197637185</c:v>
                </c:pt>
                <c:pt idx="7">
                  <c:v>6.1953492697023034</c:v>
                </c:pt>
                <c:pt idx="8">
                  <c:v>5.0276235287468367</c:v>
                </c:pt>
                <c:pt idx="9">
                  <c:v>5.074190043178632</c:v>
                </c:pt>
                <c:pt idx="10">
                  <c:v>4.8582653061224459</c:v>
                </c:pt>
                <c:pt idx="11">
                  <c:v>7.575336665847194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86</c:v>
                </c:pt>
                <c:pt idx="1">
                  <c:v>Av Price/Unit 21.20</c:v>
                </c:pt>
                <c:pt idx="2">
                  <c:v>Av Price/Unit 93.58</c:v>
                </c:pt>
                <c:pt idx="3">
                  <c:v>Av Price/Unit 45.92</c:v>
                </c:pt>
                <c:pt idx="4">
                  <c:v>Av Price/Unit 29.41</c:v>
                </c:pt>
                <c:pt idx="5">
                  <c:v>Av Price/Unit 29.14</c:v>
                </c:pt>
                <c:pt idx="6">
                  <c:v>Av Price/Unit 29.94</c:v>
                </c:pt>
                <c:pt idx="7">
                  <c:v>Av Price/Unit 36.69</c:v>
                </c:pt>
                <c:pt idx="8">
                  <c:v>Av Price/Unit 28.53</c:v>
                </c:pt>
                <c:pt idx="9">
                  <c:v>Av Price/Unit 41.63</c:v>
                </c:pt>
                <c:pt idx="10">
                  <c:v>Av Price/Unit 98.01</c:v>
                </c:pt>
                <c:pt idx="11">
                  <c:v>Av Price/Unit 30.28</c:v>
                </c:pt>
              </c:strCache>
            </c:strRef>
          </c:cat>
          <c:val>
            <c:numRef>
              <c:f>Sheet1!$B$2:$B$13</c:f>
              <c:numCache>
                <c:formatCode>General</c:formatCode>
                <c:ptCount val="12"/>
                <c:pt idx="0">
                  <c:v>18.18058296550333</c:v>
                </c:pt>
                <c:pt idx="1">
                  <c:v>3.6054031585779196</c:v>
                </c:pt>
                <c:pt idx="2">
                  <c:v>30.193458782809341</c:v>
                </c:pt>
                <c:pt idx="3">
                  <c:v>15.833393870234348</c:v>
                </c:pt>
                <c:pt idx="4">
                  <c:v>10.724886408213299</c:v>
                </c:pt>
                <c:pt idx="5">
                  <c:v>10.068981396083387</c:v>
                </c:pt>
                <c:pt idx="6">
                  <c:v>11.446588387508983</c:v>
                </c:pt>
                <c:pt idx="7">
                  <c:v>12.796359307211812</c:v>
                </c:pt>
                <c:pt idx="8">
                  <c:v>11.111735131941709</c:v>
                </c:pt>
                <c:pt idx="9">
                  <c:v>14.73626874451273</c:v>
                </c:pt>
                <c:pt idx="10">
                  <c:v>31.741672107438017</c:v>
                </c:pt>
                <c:pt idx="11">
                  <c:v>11.34133554649790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86</c:v>
                </c:pt>
                <c:pt idx="1">
                  <c:v>Av Price/Unit 21.20</c:v>
                </c:pt>
                <c:pt idx="2">
                  <c:v>Av Price/Unit 93.58</c:v>
                </c:pt>
                <c:pt idx="3">
                  <c:v>Av Price/Unit 45.92</c:v>
                </c:pt>
                <c:pt idx="4">
                  <c:v>Av Price/Unit 29.41</c:v>
                </c:pt>
                <c:pt idx="5">
                  <c:v>Av Price/Unit 29.14</c:v>
                </c:pt>
                <c:pt idx="6">
                  <c:v>Av Price/Unit 29.94</c:v>
                </c:pt>
                <c:pt idx="7">
                  <c:v>Av Price/Unit 36.69</c:v>
                </c:pt>
                <c:pt idx="8">
                  <c:v>Av Price/Unit 28.53</c:v>
                </c:pt>
                <c:pt idx="9">
                  <c:v>Av Price/Unit 41.63</c:v>
                </c:pt>
                <c:pt idx="10">
                  <c:v>Av Price/Unit 98.01</c:v>
                </c:pt>
                <c:pt idx="11">
                  <c:v>Av Price/Unit 30.28</c:v>
                </c:pt>
              </c:strCache>
            </c:strRef>
          </c:cat>
          <c:val>
            <c:numRef>
              <c:f>Sheet1!$C$2:$C$13</c:f>
              <c:numCache>
                <c:formatCode>General</c:formatCode>
                <c:ptCount val="12"/>
                <c:pt idx="0">
                  <c:v>27.87501086544281</c:v>
                </c:pt>
                <c:pt idx="1">
                  <c:v>13.401637996682771</c:v>
                </c:pt>
                <c:pt idx="2">
                  <c:v>47.723595183155474</c:v>
                </c:pt>
                <c:pt idx="3">
                  <c:v>22.315113431269676</c:v>
                </c:pt>
                <c:pt idx="4">
                  <c:v>14.218438047808766</c:v>
                </c:pt>
                <c:pt idx="5">
                  <c:v>15.304786260265317</c:v>
                </c:pt>
                <c:pt idx="6">
                  <c:v>14.100163988499322</c:v>
                </c:pt>
                <c:pt idx="7">
                  <c:v>18.340139148211239</c:v>
                </c:pt>
                <c:pt idx="8">
                  <c:v>13.871748444269397</c:v>
                </c:pt>
                <c:pt idx="9">
                  <c:v>20.571545888206032</c:v>
                </c:pt>
                <c:pt idx="10">
                  <c:v>49.74534779614325</c:v>
                </c:pt>
                <c:pt idx="11">
                  <c:v>13.8954068754692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86</c:v>
                </c:pt>
                <c:pt idx="1">
                  <c:v>Av Price/Unit 21.20</c:v>
                </c:pt>
                <c:pt idx="2">
                  <c:v>Av Price/Unit 93.58</c:v>
                </c:pt>
                <c:pt idx="3">
                  <c:v>Av Price/Unit 45.92</c:v>
                </c:pt>
                <c:pt idx="4">
                  <c:v>Av Price/Unit 29.41</c:v>
                </c:pt>
                <c:pt idx="5">
                  <c:v>Av Price/Unit 29.14</c:v>
                </c:pt>
                <c:pt idx="6">
                  <c:v>Av Price/Unit 29.94</c:v>
                </c:pt>
                <c:pt idx="7">
                  <c:v>Av Price/Unit 36.69</c:v>
                </c:pt>
                <c:pt idx="8">
                  <c:v>Av Price/Unit 28.53</c:v>
                </c:pt>
                <c:pt idx="9">
                  <c:v>Av Price/Unit 41.63</c:v>
                </c:pt>
                <c:pt idx="10">
                  <c:v>Av Price/Unit 98.01</c:v>
                </c:pt>
                <c:pt idx="11">
                  <c:v>Av Price/Unit 30.28</c:v>
                </c:pt>
              </c:strCache>
            </c:strRef>
          </c:cat>
          <c:val>
            <c:numRef>
              <c:f>Sheet1!$D$2:$D$13</c:f>
              <c:numCache>
                <c:formatCode>General</c:formatCode>
                <c:ptCount val="12"/>
                <c:pt idx="0">
                  <c:v>-1.1726080505682219</c:v>
                </c:pt>
                <c:pt idx="1">
                  <c:v>0.6632672507872357</c:v>
                </c:pt>
                <c:pt idx="2">
                  <c:v>6.2467233919846876E-2</c:v>
                </c:pt>
                <c:pt idx="3">
                  <c:v>0.12066179899731821</c:v>
                </c:pt>
                <c:pt idx="4">
                  <c:v>-0.43630515629788036</c:v>
                </c:pt>
                <c:pt idx="5">
                  <c:v>-1.0872073278584899</c:v>
                </c:pt>
                <c:pt idx="6">
                  <c:v>-0.59340732902057525</c:v>
                </c:pt>
                <c:pt idx="7">
                  <c:v>-0.56400176793488654</c:v>
                </c:pt>
                <c:pt idx="8">
                  <c:v>-1.2059957200997786</c:v>
                </c:pt>
                <c:pt idx="9">
                  <c:v>-0.61424815139986322</c:v>
                </c:pt>
                <c:pt idx="10">
                  <c:v>0.18595989439855032</c:v>
                </c:pt>
                <c:pt idx="11">
                  <c:v>-7.0238049268880332E-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86</c:v>
                </c:pt>
                <c:pt idx="1">
                  <c:v>Av Price/Unit 21.20</c:v>
                </c:pt>
                <c:pt idx="2">
                  <c:v>Av Price/Unit 93.58</c:v>
                </c:pt>
                <c:pt idx="3">
                  <c:v>Av Price/Unit 45.92</c:v>
                </c:pt>
                <c:pt idx="4">
                  <c:v>Av Price/Unit 29.41</c:v>
                </c:pt>
                <c:pt idx="5">
                  <c:v>Av Price/Unit 29.14</c:v>
                </c:pt>
                <c:pt idx="6">
                  <c:v>Av Price/Unit 29.94</c:v>
                </c:pt>
                <c:pt idx="7">
                  <c:v>Av Price/Unit 36.69</c:v>
                </c:pt>
                <c:pt idx="8">
                  <c:v>Av Price/Unit 28.53</c:v>
                </c:pt>
                <c:pt idx="9">
                  <c:v>Av Price/Unit 41.63</c:v>
                </c:pt>
                <c:pt idx="10">
                  <c:v>Av Price/Unit 98.01</c:v>
                </c:pt>
                <c:pt idx="11">
                  <c:v>Av Price/Unit 30.28</c:v>
                </c:pt>
              </c:strCache>
            </c:strRef>
          </c:cat>
          <c:val>
            <c:numRef>
              <c:f>Sheet1!$E$2:$E$13</c:f>
              <c:numCache>
                <c:formatCode>General</c:formatCode>
                <c:ptCount val="12"/>
                <c:pt idx="0">
                  <c:v>8.9765920247461466</c:v>
                </c:pt>
                <c:pt idx="1">
                  <c:v>3.5340616812095864</c:v>
                </c:pt>
                <c:pt idx="2">
                  <c:v>15.595904239976925</c:v>
                </c:pt>
                <c:pt idx="3">
                  <c:v>7.6538270957211116</c:v>
                </c:pt>
                <c:pt idx="4">
                  <c:v>4.9013944223107568</c:v>
                </c:pt>
                <c:pt idx="5">
                  <c:v>4.8573120656980375</c:v>
                </c:pt>
                <c:pt idx="6">
                  <c:v>4.9906690093975428</c:v>
                </c:pt>
                <c:pt idx="7">
                  <c:v>6.1144993374976364</c:v>
                </c:pt>
                <c:pt idx="8">
                  <c:v>4.7554975712222642</c:v>
                </c:pt>
                <c:pt idx="9">
                  <c:v>6.9387132962637779</c:v>
                </c:pt>
                <c:pt idx="10">
                  <c:v>16.334595959595948</c:v>
                </c:pt>
                <c:pt idx="11">
                  <c:v>5.0459437234080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0</c:v>
                </c:pt>
                <c:pt idx="1">
                  <c:v>Av Price/Unit 46.05</c:v>
                </c:pt>
                <c:pt idx="2">
                  <c:v>Av Price/Unit 21.36</c:v>
                </c:pt>
                <c:pt idx="3">
                  <c:v>Av Price/Unit 93.77</c:v>
                </c:pt>
                <c:pt idx="4">
                  <c:v>Av Price/Unit 29.24</c:v>
                </c:pt>
                <c:pt idx="5">
                  <c:v>Av Price/Unit 29.56</c:v>
                </c:pt>
                <c:pt idx="6">
                  <c:v>Av Price/Unit 37.61</c:v>
                </c:pt>
                <c:pt idx="7">
                  <c:v>Av Price/Unit 30.34</c:v>
                </c:pt>
                <c:pt idx="8">
                  <c:v>Av Price/Unit 98.34</c:v>
                </c:pt>
                <c:pt idx="9">
                  <c:v>Av Price/Unit 29.63</c:v>
                </c:pt>
                <c:pt idx="10">
                  <c:v>Av Price/Unit 41.95</c:v>
                </c:pt>
                <c:pt idx="11">
                  <c:v>Av Price/Unit 45.77</c:v>
                </c:pt>
              </c:strCache>
            </c:strRef>
          </c:cat>
          <c:val>
            <c:numRef>
              <c:f>Sheet1!$B$2:$B$13</c:f>
              <c:numCache>
                <c:formatCode>General</c:formatCode>
                <c:ptCount val="12"/>
                <c:pt idx="0">
                  <c:v>18.170999103554866</c:v>
                </c:pt>
                <c:pt idx="1">
                  <c:v>15.821081786542925</c:v>
                </c:pt>
                <c:pt idx="2">
                  <c:v>3.614221763445979</c:v>
                </c:pt>
                <c:pt idx="3">
                  <c:v>30.002478294573653</c:v>
                </c:pt>
                <c:pt idx="4">
                  <c:v>10.135968718067813</c:v>
                </c:pt>
                <c:pt idx="5">
                  <c:v>10.747534031852473</c:v>
                </c:pt>
                <c:pt idx="6">
                  <c:v>12.792391918832324</c:v>
                </c:pt>
                <c:pt idx="7">
                  <c:v>11.446920696791993</c:v>
                </c:pt>
                <c:pt idx="8">
                  <c:v>31.703690322580652</c:v>
                </c:pt>
                <c:pt idx="9">
                  <c:v>11.068651501668521</c:v>
                </c:pt>
                <c:pt idx="10">
                  <c:v>14.80851888111888</c:v>
                </c:pt>
                <c:pt idx="11">
                  <c:v>15.08185292096219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0</c:v>
                </c:pt>
                <c:pt idx="1">
                  <c:v>Av Price/Unit 46.05</c:v>
                </c:pt>
                <c:pt idx="2">
                  <c:v>Av Price/Unit 21.36</c:v>
                </c:pt>
                <c:pt idx="3">
                  <c:v>Av Price/Unit 93.77</c:v>
                </c:pt>
                <c:pt idx="4">
                  <c:v>Av Price/Unit 29.24</c:v>
                </c:pt>
                <c:pt idx="5">
                  <c:v>Av Price/Unit 29.56</c:v>
                </c:pt>
                <c:pt idx="6">
                  <c:v>Av Price/Unit 37.61</c:v>
                </c:pt>
                <c:pt idx="7">
                  <c:v>Av Price/Unit 30.34</c:v>
                </c:pt>
                <c:pt idx="8">
                  <c:v>Av Price/Unit 98.34</c:v>
                </c:pt>
                <c:pt idx="9">
                  <c:v>Av Price/Unit 29.63</c:v>
                </c:pt>
                <c:pt idx="10">
                  <c:v>Av Price/Unit 41.95</c:v>
                </c:pt>
                <c:pt idx="11">
                  <c:v>Av Price/Unit 45.77</c:v>
                </c:pt>
              </c:strCache>
            </c:strRef>
          </c:cat>
          <c:val>
            <c:numRef>
              <c:f>Sheet1!$C$2:$C$13</c:f>
              <c:numCache>
                <c:formatCode>General</c:formatCode>
                <c:ptCount val="12"/>
                <c:pt idx="0">
                  <c:v>27.904780247295211</c:v>
                </c:pt>
                <c:pt idx="1">
                  <c:v>22.315768445475637</c:v>
                </c:pt>
                <c:pt idx="2">
                  <c:v>13.387728367444076</c:v>
                </c:pt>
                <c:pt idx="3">
                  <c:v>47.817255813953494</c:v>
                </c:pt>
                <c:pt idx="4">
                  <c:v>15.225952415234557</c:v>
                </c:pt>
                <c:pt idx="5">
                  <c:v>14.205425565800503</c:v>
                </c:pt>
                <c:pt idx="6">
                  <c:v>18.341444784620858</c:v>
                </c:pt>
                <c:pt idx="7">
                  <c:v>14.100514694722317</c:v>
                </c:pt>
                <c:pt idx="8">
                  <c:v>49.761354838709671</c:v>
                </c:pt>
                <c:pt idx="9">
                  <c:v>13.816348498331481</c:v>
                </c:pt>
                <c:pt idx="10">
                  <c:v>20.57426874663798</c:v>
                </c:pt>
                <c:pt idx="11">
                  <c:v>22.29434226804123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0</c:v>
                </c:pt>
                <c:pt idx="1">
                  <c:v>Av Price/Unit 46.05</c:v>
                </c:pt>
                <c:pt idx="2">
                  <c:v>Av Price/Unit 21.36</c:v>
                </c:pt>
                <c:pt idx="3">
                  <c:v>Av Price/Unit 93.77</c:v>
                </c:pt>
                <c:pt idx="4">
                  <c:v>Av Price/Unit 29.24</c:v>
                </c:pt>
                <c:pt idx="5">
                  <c:v>Av Price/Unit 29.56</c:v>
                </c:pt>
                <c:pt idx="6">
                  <c:v>Av Price/Unit 37.61</c:v>
                </c:pt>
                <c:pt idx="7">
                  <c:v>Av Price/Unit 30.34</c:v>
                </c:pt>
                <c:pt idx="8">
                  <c:v>Av Price/Unit 98.34</c:v>
                </c:pt>
                <c:pt idx="9">
                  <c:v>Av Price/Unit 29.63</c:v>
                </c:pt>
                <c:pt idx="10">
                  <c:v>Av Price/Unit 41.95</c:v>
                </c:pt>
                <c:pt idx="11">
                  <c:v>Av Price/Unit 45.77</c:v>
                </c:pt>
              </c:strCache>
            </c:strRef>
          </c:cat>
          <c:val>
            <c:numRef>
              <c:f>Sheet1!$D$2:$D$13</c:f>
              <c:numCache>
                <c:formatCode>General</c:formatCode>
                <c:ptCount val="12"/>
                <c:pt idx="0">
                  <c:v>-1.161278923235443</c:v>
                </c:pt>
                <c:pt idx="1">
                  <c:v>0.24233820572312226</c:v>
                </c:pt>
                <c:pt idx="2">
                  <c:v>0.79522978343645434</c:v>
                </c:pt>
                <c:pt idx="3">
                  <c:v>0.31872411714041959</c:v>
                </c:pt>
                <c:pt idx="4">
                  <c:v>-0.99901665892553027</c:v>
                </c:pt>
                <c:pt idx="5">
                  <c:v>-0.32150127596162648</c:v>
                </c:pt>
                <c:pt idx="6">
                  <c:v>0.2056079387682388</c:v>
                </c:pt>
                <c:pt idx="7">
                  <c:v>-0.26314195699666953</c:v>
                </c:pt>
                <c:pt idx="8">
                  <c:v>0.48195944700461268</c:v>
                </c:pt>
                <c:pt idx="9">
                  <c:v>-0.19367630700778804</c:v>
                </c:pt>
                <c:pt idx="10">
                  <c:v>-0.42358016854939962</c:v>
                </c:pt>
                <c:pt idx="11">
                  <c:v>0.7681347079037834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0</c:v>
                </c:pt>
                <c:pt idx="1">
                  <c:v>Av Price/Unit 46.05</c:v>
                </c:pt>
                <c:pt idx="2">
                  <c:v>Av Price/Unit 21.36</c:v>
                </c:pt>
                <c:pt idx="3">
                  <c:v>Av Price/Unit 93.77</c:v>
                </c:pt>
                <c:pt idx="4">
                  <c:v>Av Price/Unit 29.24</c:v>
                </c:pt>
                <c:pt idx="5">
                  <c:v>Av Price/Unit 29.56</c:v>
                </c:pt>
                <c:pt idx="6">
                  <c:v>Av Price/Unit 37.61</c:v>
                </c:pt>
                <c:pt idx="7">
                  <c:v>Av Price/Unit 30.34</c:v>
                </c:pt>
                <c:pt idx="8">
                  <c:v>Av Price/Unit 98.34</c:v>
                </c:pt>
                <c:pt idx="9">
                  <c:v>Av Price/Unit 29.63</c:v>
                </c:pt>
                <c:pt idx="10">
                  <c:v>Av Price/Unit 41.95</c:v>
                </c:pt>
                <c:pt idx="11">
                  <c:v>Av Price/Unit 45.77</c:v>
                </c:pt>
              </c:strCache>
            </c:strRef>
          </c:cat>
          <c:val>
            <c:numRef>
              <c:f>Sheet1!$E$2:$E$13</c:f>
              <c:numCache>
                <c:formatCode>General</c:formatCode>
                <c:ptCount val="12"/>
                <c:pt idx="0">
                  <c:v>8.9828954147346707</c:v>
                </c:pt>
                <c:pt idx="1">
                  <c:v>7.6758313998453165</c:v>
                </c:pt>
                <c:pt idx="2">
                  <c:v>3.5594359828653022</c:v>
                </c:pt>
                <c:pt idx="3">
                  <c:v>15.62769164513349</c:v>
                </c:pt>
                <c:pt idx="4">
                  <c:v>4.8725808948753704</c:v>
                </c:pt>
                <c:pt idx="5">
                  <c:v>4.9262829468194065</c:v>
                </c:pt>
                <c:pt idx="6">
                  <c:v>6.267888928444286</c:v>
                </c:pt>
                <c:pt idx="7">
                  <c:v>5.0568586869035279</c:v>
                </c:pt>
                <c:pt idx="8">
                  <c:v>16.389400921658986</c:v>
                </c:pt>
                <c:pt idx="9">
                  <c:v>4.9382647385984431</c:v>
                </c:pt>
                <c:pt idx="10">
                  <c:v>6.9918414918414893</c:v>
                </c:pt>
                <c:pt idx="11">
                  <c:v>7.628865979381443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rgbClr val="FF808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FAD8A011-528C-4476-AB5F-31E4D02985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1C9D6D00-2EFC-43DF-B7CA-6CEDB42020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C3F8D408-2B73-4704-AFD0-367E374A44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7C66A54-4900-4F23-B38C-18226EE569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D9D5203F-8055-46E0-8D1F-8DBF19409C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A5AD1960-B1A1-4CFD-90A3-960F662DE2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50F62748-F2CD-48C8-83F1-5070AB01D7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07733412-8406-4292-A359-25A96C1F78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53.187600000000003</c:v>
                </c:pt>
                <c:pt idx="1">
                  <c:v>51.198300000000003</c:v>
                </c:pt>
                <c:pt idx="2">
                  <c:v>46.108400000000003</c:v>
                </c:pt>
                <c:pt idx="3">
                  <c:v>49.12</c:v>
                </c:pt>
                <c:pt idx="4">
                  <c:v>46.378500000000003</c:v>
                </c:pt>
              </c:numCache>
            </c:numRef>
          </c:xVal>
          <c:yVal>
            <c:numRef>
              <c:f>Sheet1!$B$2:$B$6</c:f>
              <c:numCache>
                <c:formatCode>General</c:formatCode>
                <c:ptCount val="5"/>
                <c:pt idx="0">
                  <c:v>0.39829999999999999</c:v>
                </c:pt>
                <c:pt idx="1">
                  <c:v>0.39929999999999999</c:v>
                </c:pt>
                <c:pt idx="2">
                  <c:v>0.4002</c:v>
                </c:pt>
                <c:pt idx="3">
                  <c:v>0.39989999999999998</c:v>
                </c:pt>
                <c:pt idx="4">
                  <c:v>0.39729999999999999</c:v>
                </c:pt>
              </c:numCache>
            </c:numRef>
          </c:yVal>
          <c:bubbleSize>
            <c:numRef>
              <c:f>Sheet1!$C$2:$C$6</c:f>
              <c:numCache>
                <c:formatCode>General</c:formatCode>
                <c:ptCount val="5"/>
                <c:pt idx="0">
                  <c:v>4401488.882000003</c:v>
                </c:pt>
                <c:pt idx="1">
                  <c:v>2616182.8419999988</c:v>
                </c:pt>
                <c:pt idx="2">
                  <c:v>22328881.947200011</c:v>
                </c:pt>
                <c:pt idx="3">
                  <c:v>6196835.9148999956</c:v>
                </c:pt>
                <c:pt idx="4">
                  <c:v>10113337.9398</c:v>
                </c:pt>
              </c:numCache>
            </c:numRef>
          </c:bubbleSize>
          <c:bubble3D val="0"/>
          <c:extLst>
            <c:ext xmlns:c15="http://schemas.microsoft.com/office/drawing/2012/chart" uri="{02D57815-91ED-43cb-92C2-25804820EDAC}">
              <c15:datalabelsRange>
                <c15:f>Sheet1!$E$2:$E$29</c15:f>
                <c15:dlblRangeCache>
                  <c:ptCount val="28"/>
                  <c:pt idx="0">
                    <c:v>NICOLAS QCA</c:v>
                  </c:pt>
                  <c:pt idx="1">
                    <c:v>NICOLAS CCP</c:v>
                  </c:pt>
                  <c:pt idx="2">
                    <c:v>NICOLAS QCN</c:v>
                  </c:pt>
                  <c:pt idx="3">
                    <c:v>NICOLAS QCT</c:v>
                  </c:pt>
                  <c:pt idx="4">
                    <c:v>NICOLAS VCN</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63.825119999999998"/>
          <c:min val="36.88672000000000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992821697807904"/>
        <c:crossBetween val="midCat"/>
      </c:valAx>
      <c:valAx>
        <c:axId val="1011451359"/>
        <c:scaling>
          <c:orientation val="minMax"/>
          <c:max val="0.84023999999999988"/>
          <c:min val="7.7840000000000006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7.55110376632746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9</c:v>
                </c:pt>
                <c:pt idx="1">
                  <c:v>Av Price/Unit 20.79</c:v>
                </c:pt>
                <c:pt idx="2">
                  <c:v>Av Price/Unit 30.30</c:v>
                </c:pt>
                <c:pt idx="3">
                  <c:v>Av Price/Unit 9.20</c:v>
                </c:pt>
                <c:pt idx="4">
                  <c:v>Av Price/Unit 45.75</c:v>
                </c:pt>
                <c:pt idx="5">
                  <c:v>Av Price/Unit 17.34</c:v>
                </c:pt>
                <c:pt idx="6">
                  <c:v>Av Price/Unit 94.65</c:v>
                </c:pt>
                <c:pt idx="7">
                  <c:v>Av Price/Unit 37.34</c:v>
                </c:pt>
                <c:pt idx="8">
                  <c:v>Av Price/Unit 29.22</c:v>
                </c:pt>
                <c:pt idx="9">
                  <c:v>Av Price/Unit 56.56</c:v>
                </c:pt>
                <c:pt idx="10">
                  <c:v>Av Price/Unit 30.60</c:v>
                </c:pt>
                <c:pt idx="11">
                  <c:v>Av Price/Unit 41.58</c:v>
                </c:pt>
              </c:strCache>
            </c:strRef>
          </c:cat>
          <c:val>
            <c:numRef>
              <c:f>Sheet1!$B$2:$B$13</c:f>
              <c:numCache>
                <c:formatCode>General</c:formatCode>
                <c:ptCount val="12"/>
                <c:pt idx="0">
                  <c:v>18.173492797319931</c:v>
                </c:pt>
                <c:pt idx="1">
                  <c:v>3.6024420990566037</c:v>
                </c:pt>
                <c:pt idx="2">
                  <c:v>8.78400091920658</c:v>
                </c:pt>
                <c:pt idx="3">
                  <c:v>2.6535080733944953</c:v>
                </c:pt>
                <c:pt idx="4">
                  <c:v>15.818157495741055</c:v>
                </c:pt>
                <c:pt idx="5">
                  <c:v>6.4793720163209807</c:v>
                </c:pt>
                <c:pt idx="6">
                  <c:v>30.263941472868218</c:v>
                </c:pt>
                <c:pt idx="7">
                  <c:v>12.780187398005438</c:v>
                </c:pt>
                <c:pt idx="8">
                  <c:v>10.762634455270151</c:v>
                </c:pt>
                <c:pt idx="9">
                  <c:v>19.607055254237288</c:v>
                </c:pt>
                <c:pt idx="10">
                  <c:v>11.45042534562212</c:v>
                </c:pt>
                <c:pt idx="11">
                  <c:v>14.89906061776061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9</c:v>
                </c:pt>
                <c:pt idx="1">
                  <c:v>Av Price/Unit 20.79</c:v>
                </c:pt>
                <c:pt idx="2">
                  <c:v>Av Price/Unit 30.30</c:v>
                </c:pt>
                <c:pt idx="3">
                  <c:v>Av Price/Unit 9.20</c:v>
                </c:pt>
                <c:pt idx="4">
                  <c:v>Av Price/Unit 45.75</c:v>
                </c:pt>
                <c:pt idx="5">
                  <c:v>Av Price/Unit 17.34</c:v>
                </c:pt>
                <c:pt idx="6">
                  <c:v>Av Price/Unit 94.65</c:v>
                </c:pt>
                <c:pt idx="7">
                  <c:v>Av Price/Unit 37.34</c:v>
                </c:pt>
                <c:pt idx="8">
                  <c:v>Av Price/Unit 29.22</c:v>
                </c:pt>
                <c:pt idx="9">
                  <c:v>Av Price/Unit 56.56</c:v>
                </c:pt>
                <c:pt idx="10">
                  <c:v>Av Price/Unit 30.60</c:v>
                </c:pt>
                <c:pt idx="11">
                  <c:v>Av Price/Unit 41.58</c:v>
                </c:pt>
              </c:strCache>
            </c:strRef>
          </c:cat>
          <c:val>
            <c:numRef>
              <c:f>Sheet1!$C$2:$C$13</c:f>
              <c:numCache>
                <c:formatCode>General</c:formatCode>
                <c:ptCount val="12"/>
                <c:pt idx="0">
                  <c:v>27.897034338358459</c:v>
                </c:pt>
                <c:pt idx="1">
                  <c:v>13.406308490566039</c:v>
                </c:pt>
                <c:pt idx="2">
                  <c:v>18.901983551040153</c:v>
                </c:pt>
                <c:pt idx="3">
                  <c:v>4.9563903252710588</c:v>
                </c:pt>
                <c:pt idx="4">
                  <c:v>22.315924020442928</c:v>
                </c:pt>
                <c:pt idx="5">
                  <c:v>7.5942600476028561</c:v>
                </c:pt>
                <c:pt idx="6">
                  <c:v>47.689029069767436</c:v>
                </c:pt>
                <c:pt idx="7">
                  <c:v>18.345461196736174</c:v>
                </c:pt>
                <c:pt idx="8">
                  <c:v>14.196749424269266</c:v>
                </c:pt>
                <c:pt idx="9">
                  <c:v>27.636342711864405</c:v>
                </c:pt>
                <c:pt idx="10">
                  <c:v>14.104213364055301</c:v>
                </c:pt>
                <c:pt idx="11">
                  <c:v>20.57768095238095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9</c:v>
                </c:pt>
                <c:pt idx="1">
                  <c:v>Av Price/Unit 20.79</c:v>
                </c:pt>
                <c:pt idx="2">
                  <c:v>Av Price/Unit 30.30</c:v>
                </c:pt>
                <c:pt idx="3">
                  <c:v>Av Price/Unit 9.20</c:v>
                </c:pt>
                <c:pt idx="4">
                  <c:v>Av Price/Unit 45.75</c:v>
                </c:pt>
                <c:pt idx="5">
                  <c:v>Av Price/Unit 17.34</c:v>
                </c:pt>
                <c:pt idx="6">
                  <c:v>Av Price/Unit 94.65</c:v>
                </c:pt>
                <c:pt idx="7">
                  <c:v>Av Price/Unit 37.34</c:v>
                </c:pt>
                <c:pt idx="8">
                  <c:v>Av Price/Unit 29.22</c:v>
                </c:pt>
                <c:pt idx="9">
                  <c:v>Av Price/Unit 56.56</c:v>
                </c:pt>
                <c:pt idx="10">
                  <c:v>Av Price/Unit 30.60</c:v>
                </c:pt>
                <c:pt idx="11">
                  <c:v>Av Price/Unit 41.58</c:v>
                </c:pt>
              </c:strCache>
            </c:strRef>
          </c:cat>
          <c:val>
            <c:numRef>
              <c:f>Sheet1!$D$2:$D$13</c:f>
              <c:numCache>
                <c:formatCode>General</c:formatCode>
                <c:ptCount val="12"/>
                <c:pt idx="0">
                  <c:v>-0.99617319932996651</c:v>
                </c:pt>
                <c:pt idx="1">
                  <c:v>0.31894857180293457</c:v>
                </c:pt>
                <c:pt idx="2">
                  <c:v>-2.4396532333494605</c:v>
                </c:pt>
                <c:pt idx="3">
                  <c:v>5.9409357798166695E-2</c:v>
                </c:pt>
                <c:pt idx="4">
                  <c:v>-8.6956842703074244E-3</c:v>
                </c:pt>
                <c:pt idx="5">
                  <c:v>0.37723498809928913</c:v>
                </c:pt>
                <c:pt idx="6">
                  <c:v>0.91976847545220153</c:v>
                </c:pt>
                <c:pt idx="7">
                  <c:v>-9.7525536415830061E-3</c:v>
                </c:pt>
                <c:pt idx="8">
                  <c:v>-0.61331375848833503</c:v>
                </c:pt>
                <c:pt idx="9">
                  <c:v>-0.10783491525424438</c:v>
                </c:pt>
                <c:pt idx="10">
                  <c:v>-5.1566513056837238E-2</c:v>
                </c:pt>
                <c:pt idx="11">
                  <c:v>-0.8242319176319199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9</c:v>
                </c:pt>
                <c:pt idx="1">
                  <c:v>Av Price/Unit 20.79</c:v>
                </c:pt>
                <c:pt idx="2">
                  <c:v>Av Price/Unit 30.30</c:v>
                </c:pt>
                <c:pt idx="3">
                  <c:v>Av Price/Unit 9.20</c:v>
                </c:pt>
                <c:pt idx="4">
                  <c:v>Av Price/Unit 45.75</c:v>
                </c:pt>
                <c:pt idx="5">
                  <c:v>Av Price/Unit 17.34</c:v>
                </c:pt>
                <c:pt idx="6">
                  <c:v>Av Price/Unit 94.65</c:v>
                </c:pt>
                <c:pt idx="7">
                  <c:v>Av Price/Unit 37.34</c:v>
                </c:pt>
                <c:pt idx="8">
                  <c:v>Av Price/Unit 29.22</c:v>
                </c:pt>
                <c:pt idx="9">
                  <c:v>Av Price/Unit 56.56</c:v>
                </c:pt>
                <c:pt idx="10">
                  <c:v>Av Price/Unit 30.60</c:v>
                </c:pt>
                <c:pt idx="11">
                  <c:v>Av Price/Unit 41.58</c:v>
                </c:pt>
              </c:strCache>
            </c:strRef>
          </c:cat>
          <c:val>
            <c:numRef>
              <c:f>Sheet1!$E$2:$E$13</c:f>
              <c:numCache>
                <c:formatCode>General</c:formatCode>
                <c:ptCount val="12"/>
                <c:pt idx="0">
                  <c:v>9.0148659966499096</c:v>
                </c:pt>
                <c:pt idx="1">
                  <c:v>3.4655398322851134</c:v>
                </c:pt>
                <c:pt idx="2">
                  <c:v>5.0492662473794523</c:v>
                </c:pt>
                <c:pt idx="3">
                  <c:v>1.5338615512927427</c:v>
                </c:pt>
                <c:pt idx="4">
                  <c:v>7.6250709823963678</c:v>
                </c:pt>
                <c:pt idx="5">
                  <c:v>2.8901734104046217</c:v>
                </c:pt>
                <c:pt idx="6">
                  <c:v>15.774547803617565</c:v>
                </c:pt>
                <c:pt idx="7">
                  <c:v>6.2231792082200039</c:v>
                </c:pt>
                <c:pt idx="8">
                  <c:v>4.8692057868320004</c:v>
                </c:pt>
                <c:pt idx="9">
                  <c:v>9.4271186440677965</c:v>
                </c:pt>
                <c:pt idx="10">
                  <c:v>5.1006144393241142</c:v>
                </c:pt>
                <c:pt idx="11">
                  <c:v>6.930501930501930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8</c:v>
                </c:pt>
                <c:pt idx="1">
                  <c:v>Av Price/Unit 21.11</c:v>
                </c:pt>
                <c:pt idx="2">
                  <c:v>Av Price/Unit 46.16</c:v>
                </c:pt>
                <c:pt idx="3">
                  <c:v>Av Price/Unit 29.06</c:v>
                </c:pt>
                <c:pt idx="4">
                  <c:v>Av Price/Unit 94.44</c:v>
                </c:pt>
                <c:pt idx="5">
                  <c:v>Av Price/Unit 30.06</c:v>
                </c:pt>
                <c:pt idx="6">
                  <c:v>Av Price/Unit 37.81</c:v>
                </c:pt>
                <c:pt idx="7">
                  <c:v>Av Price/Unit 29.44</c:v>
                </c:pt>
                <c:pt idx="8">
                  <c:v>Av Price/Unit 29.20</c:v>
                </c:pt>
                <c:pt idx="9">
                  <c:v>Av Price/Unit 37.61</c:v>
                </c:pt>
                <c:pt idx="10">
                  <c:v>Av Price/Unit 42.95</c:v>
                </c:pt>
                <c:pt idx="11">
                  <c:v>Av Price/Unit 37.59</c:v>
                </c:pt>
              </c:strCache>
            </c:strRef>
          </c:cat>
          <c:val>
            <c:numRef>
              <c:f>Sheet1!$B$2:$B$13</c:f>
              <c:numCache>
                <c:formatCode>General</c:formatCode>
                <c:ptCount val="12"/>
                <c:pt idx="0">
                  <c:v>18.173534562211984</c:v>
                </c:pt>
                <c:pt idx="1">
                  <c:v>3.6190399051403666</c:v>
                </c:pt>
                <c:pt idx="2">
                  <c:v>15.816964188297405</c:v>
                </c:pt>
                <c:pt idx="3">
                  <c:v>10.099752058729653</c:v>
                </c:pt>
                <c:pt idx="4">
                  <c:v>30.33945193370166</c:v>
                </c:pt>
                <c:pt idx="5">
                  <c:v>11.449155678670358</c:v>
                </c:pt>
                <c:pt idx="6">
                  <c:v>12.786316457142858</c:v>
                </c:pt>
                <c:pt idx="7">
                  <c:v>10.790942603550295</c:v>
                </c:pt>
                <c:pt idx="8">
                  <c:v>11.05539466271312</c:v>
                </c:pt>
                <c:pt idx="9">
                  <c:v>13.252699679144387</c:v>
                </c:pt>
                <c:pt idx="10">
                  <c:v>14.729412499999999</c:v>
                </c:pt>
                <c:pt idx="11">
                  <c:v>13.23114313487241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8</c:v>
                </c:pt>
                <c:pt idx="1">
                  <c:v>Av Price/Unit 21.11</c:v>
                </c:pt>
                <c:pt idx="2">
                  <c:v>Av Price/Unit 46.16</c:v>
                </c:pt>
                <c:pt idx="3">
                  <c:v>Av Price/Unit 29.06</c:v>
                </c:pt>
                <c:pt idx="4">
                  <c:v>Av Price/Unit 94.44</c:v>
                </c:pt>
                <c:pt idx="5">
                  <c:v>Av Price/Unit 30.06</c:v>
                </c:pt>
                <c:pt idx="6">
                  <c:v>Av Price/Unit 37.81</c:v>
                </c:pt>
                <c:pt idx="7">
                  <c:v>Av Price/Unit 29.44</c:v>
                </c:pt>
                <c:pt idx="8">
                  <c:v>Av Price/Unit 29.20</c:v>
                </c:pt>
                <c:pt idx="9">
                  <c:v>Av Price/Unit 37.61</c:v>
                </c:pt>
                <c:pt idx="10">
                  <c:v>Av Price/Unit 42.95</c:v>
                </c:pt>
                <c:pt idx="11">
                  <c:v>Av Price/Unit 37.59</c:v>
                </c:pt>
              </c:strCache>
            </c:strRef>
          </c:cat>
          <c:val>
            <c:numRef>
              <c:f>Sheet1!$C$2:$C$13</c:f>
              <c:numCache>
                <c:formatCode>General</c:formatCode>
                <c:ptCount val="12"/>
                <c:pt idx="0">
                  <c:v>27.896904608294932</c:v>
                </c:pt>
                <c:pt idx="1">
                  <c:v>13.380128688629663</c:v>
                </c:pt>
                <c:pt idx="2">
                  <c:v>22.315987505499336</c:v>
                </c:pt>
                <c:pt idx="3">
                  <c:v>15.268573890839447</c:v>
                </c:pt>
                <c:pt idx="4">
                  <c:v>47.651997237569063</c:v>
                </c:pt>
                <c:pt idx="5">
                  <c:v>14.102873407202217</c:v>
                </c:pt>
                <c:pt idx="6">
                  <c:v>18.343444171428573</c:v>
                </c:pt>
                <c:pt idx="7">
                  <c:v>14.180484615384614</c:v>
                </c:pt>
                <c:pt idx="8">
                  <c:v>13.799301927353596</c:v>
                </c:pt>
                <c:pt idx="9">
                  <c:v>17.095252085561494</c:v>
                </c:pt>
                <c:pt idx="10">
                  <c:v>20.571287500000004</c:v>
                </c:pt>
                <c:pt idx="11">
                  <c:v>17.38173426488457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8</c:v>
                </c:pt>
                <c:pt idx="1">
                  <c:v>Av Price/Unit 21.11</c:v>
                </c:pt>
                <c:pt idx="2">
                  <c:v>Av Price/Unit 46.16</c:v>
                </c:pt>
                <c:pt idx="3">
                  <c:v>Av Price/Unit 29.06</c:v>
                </c:pt>
                <c:pt idx="4">
                  <c:v>Av Price/Unit 94.44</c:v>
                </c:pt>
                <c:pt idx="5">
                  <c:v>Av Price/Unit 30.06</c:v>
                </c:pt>
                <c:pt idx="6">
                  <c:v>Av Price/Unit 37.81</c:v>
                </c:pt>
                <c:pt idx="7">
                  <c:v>Av Price/Unit 29.44</c:v>
                </c:pt>
                <c:pt idx="8">
                  <c:v>Av Price/Unit 29.20</c:v>
                </c:pt>
                <c:pt idx="9">
                  <c:v>Av Price/Unit 37.61</c:v>
                </c:pt>
                <c:pt idx="10">
                  <c:v>Av Price/Unit 42.95</c:v>
                </c:pt>
                <c:pt idx="11">
                  <c:v>Av Price/Unit 37.59</c:v>
                </c:pt>
              </c:strCache>
            </c:strRef>
          </c:cat>
          <c:val>
            <c:numRef>
              <c:f>Sheet1!$D$2:$D$13</c:f>
              <c:numCache>
                <c:formatCode>General</c:formatCode>
                <c:ptCount val="12"/>
                <c:pt idx="0">
                  <c:v>-1.0035949308755789</c:v>
                </c:pt>
                <c:pt idx="1">
                  <c:v>0.59579786352177067</c:v>
                </c:pt>
                <c:pt idx="2">
                  <c:v>0.33532949112773025</c:v>
                </c:pt>
                <c:pt idx="3">
                  <c:v>-1.1524519204170609</c:v>
                </c:pt>
                <c:pt idx="4">
                  <c:v>0.71251031307551216</c:v>
                </c:pt>
                <c:pt idx="5">
                  <c:v>-0.50239843028624165</c:v>
                </c:pt>
                <c:pt idx="6">
                  <c:v>0.38262032380952604</c:v>
                </c:pt>
                <c:pt idx="7">
                  <c:v>-0.44065417488494774</c:v>
                </c:pt>
                <c:pt idx="8">
                  <c:v>-0.52000422535210333</c:v>
                </c:pt>
                <c:pt idx="9">
                  <c:v>0.99340295900178788</c:v>
                </c:pt>
                <c:pt idx="10">
                  <c:v>0.48719893617021626</c:v>
                </c:pt>
                <c:pt idx="11">
                  <c:v>0.7105328878088279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8</c:v>
                </c:pt>
                <c:pt idx="1">
                  <c:v>Av Price/Unit 21.11</c:v>
                </c:pt>
                <c:pt idx="2">
                  <c:v>Av Price/Unit 46.16</c:v>
                </c:pt>
                <c:pt idx="3">
                  <c:v>Av Price/Unit 29.06</c:v>
                </c:pt>
                <c:pt idx="4">
                  <c:v>Av Price/Unit 94.44</c:v>
                </c:pt>
                <c:pt idx="5">
                  <c:v>Av Price/Unit 30.06</c:v>
                </c:pt>
                <c:pt idx="6">
                  <c:v>Av Price/Unit 37.81</c:v>
                </c:pt>
                <c:pt idx="7">
                  <c:v>Av Price/Unit 29.44</c:v>
                </c:pt>
                <c:pt idx="8">
                  <c:v>Av Price/Unit 29.20</c:v>
                </c:pt>
                <c:pt idx="9">
                  <c:v>Av Price/Unit 37.61</c:v>
                </c:pt>
                <c:pt idx="10">
                  <c:v>Av Price/Unit 42.95</c:v>
                </c:pt>
                <c:pt idx="11">
                  <c:v>Av Price/Unit 37.59</c:v>
                </c:pt>
              </c:strCache>
            </c:strRef>
          </c:cat>
          <c:val>
            <c:numRef>
              <c:f>Sheet1!$E$2:$E$13</c:f>
              <c:numCache>
                <c:formatCode>General</c:formatCode>
                <c:ptCount val="12"/>
                <c:pt idx="0">
                  <c:v>9.0133640552995384</c:v>
                </c:pt>
                <c:pt idx="1">
                  <c:v>3.5189932914583588</c:v>
                </c:pt>
                <c:pt idx="2">
                  <c:v>7.6936500953218907</c:v>
                </c:pt>
                <c:pt idx="3">
                  <c:v>4.8431748058304045</c:v>
                </c:pt>
                <c:pt idx="4">
                  <c:v>15.740791896869249</c:v>
                </c:pt>
                <c:pt idx="5">
                  <c:v>5.0099261311172665</c:v>
                </c:pt>
                <c:pt idx="6">
                  <c:v>6.3024761904761917</c:v>
                </c:pt>
                <c:pt idx="7">
                  <c:v>4.9061472715318892</c:v>
                </c:pt>
                <c:pt idx="8">
                  <c:v>4.8669384729429153</c:v>
                </c:pt>
                <c:pt idx="9">
                  <c:v>6.2682709447415315</c:v>
                </c:pt>
                <c:pt idx="10">
                  <c:v>7.1575797872340381</c:v>
                </c:pt>
                <c:pt idx="11">
                  <c:v>6.264682057513166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2</c:v>
                </c:pt>
                <c:pt idx="1">
                  <c:v>Av Price/Unit 93.30</c:v>
                </c:pt>
                <c:pt idx="2">
                  <c:v>Av Price/Unit 21.23</c:v>
                </c:pt>
                <c:pt idx="3">
                  <c:v>Av Price/Unit 46.03</c:v>
                </c:pt>
                <c:pt idx="4">
                  <c:v>Av Price/Unit 42.00</c:v>
                </c:pt>
                <c:pt idx="5">
                  <c:v>Av Price/Unit 29.23</c:v>
                </c:pt>
                <c:pt idx="6">
                  <c:v>Av Price/Unit 29.53</c:v>
                </c:pt>
                <c:pt idx="7">
                  <c:v>Av Price/Unit 36.92</c:v>
                </c:pt>
                <c:pt idx="8">
                  <c:v>Av Price/Unit 97.81</c:v>
                </c:pt>
                <c:pt idx="9">
                  <c:v>Av Price/Unit 30.36</c:v>
                </c:pt>
                <c:pt idx="10">
                  <c:v>Av Price/Unit 45.35</c:v>
                </c:pt>
                <c:pt idx="11">
                  <c:v>Av Price/Unit 57.43</c:v>
                </c:pt>
              </c:strCache>
            </c:strRef>
          </c:cat>
          <c:val>
            <c:numRef>
              <c:f>Sheet1!$B$2:$B$13</c:f>
              <c:numCache>
                <c:formatCode>General</c:formatCode>
                <c:ptCount val="12"/>
                <c:pt idx="0">
                  <c:v>18.178025953066125</c:v>
                </c:pt>
                <c:pt idx="1">
                  <c:v>30.047066824644549</c:v>
                </c:pt>
                <c:pt idx="2">
                  <c:v>3.6035439588532472</c:v>
                </c:pt>
                <c:pt idx="3">
                  <c:v>15.838642537625415</c:v>
                </c:pt>
                <c:pt idx="4">
                  <c:v>14.631131363729297</c:v>
                </c:pt>
                <c:pt idx="5">
                  <c:v>10.074950305531733</c:v>
                </c:pt>
                <c:pt idx="6">
                  <c:v>10.721439784946236</c:v>
                </c:pt>
                <c:pt idx="7">
                  <c:v>12.787890688420214</c:v>
                </c:pt>
                <c:pt idx="8">
                  <c:v>31.671562401402277</c:v>
                </c:pt>
                <c:pt idx="9">
                  <c:v>11.3172250677099</c:v>
                </c:pt>
                <c:pt idx="10">
                  <c:v>15.080779862585883</c:v>
                </c:pt>
                <c:pt idx="11">
                  <c:v>19.52155685279187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2</c:v>
                </c:pt>
                <c:pt idx="1">
                  <c:v>Av Price/Unit 93.30</c:v>
                </c:pt>
                <c:pt idx="2">
                  <c:v>Av Price/Unit 21.23</c:v>
                </c:pt>
                <c:pt idx="3">
                  <c:v>Av Price/Unit 46.03</c:v>
                </c:pt>
                <c:pt idx="4">
                  <c:v>Av Price/Unit 42.00</c:v>
                </c:pt>
                <c:pt idx="5">
                  <c:v>Av Price/Unit 29.23</c:v>
                </c:pt>
                <c:pt idx="6">
                  <c:v>Av Price/Unit 29.53</c:v>
                </c:pt>
                <c:pt idx="7">
                  <c:v>Av Price/Unit 36.92</c:v>
                </c:pt>
                <c:pt idx="8">
                  <c:v>Av Price/Unit 97.81</c:v>
                </c:pt>
                <c:pt idx="9">
                  <c:v>Av Price/Unit 30.36</c:v>
                </c:pt>
                <c:pt idx="10">
                  <c:v>Av Price/Unit 45.35</c:v>
                </c:pt>
                <c:pt idx="11">
                  <c:v>Av Price/Unit 57.43</c:v>
                </c:pt>
              </c:strCache>
            </c:strRef>
          </c:cat>
          <c:val>
            <c:numRef>
              <c:f>Sheet1!$C$2:$C$13</c:f>
              <c:numCache>
                <c:formatCode>General</c:formatCode>
                <c:ptCount val="12"/>
                <c:pt idx="0">
                  <c:v>27.882953454772011</c:v>
                </c:pt>
                <c:pt idx="1">
                  <c:v>47.795388711762165</c:v>
                </c:pt>
                <c:pt idx="2">
                  <c:v>13.404570521638567</c:v>
                </c:pt>
                <c:pt idx="3">
                  <c:v>22.314834197324416</c:v>
                </c:pt>
                <c:pt idx="4">
                  <c:v>20.567583622980983</c:v>
                </c:pt>
                <c:pt idx="5">
                  <c:v>15.297761765651803</c:v>
                </c:pt>
                <c:pt idx="6">
                  <c:v>14.220418349317059</c:v>
                </c:pt>
                <c:pt idx="7">
                  <c:v>18.342926104257856</c:v>
                </c:pt>
                <c:pt idx="8">
                  <c:v>49.774894829097278</c:v>
                </c:pt>
                <c:pt idx="9">
                  <c:v>13.90015583057478</c:v>
                </c:pt>
                <c:pt idx="10">
                  <c:v>22.280460062460964</c:v>
                </c:pt>
                <c:pt idx="11">
                  <c:v>27.6172104060913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2</c:v>
                </c:pt>
                <c:pt idx="1">
                  <c:v>Av Price/Unit 93.30</c:v>
                </c:pt>
                <c:pt idx="2">
                  <c:v>Av Price/Unit 21.23</c:v>
                </c:pt>
                <c:pt idx="3">
                  <c:v>Av Price/Unit 46.03</c:v>
                </c:pt>
                <c:pt idx="4">
                  <c:v>Av Price/Unit 42.00</c:v>
                </c:pt>
                <c:pt idx="5">
                  <c:v>Av Price/Unit 29.23</c:v>
                </c:pt>
                <c:pt idx="6">
                  <c:v>Av Price/Unit 29.53</c:v>
                </c:pt>
                <c:pt idx="7">
                  <c:v>Av Price/Unit 36.92</c:v>
                </c:pt>
                <c:pt idx="8">
                  <c:v>Av Price/Unit 97.81</c:v>
                </c:pt>
                <c:pt idx="9">
                  <c:v>Av Price/Unit 30.36</c:v>
                </c:pt>
                <c:pt idx="10">
                  <c:v>Av Price/Unit 45.35</c:v>
                </c:pt>
                <c:pt idx="11">
                  <c:v>Av Price/Unit 57.43</c:v>
                </c:pt>
              </c:strCache>
            </c:strRef>
          </c:cat>
          <c:val>
            <c:numRef>
              <c:f>Sheet1!$D$2:$D$13</c:f>
              <c:numCache>
                <c:formatCode>General</c:formatCode>
                <c:ptCount val="12"/>
                <c:pt idx="0">
                  <c:v>-1.1253079617487955</c:v>
                </c:pt>
                <c:pt idx="1">
                  <c:v>-9.3353138015189074E-2</c:v>
                </c:pt>
                <c:pt idx="2">
                  <c:v>0.68263899743677925</c:v>
                </c:pt>
                <c:pt idx="3">
                  <c:v>0.20793602285395707</c:v>
                </c:pt>
                <c:pt idx="4">
                  <c:v>-0.19655682773347394</c:v>
                </c:pt>
                <c:pt idx="5">
                  <c:v>-1.0139266938250415</c:v>
                </c:pt>
                <c:pt idx="6">
                  <c:v>-0.33249140172430458</c:v>
                </c:pt>
                <c:pt idx="7">
                  <c:v>-0.36002491046557594</c:v>
                </c:pt>
                <c:pt idx="8">
                  <c:v>6.0992375109535146E-2</c:v>
                </c:pt>
                <c:pt idx="9">
                  <c:v>8.4429714615311013E-2</c:v>
                </c:pt>
                <c:pt idx="10">
                  <c:v>0.43191018946492221</c:v>
                </c:pt>
                <c:pt idx="11">
                  <c:v>0.7185299492385794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2</c:v>
                </c:pt>
                <c:pt idx="1">
                  <c:v>Av Price/Unit 93.30</c:v>
                </c:pt>
                <c:pt idx="2">
                  <c:v>Av Price/Unit 21.23</c:v>
                </c:pt>
                <c:pt idx="3">
                  <c:v>Av Price/Unit 46.03</c:v>
                </c:pt>
                <c:pt idx="4">
                  <c:v>Av Price/Unit 42.00</c:v>
                </c:pt>
                <c:pt idx="5">
                  <c:v>Av Price/Unit 29.23</c:v>
                </c:pt>
                <c:pt idx="6">
                  <c:v>Av Price/Unit 29.53</c:v>
                </c:pt>
                <c:pt idx="7">
                  <c:v>Av Price/Unit 36.92</c:v>
                </c:pt>
                <c:pt idx="8">
                  <c:v>Av Price/Unit 97.81</c:v>
                </c:pt>
                <c:pt idx="9">
                  <c:v>Av Price/Unit 30.36</c:v>
                </c:pt>
                <c:pt idx="10">
                  <c:v>Av Price/Unit 45.35</c:v>
                </c:pt>
                <c:pt idx="11">
                  <c:v>Av Price/Unit 57.43</c:v>
                </c:pt>
              </c:strCache>
            </c:strRef>
          </c:cat>
          <c:val>
            <c:numRef>
              <c:f>Sheet1!$E$2:$E$13</c:f>
              <c:numCache>
                <c:formatCode>General</c:formatCode>
                <c:ptCount val="12"/>
                <c:pt idx="0">
                  <c:v>8.9871292807626535</c:v>
                </c:pt>
                <c:pt idx="1">
                  <c:v>15.549820479678287</c:v>
                </c:pt>
                <c:pt idx="2">
                  <c:v>3.5381506955857174</c:v>
                </c:pt>
                <c:pt idx="3">
                  <c:v>7.6722756410256387</c:v>
                </c:pt>
                <c:pt idx="4">
                  <c:v>7.0004316317953554</c:v>
                </c:pt>
                <c:pt idx="5">
                  <c:v>4.8717570754716952</c:v>
                </c:pt>
                <c:pt idx="6">
                  <c:v>4.9218637992831553</c:v>
                </c:pt>
                <c:pt idx="7">
                  <c:v>6.1541583764424992</c:v>
                </c:pt>
                <c:pt idx="8">
                  <c:v>16.301489921121835</c:v>
                </c:pt>
                <c:pt idx="9">
                  <c:v>5.060362122579992</c:v>
                </c:pt>
                <c:pt idx="10">
                  <c:v>7.5586300229023502</c:v>
                </c:pt>
                <c:pt idx="11">
                  <c:v>9.571462563451776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5</c:v>
                </c:pt>
                <c:pt idx="1">
                  <c:v>Av Price/Unit 21.26</c:v>
                </c:pt>
                <c:pt idx="2">
                  <c:v>Av Price/Unit 46.29</c:v>
                </c:pt>
                <c:pt idx="3">
                  <c:v>Av Price/Unit 93.43</c:v>
                </c:pt>
                <c:pt idx="4">
                  <c:v>Av Price/Unit 29.25</c:v>
                </c:pt>
                <c:pt idx="5">
                  <c:v>Av Price/Unit 29.59</c:v>
                </c:pt>
                <c:pt idx="6">
                  <c:v>Av Price/Unit 37.17</c:v>
                </c:pt>
                <c:pt idx="7">
                  <c:v>Av Price/Unit 30.16</c:v>
                </c:pt>
                <c:pt idx="8">
                  <c:v>Av Price/Unit 42.09</c:v>
                </c:pt>
                <c:pt idx="9">
                  <c:v>Av Price/Unit 30.42</c:v>
                </c:pt>
                <c:pt idx="10">
                  <c:v>Av Price/Unit 29.14</c:v>
                </c:pt>
                <c:pt idx="11">
                  <c:v>Av Price/Unit 97.96</c:v>
                </c:pt>
              </c:strCache>
            </c:strRef>
          </c:cat>
          <c:val>
            <c:numRef>
              <c:f>Sheet1!$B$2:$B$13</c:f>
              <c:numCache>
                <c:formatCode>General</c:formatCode>
                <c:ptCount val="12"/>
                <c:pt idx="0">
                  <c:v>18.184343906073934</c:v>
                </c:pt>
                <c:pt idx="1">
                  <c:v>3.6059014807193344</c:v>
                </c:pt>
                <c:pt idx="2">
                  <c:v>15.84164344493219</c:v>
                </c:pt>
                <c:pt idx="3">
                  <c:v>30.100035759062418</c:v>
                </c:pt>
                <c:pt idx="4">
                  <c:v>10.095996135838693</c:v>
                </c:pt>
                <c:pt idx="5">
                  <c:v>10.725499228556485</c:v>
                </c:pt>
                <c:pt idx="6">
                  <c:v>12.785072935700741</c:v>
                </c:pt>
                <c:pt idx="7">
                  <c:v>11.445658692555666</c:v>
                </c:pt>
                <c:pt idx="8">
                  <c:v>14.604576938307629</c:v>
                </c:pt>
                <c:pt idx="9">
                  <c:v>11.3010438953982</c:v>
                </c:pt>
                <c:pt idx="10">
                  <c:v>11.108024913793102</c:v>
                </c:pt>
                <c:pt idx="11">
                  <c:v>31.68826871035941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5</c:v>
                </c:pt>
                <c:pt idx="1">
                  <c:v>Av Price/Unit 21.26</c:v>
                </c:pt>
                <c:pt idx="2">
                  <c:v>Av Price/Unit 46.29</c:v>
                </c:pt>
                <c:pt idx="3">
                  <c:v>Av Price/Unit 93.43</c:v>
                </c:pt>
                <c:pt idx="4">
                  <c:v>Av Price/Unit 29.25</c:v>
                </c:pt>
                <c:pt idx="5">
                  <c:v>Av Price/Unit 29.59</c:v>
                </c:pt>
                <c:pt idx="6">
                  <c:v>Av Price/Unit 37.17</c:v>
                </c:pt>
                <c:pt idx="7">
                  <c:v>Av Price/Unit 30.16</c:v>
                </c:pt>
                <c:pt idx="8">
                  <c:v>Av Price/Unit 42.09</c:v>
                </c:pt>
                <c:pt idx="9">
                  <c:v>Av Price/Unit 30.42</c:v>
                </c:pt>
                <c:pt idx="10">
                  <c:v>Av Price/Unit 29.14</c:v>
                </c:pt>
                <c:pt idx="11">
                  <c:v>Av Price/Unit 97.96</c:v>
                </c:pt>
              </c:strCache>
            </c:strRef>
          </c:cat>
          <c:val>
            <c:numRef>
              <c:f>Sheet1!$C$2:$C$13</c:f>
              <c:numCache>
                <c:formatCode>General</c:formatCode>
                <c:ptCount val="12"/>
                <c:pt idx="0">
                  <c:v>27.863328635818402</c:v>
                </c:pt>
                <c:pt idx="1">
                  <c:v>13.400851990695177</c:v>
                </c:pt>
                <c:pt idx="2">
                  <c:v>22.314674546288412</c:v>
                </c:pt>
                <c:pt idx="3">
                  <c:v>47.769411692559281</c:v>
                </c:pt>
                <c:pt idx="4">
                  <c:v>15.272994038329484</c:v>
                </c:pt>
                <c:pt idx="5">
                  <c:v>14.218085944037655</c:v>
                </c:pt>
                <c:pt idx="6">
                  <c:v>18.343853404585417</c:v>
                </c:pt>
                <c:pt idx="7">
                  <c:v>14.099182824799461</c:v>
                </c:pt>
                <c:pt idx="8">
                  <c:v>20.56658287828262</c:v>
                </c:pt>
                <c:pt idx="9">
                  <c:v>13.90334297843437</c:v>
                </c:pt>
                <c:pt idx="10">
                  <c:v>13.866977586206898</c:v>
                </c:pt>
                <c:pt idx="11">
                  <c:v>49.76785412262155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5</c:v>
                </c:pt>
                <c:pt idx="1">
                  <c:v>Av Price/Unit 21.26</c:v>
                </c:pt>
                <c:pt idx="2">
                  <c:v>Av Price/Unit 46.29</c:v>
                </c:pt>
                <c:pt idx="3">
                  <c:v>Av Price/Unit 93.43</c:v>
                </c:pt>
                <c:pt idx="4">
                  <c:v>Av Price/Unit 29.25</c:v>
                </c:pt>
                <c:pt idx="5">
                  <c:v>Av Price/Unit 29.59</c:v>
                </c:pt>
                <c:pt idx="6">
                  <c:v>Av Price/Unit 37.17</c:v>
                </c:pt>
                <c:pt idx="7">
                  <c:v>Av Price/Unit 30.16</c:v>
                </c:pt>
                <c:pt idx="8">
                  <c:v>Av Price/Unit 42.09</c:v>
                </c:pt>
                <c:pt idx="9">
                  <c:v>Av Price/Unit 30.42</c:v>
                </c:pt>
                <c:pt idx="10">
                  <c:v>Av Price/Unit 29.14</c:v>
                </c:pt>
                <c:pt idx="11">
                  <c:v>Av Price/Unit 97.96</c:v>
                </c:pt>
              </c:strCache>
            </c:strRef>
          </c:cat>
          <c:val>
            <c:numRef>
              <c:f>Sheet1!$D$2:$D$13</c:f>
              <c:numCache>
                <c:formatCode>General</c:formatCode>
                <c:ptCount val="12"/>
                <c:pt idx="0">
                  <c:v>-1.0043299746767858</c:v>
                </c:pt>
                <c:pt idx="1">
                  <c:v>0.70927796218424533</c:v>
                </c:pt>
                <c:pt idx="2">
                  <c:v>0.41673681451876377</c:v>
                </c:pt>
                <c:pt idx="3">
                  <c:v>-9.3357045516455628E-3</c:v>
                </c:pt>
                <c:pt idx="4">
                  <c:v>-0.99111598310340554</c:v>
                </c:pt>
                <c:pt idx="5">
                  <c:v>-0.28627474503138473</c:v>
                </c:pt>
                <c:pt idx="6">
                  <c:v>-0.1549563351146297</c:v>
                </c:pt>
                <c:pt idx="7">
                  <c:v>-0.41221038558612833</c:v>
                </c:pt>
                <c:pt idx="8">
                  <c:v>-9.3175934417118356E-2</c:v>
                </c:pt>
                <c:pt idx="9">
                  <c:v>0.14838948887757297</c:v>
                </c:pt>
                <c:pt idx="10">
                  <c:v>-0.69562829821200367</c:v>
                </c:pt>
                <c:pt idx="11">
                  <c:v>0.1747204839088709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5</c:v>
                </c:pt>
                <c:pt idx="1">
                  <c:v>Av Price/Unit 21.26</c:v>
                </c:pt>
                <c:pt idx="2">
                  <c:v>Av Price/Unit 46.29</c:v>
                </c:pt>
                <c:pt idx="3">
                  <c:v>Av Price/Unit 93.43</c:v>
                </c:pt>
                <c:pt idx="4">
                  <c:v>Av Price/Unit 29.25</c:v>
                </c:pt>
                <c:pt idx="5">
                  <c:v>Av Price/Unit 29.59</c:v>
                </c:pt>
                <c:pt idx="6">
                  <c:v>Av Price/Unit 37.17</c:v>
                </c:pt>
                <c:pt idx="7">
                  <c:v>Av Price/Unit 30.16</c:v>
                </c:pt>
                <c:pt idx="8">
                  <c:v>Av Price/Unit 42.09</c:v>
                </c:pt>
                <c:pt idx="9">
                  <c:v>Av Price/Unit 30.42</c:v>
                </c:pt>
                <c:pt idx="10">
                  <c:v>Av Price/Unit 29.14</c:v>
                </c:pt>
                <c:pt idx="11">
                  <c:v>Av Price/Unit 97.96</c:v>
                </c:pt>
              </c:strCache>
            </c:strRef>
          </c:cat>
          <c:val>
            <c:numRef>
              <c:f>Sheet1!$E$2:$E$13</c:f>
              <c:numCache>
                <c:formatCode>General</c:formatCode>
                <c:ptCount val="12"/>
                <c:pt idx="0">
                  <c:v>9.008663201386101</c:v>
                </c:pt>
                <c:pt idx="1">
                  <c:v>3.5432062867197511</c:v>
                </c:pt>
                <c:pt idx="2">
                  <c:v>7.7146039441787329</c:v>
                </c:pt>
                <c:pt idx="3">
                  <c:v>15.572022349414009</c:v>
                </c:pt>
                <c:pt idx="4">
                  <c:v>4.875574838212958</c:v>
                </c:pt>
                <c:pt idx="5">
                  <c:v>4.9314526673640167</c:v>
                </c:pt>
                <c:pt idx="6">
                  <c:v>6.1947940010342997</c:v>
                </c:pt>
                <c:pt idx="7">
                  <c:v>5.0265262263537984</c:v>
                </c:pt>
                <c:pt idx="8">
                  <c:v>7.0155967764346219</c:v>
                </c:pt>
                <c:pt idx="9">
                  <c:v>5.0705552725420278</c:v>
                </c:pt>
                <c:pt idx="10">
                  <c:v>4.8558748403575969</c:v>
                </c:pt>
                <c:pt idx="11">
                  <c:v>16.32616866337795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4</c:v>
                </c:pt>
                <c:pt idx="2">
                  <c:v>Av Price/Unit 46.07</c:v>
                </c:pt>
                <c:pt idx="3">
                  <c:v>Av Price/Unit 93.66</c:v>
                </c:pt>
                <c:pt idx="4">
                  <c:v>Av Price/Unit 29.31</c:v>
                </c:pt>
                <c:pt idx="5">
                  <c:v>Av Price/Unit 29.64</c:v>
                </c:pt>
                <c:pt idx="6">
                  <c:v>Av Price/Unit 30.21</c:v>
                </c:pt>
                <c:pt idx="7">
                  <c:v>Av Price/Unit 37.33</c:v>
                </c:pt>
                <c:pt idx="8">
                  <c:v>Av Price/Unit 42.06</c:v>
                </c:pt>
                <c:pt idx="9">
                  <c:v>Av Price/Unit 30.43</c:v>
                </c:pt>
                <c:pt idx="10">
                  <c:v>Av Price/Unit 98.00</c:v>
                </c:pt>
                <c:pt idx="11">
                  <c:v>Av Price/Unit 37.41</c:v>
                </c:pt>
              </c:strCache>
            </c:strRef>
          </c:cat>
          <c:val>
            <c:numRef>
              <c:f>Sheet1!$B$2:$B$13</c:f>
              <c:numCache>
                <c:formatCode>General</c:formatCode>
                <c:ptCount val="12"/>
                <c:pt idx="0">
                  <c:v>18.186566998862343</c:v>
                </c:pt>
                <c:pt idx="1">
                  <c:v>3.6061959679541538</c:v>
                </c:pt>
                <c:pt idx="2">
                  <c:v>15.824029539951576</c:v>
                </c:pt>
                <c:pt idx="3">
                  <c:v>30.208709491525429</c:v>
                </c:pt>
                <c:pt idx="4">
                  <c:v>10.088208180240128</c:v>
                </c:pt>
                <c:pt idx="5">
                  <c:v>10.726425436111525</c:v>
                </c:pt>
                <c:pt idx="6">
                  <c:v>11.442508632702923</c:v>
                </c:pt>
                <c:pt idx="7">
                  <c:v>12.781303416300634</c:v>
                </c:pt>
                <c:pt idx="8">
                  <c:v>14.662505253673411</c:v>
                </c:pt>
                <c:pt idx="9">
                  <c:v>11.356629487437186</c:v>
                </c:pt>
                <c:pt idx="10">
                  <c:v>31.72265995075913</c:v>
                </c:pt>
                <c:pt idx="11">
                  <c:v>13.23735045871559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4</c:v>
                </c:pt>
                <c:pt idx="2">
                  <c:v>Av Price/Unit 46.07</c:v>
                </c:pt>
                <c:pt idx="3">
                  <c:v>Av Price/Unit 93.66</c:v>
                </c:pt>
                <c:pt idx="4">
                  <c:v>Av Price/Unit 29.31</c:v>
                </c:pt>
                <c:pt idx="5">
                  <c:v>Av Price/Unit 29.64</c:v>
                </c:pt>
                <c:pt idx="6">
                  <c:v>Av Price/Unit 30.21</c:v>
                </c:pt>
                <c:pt idx="7">
                  <c:v>Av Price/Unit 37.33</c:v>
                </c:pt>
                <c:pt idx="8">
                  <c:v>Av Price/Unit 42.06</c:v>
                </c:pt>
                <c:pt idx="9">
                  <c:v>Av Price/Unit 30.43</c:v>
                </c:pt>
                <c:pt idx="10">
                  <c:v>Av Price/Unit 98.00</c:v>
                </c:pt>
                <c:pt idx="11">
                  <c:v>Av Price/Unit 37.41</c:v>
                </c:pt>
              </c:strCache>
            </c:strRef>
          </c:cat>
          <c:val>
            <c:numRef>
              <c:f>Sheet1!$C$2:$C$13</c:f>
              <c:numCache>
                <c:formatCode>General</c:formatCode>
                <c:ptCount val="12"/>
                <c:pt idx="0">
                  <c:v>27.85642326734926</c:v>
                </c:pt>
                <c:pt idx="1">
                  <c:v>13.400387494517704</c:v>
                </c:pt>
                <c:pt idx="2">
                  <c:v>22.31561162227603</c:v>
                </c:pt>
                <c:pt idx="3">
                  <c:v>47.716115932203394</c:v>
                </c:pt>
                <c:pt idx="4">
                  <c:v>15.282159272385362</c:v>
                </c:pt>
                <c:pt idx="5">
                  <c:v>14.217553779633221</c:v>
                </c:pt>
                <c:pt idx="6">
                  <c:v>14.09585837480771</c:v>
                </c:pt>
                <c:pt idx="7">
                  <c:v>18.345093923865296</c:v>
                </c:pt>
                <c:pt idx="8">
                  <c:v>20.56876599667314</c:v>
                </c:pt>
                <c:pt idx="9">
                  <c:v>13.892394482412058</c:v>
                </c:pt>
                <c:pt idx="10">
                  <c:v>49.753360279031604</c:v>
                </c:pt>
                <c:pt idx="11">
                  <c:v>17.09186880733944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4</c:v>
                </c:pt>
                <c:pt idx="2">
                  <c:v>Av Price/Unit 46.07</c:v>
                </c:pt>
                <c:pt idx="3">
                  <c:v>Av Price/Unit 93.66</c:v>
                </c:pt>
                <c:pt idx="4">
                  <c:v>Av Price/Unit 29.31</c:v>
                </c:pt>
                <c:pt idx="5">
                  <c:v>Av Price/Unit 29.64</c:v>
                </c:pt>
                <c:pt idx="6">
                  <c:v>Av Price/Unit 30.21</c:v>
                </c:pt>
                <c:pt idx="7">
                  <c:v>Av Price/Unit 37.33</c:v>
                </c:pt>
                <c:pt idx="8">
                  <c:v>Av Price/Unit 42.06</c:v>
                </c:pt>
                <c:pt idx="9">
                  <c:v>Av Price/Unit 30.43</c:v>
                </c:pt>
                <c:pt idx="10">
                  <c:v>Av Price/Unit 98.00</c:v>
                </c:pt>
                <c:pt idx="11">
                  <c:v>Av Price/Unit 37.41</c:v>
                </c:pt>
              </c:strCache>
            </c:strRef>
          </c:cat>
          <c:val>
            <c:numRef>
              <c:f>Sheet1!$D$2:$D$13</c:f>
              <c:numCache>
                <c:formatCode>General</c:formatCode>
                <c:ptCount val="12"/>
                <c:pt idx="0">
                  <c:v>-0.98077128706863448</c:v>
                </c:pt>
                <c:pt idx="1">
                  <c:v>0.78093249710047274</c:v>
                </c:pt>
                <c:pt idx="2">
                  <c:v>0.25305877723972259</c:v>
                </c:pt>
                <c:pt idx="3">
                  <c:v>0.12898813559321809</c:v>
                </c:pt>
                <c:pt idx="4">
                  <c:v>-0.94356288152755852</c:v>
                </c:pt>
                <c:pt idx="5">
                  <c:v>-0.24007809005516378</c:v>
                </c:pt>
                <c:pt idx="6">
                  <c:v>-0.36040422887823453</c:v>
                </c:pt>
                <c:pt idx="7">
                  <c:v>-1.3964446071248915E-2</c:v>
                </c:pt>
                <c:pt idx="8">
                  <c:v>-0.18310102578319487</c:v>
                </c:pt>
                <c:pt idx="9">
                  <c:v>0.10943499162479497</c:v>
                </c:pt>
                <c:pt idx="10">
                  <c:v>0.19372399124608819</c:v>
                </c:pt>
                <c:pt idx="11">
                  <c:v>0.8496007276178367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4</c:v>
                </c:pt>
                <c:pt idx="2">
                  <c:v>Av Price/Unit 46.07</c:v>
                </c:pt>
                <c:pt idx="3">
                  <c:v>Av Price/Unit 93.66</c:v>
                </c:pt>
                <c:pt idx="4">
                  <c:v>Av Price/Unit 29.31</c:v>
                </c:pt>
                <c:pt idx="5">
                  <c:v>Av Price/Unit 29.64</c:v>
                </c:pt>
                <c:pt idx="6">
                  <c:v>Av Price/Unit 30.21</c:v>
                </c:pt>
                <c:pt idx="7">
                  <c:v>Av Price/Unit 37.33</c:v>
                </c:pt>
                <c:pt idx="8">
                  <c:v>Av Price/Unit 42.06</c:v>
                </c:pt>
                <c:pt idx="9">
                  <c:v>Av Price/Unit 30.43</c:v>
                </c:pt>
                <c:pt idx="10">
                  <c:v>Av Price/Unit 98.00</c:v>
                </c:pt>
                <c:pt idx="11">
                  <c:v>Av Price/Unit 37.41</c:v>
                </c:pt>
              </c:strCache>
            </c:strRef>
          </c:cat>
          <c:val>
            <c:numRef>
              <c:f>Sheet1!$E$2:$E$13</c:f>
              <c:numCache>
                <c:formatCode>General</c:formatCode>
                <c:ptCount val="12"/>
                <c:pt idx="0">
                  <c:v>9.0124383769434928</c:v>
                </c:pt>
                <c:pt idx="1">
                  <c:v>3.5575031919144653</c:v>
                </c:pt>
                <c:pt idx="2">
                  <c:v>7.6785335956416381</c:v>
                </c:pt>
                <c:pt idx="3">
                  <c:v>15.610762711864417</c:v>
                </c:pt>
                <c:pt idx="4">
                  <c:v>4.8853609142195866</c:v>
                </c:pt>
                <c:pt idx="5">
                  <c:v>4.9407708364395404</c:v>
                </c:pt>
                <c:pt idx="6">
                  <c:v>5.0355925557264785</c:v>
                </c:pt>
                <c:pt idx="7">
                  <c:v>6.2224865788189287</c:v>
                </c:pt>
                <c:pt idx="8">
                  <c:v>7.0096340449126702</c:v>
                </c:pt>
                <c:pt idx="9">
                  <c:v>5.0716917922948026</c:v>
                </c:pt>
                <c:pt idx="10">
                  <c:v>16.333948844207352</c:v>
                </c:pt>
                <c:pt idx="11">
                  <c:v>6.235763998734578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3</c:v>
                </c:pt>
                <c:pt idx="1">
                  <c:v>Av Price/Unit 21.32</c:v>
                </c:pt>
                <c:pt idx="2">
                  <c:v>Av Price/Unit 46.11</c:v>
                </c:pt>
                <c:pt idx="3">
                  <c:v>Av Price/Unit 93.51</c:v>
                </c:pt>
                <c:pt idx="4">
                  <c:v>Av Price/Unit 29.23</c:v>
                </c:pt>
                <c:pt idx="5">
                  <c:v>Av Price/Unit 29.62</c:v>
                </c:pt>
                <c:pt idx="6">
                  <c:v>Av Price/Unit 37.38</c:v>
                </c:pt>
                <c:pt idx="7">
                  <c:v>Av Price/Unit 30.29</c:v>
                </c:pt>
                <c:pt idx="8">
                  <c:v>Av Price/Unit 42.19</c:v>
                </c:pt>
                <c:pt idx="9">
                  <c:v>Av Price/Unit 30.68</c:v>
                </c:pt>
                <c:pt idx="10">
                  <c:v>Av Price/Unit 29.39</c:v>
                </c:pt>
                <c:pt idx="11">
                  <c:v>Av Price/Unit 45.46</c:v>
                </c:pt>
              </c:strCache>
            </c:strRef>
          </c:cat>
          <c:val>
            <c:numRef>
              <c:f>Sheet1!$B$2:$B$13</c:f>
              <c:numCache>
                <c:formatCode>General</c:formatCode>
                <c:ptCount val="12"/>
                <c:pt idx="0">
                  <c:v>18.185646662125343</c:v>
                </c:pt>
                <c:pt idx="1">
                  <c:v>3.6029380697050937</c:v>
                </c:pt>
                <c:pt idx="2">
                  <c:v>15.839146074087202</c:v>
                </c:pt>
                <c:pt idx="3">
                  <c:v>30.086455169082129</c:v>
                </c:pt>
                <c:pt idx="4">
                  <c:v>10.1145396771115</c:v>
                </c:pt>
                <c:pt idx="5">
                  <c:v>10.722603546099288</c:v>
                </c:pt>
                <c:pt idx="6">
                  <c:v>12.785465752589886</c:v>
                </c:pt>
                <c:pt idx="7">
                  <c:v>11.442178527791688</c:v>
                </c:pt>
                <c:pt idx="8">
                  <c:v>14.645515837531486</c:v>
                </c:pt>
                <c:pt idx="9">
                  <c:v>11.32673680592279</c:v>
                </c:pt>
                <c:pt idx="10">
                  <c:v>11.077941390331604</c:v>
                </c:pt>
                <c:pt idx="11">
                  <c:v>15.08069501510573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3</c:v>
                </c:pt>
                <c:pt idx="1">
                  <c:v>Av Price/Unit 21.32</c:v>
                </c:pt>
                <c:pt idx="2">
                  <c:v>Av Price/Unit 46.11</c:v>
                </c:pt>
                <c:pt idx="3">
                  <c:v>Av Price/Unit 93.51</c:v>
                </c:pt>
                <c:pt idx="4">
                  <c:v>Av Price/Unit 29.23</c:v>
                </c:pt>
                <c:pt idx="5">
                  <c:v>Av Price/Unit 29.62</c:v>
                </c:pt>
                <c:pt idx="6">
                  <c:v>Av Price/Unit 37.38</c:v>
                </c:pt>
                <c:pt idx="7">
                  <c:v>Av Price/Unit 30.29</c:v>
                </c:pt>
                <c:pt idx="8">
                  <c:v>Av Price/Unit 42.19</c:v>
                </c:pt>
                <c:pt idx="9">
                  <c:v>Av Price/Unit 30.68</c:v>
                </c:pt>
                <c:pt idx="10">
                  <c:v>Av Price/Unit 29.39</c:v>
                </c:pt>
                <c:pt idx="11">
                  <c:v>Av Price/Unit 45.46</c:v>
                </c:pt>
              </c:strCache>
            </c:strRef>
          </c:cat>
          <c:val>
            <c:numRef>
              <c:f>Sheet1!$C$2:$C$13</c:f>
              <c:numCache>
                <c:formatCode>General</c:formatCode>
                <c:ptCount val="12"/>
                <c:pt idx="0">
                  <c:v>27.859282016348775</c:v>
                </c:pt>
                <c:pt idx="1">
                  <c:v>13.405526193599911</c:v>
                </c:pt>
                <c:pt idx="2">
                  <c:v>22.314807408720309</c:v>
                </c:pt>
                <c:pt idx="3">
                  <c:v>47.776071884057977</c:v>
                </c:pt>
                <c:pt idx="4">
                  <c:v>15.251171122952124</c:v>
                </c:pt>
                <c:pt idx="5">
                  <c:v>14.21974969545265</c:v>
                </c:pt>
                <c:pt idx="6">
                  <c:v>18.343724131627056</c:v>
                </c:pt>
                <c:pt idx="7">
                  <c:v>14.095509994992488</c:v>
                </c:pt>
                <c:pt idx="8">
                  <c:v>20.568125724181364</c:v>
                </c:pt>
                <c:pt idx="9">
                  <c:v>13.898282337387625</c:v>
                </c:pt>
                <c:pt idx="10">
                  <c:v>13.828294087095486</c:v>
                </c:pt>
                <c:pt idx="11">
                  <c:v>22.27936238670694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3</c:v>
                </c:pt>
                <c:pt idx="1">
                  <c:v>Av Price/Unit 21.32</c:v>
                </c:pt>
                <c:pt idx="2">
                  <c:v>Av Price/Unit 46.11</c:v>
                </c:pt>
                <c:pt idx="3">
                  <c:v>Av Price/Unit 93.51</c:v>
                </c:pt>
                <c:pt idx="4">
                  <c:v>Av Price/Unit 29.23</c:v>
                </c:pt>
                <c:pt idx="5">
                  <c:v>Av Price/Unit 29.62</c:v>
                </c:pt>
                <c:pt idx="6">
                  <c:v>Av Price/Unit 37.38</c:v>
                </c:pt>
                <c:pt idx="7">
                  <c:v>Av Price/Unit 30.29</c:v>
                </c:pt>
                <c:pt idx="8">
                  <c:v>Av Price/Unit 42.19</c:v>
                </c:pt>
                <c:pt idx="9">
                  <c:v>Av Price/Unit 30.68</c:v>
                </c:pt>
                <c:pt idx="10">
                  <c:v>Av Price/Unit 29.39</c:v>
                </c:pt>
                <c:pt idx="11">
                  <c:v>Av Price/Unit 45.46</c:v>
                </c:pt>
              </c:strCache>
            </c:strRef>
          </c:cat>
          <c:val>
            <c:numRef>
              <c:f>Sheet1!$D$2:$D$13</c:f>
              <c:numCache>
                <c:formatCode>General</c:formatCode>
                <c:ptCount val="12"/>
                <c:pt idx="0">
                  <c:v>-1.021708604190998</c:v>
                </c:pt>
                <c:pt idx="1">
                  <c:v>0.76051164603654797</c:v>
                </c:pt>
                <c:pt idx="2">
                  <c:v>0.27217119815668411</c:v>
                </c:pt>
                <c:pt idx="3">
                  <c:v>5.921207729468847E-2</c:v>
                </c:pt>
                <c:pt idx="4">
                  <c:v>-1.005324288213771</c:v>
                </c:pt>
                <c:pt idx="5">
                  <c:v>-0.25985540536782636</c:v>
                </c:pt>
                <c:pt idx="6">
                  <c:v>2.2242169408897894E-2</c:v>
                </c:pt>
                <c:pt idx="7">
                  <c:v>-0.29807910866299281</c:v>
                </c:pt>
                <c:pt idx="8">
                  <c:v>-5.25374475230862E-2</c:v>
                </c:pt>
                <c:pt idx="9">
                  <c:v>0.34302245725366021</c:v>
                </c:pt>
                <c:pt idx="10">
                  <c:v>-0.41407051982065823</c:v>
                </c:pt>
                <c:pt idx="11">
                  <c:v>0.5226213494461262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3</c:v>
                </c:pt>
                <c:pt idx="1">
                  <c:v>Av Price/Unit 21.32</c:v>
                </c:pt>
                <c:pt idx="2">
                  <c:v>Av Price/Unit 46.11</c:v>
                </c:pt>
                <c:pt idx="3">
                  <c:v>Av Price/Unit 93.51</c:v>
                </c:pt>
                <c:pt idx="4">
                  <c:v>Av Price/Unit 29.23</c:v>
                </c:pt>
                <c:pt idx="5">
                  <c:v>Av Price/Unit 29.62</c:v>
                </c:pt>
                <c:pt idx="6">
                  <c:v>Av Price/Unit 37.38</c:v>
                </c:pt>
                <c:pt idx="7">
                  <c:v>Av Price/Unit 30.29</c:v>
                </c:pt>
                <c:pt idx="8">
                  <c:v>Av Price/Unit 42.19</c:v>
                </c:pt>
                <c:pt idx="9">
                  <c:v>Av Price/Unit 30.68</c:v>
                </c:pt>
                <c:pt idx="10">
                  <c:v>Av Price/Unit 29.39</c:v>
                </c:pt>
                <c:pt idx="11">
                  <c:v>Av Price/Unit 45.46</c:v>
                </c:pt>
              </c:strCache>
            </c:strRef>
          </c:cat>
          <c:val>
            <c:numRef>
              <c:f>Sheet1!$E$2:$E$13</c:f>
              <c:numCache>
                <c:formatCode>General</c:formatCode>
                <c:ptCount val="12"/>
                <c:pt idx="0">
                  <c:v>9.0046386401972196</c:v>
                </c:pt>
                <c:pt idx="1">
                  <c:v>3.5537951818683085</c:v>
                </c:pt>
                <c:pt idx="2">
                  <c:v>7.6852180077986425</c:v>
                </c:pt>
                <c:pt idx="3">
                  <c:v>15.584347826086956</c:v>
                </c:pt>
                <c:pt idx="4">
                  <c:v>4.8720773023699655</c:v>
                </c:pt>
                <c:pt idx="5">
                  <c:v>4.9364900570157175</c:v>
                </c:pt>
                <c:pt idx="6">
                  <c:v>6.2302864107251636</c:v>
                </c:pt>
                <c:pt idx="7">
                  <c:v>5.0479218828242338</c:v>
                </c:pt>
                <c:pt idx="8">
                  <c:v>7.0322208228379495</c:v>
                </c:pt>
                <c:pt idx="9">
                  <c:v>5.1136083201128129</c:v>
                </c:pt>
                <c:pt idx="10">
                  <c:v>4.8984329915212834</c:v>
                </c:pt>
                <c:pt idx="11">
                  <c:v>7.576535750251760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17</c:v>
                </c:pt>
                <c:pt idx="1">
                  <c:v>Av Price/Unit 21.25</c:v>
                </c:pt>
                <c:pt idx="2">
                  <c:v>Av Price/Unit 45.66</c:v>
                </c:pt>
                <c:pt idx="3">
                  <c:v>Av Price/Unit 93.25</c:v>
                </c:pt>
                <c:pt idx="4">
                  <c:v>Av Price/Unit 41.84</c:v>
                </c:pt>
                <c:pt idx="5">
                  <c:v>Av Price/Unit 29.28</c:v>
                </c:pt>
                <c:pt idx="6">
                  <c:v>Av Price/Unit 29.62</c:v>
                </c:pt>
                <c:pt idx="7">
                  <c:v>Av Price/Unit 36.99</c:v>
                </c:pt>
                <c:pt idx="8">
                  <c:v>Av Price/Unit 30.37</c:v>
                </c:pt>
                <c:pt idx="9">
                  <c:v>Av Price/Unit 29.93</c:v>
                </c:pt>
                <c:pt idx="10">
                  <c:v>Av Price/Unit 28.98</c:v>
                </c:pt>
                <c:pt idx="11">
                  <c:v>Av Price/Unit 60.44</c:v>
                </c:pt>
              </c:strCache>
            </c:strRef>
          </c:cat>
          <c:val>
            <c:numRef>
              <c:f>Sheet1!$B$2:$B$13</c:f>
              <c:numCache>
                <c:formatCode>General</c:formatCode>
                <c:ptCount val="12"/>
                <c:pt idx="0">
                  <c:v>18.187811118575745</c:v>
                </c:pt>
                <c:pt idx="1">
                  <c:v>3.6027289671948379</c:v>
                </c:pt>
                <c:pt idx="2">
                  <c:v>15.860385651629073</c:v>
                </c:pt>
                <c:pt idx="3">
                  <c:v>29.950301491795123</c:v>
                </c:pt>
                <c:pt idx="4">
                  <c:v>14.702096774193549</c:v>
                </c:pt>
                <c:pt idx="5">
                  <c:v>10.041612713983458</c:v>
                </c:pt>
                <c:pt idx="6">
                  <c:v>10.72252910372608</c:v>
                </c:pt>
                <c:pt idx="7">
                  <c:v>12.780006652959319</c:v>
                </c:pt>
                <c:pt idx="8">
                  <c:v>11.304310708310098</c:v>
                </c:pt>
                <c:pt idx="9">
                  <c:v>11.443250158730159</c:v>
                </c:pt>
                <c:pt idx="10">
                  <c:v>11.121288888888889</c:v>
                </c:pt>
                <c:pt idx="11">
                  <c:v>20.12156973684210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17</c:v>
                </c:pt>
                <c:pt idx="1">
                  <c:v>Av Price/Unit 21.25</c:v>
                </c:pt>
                <c:pt idx="2">
                  <c:v>Av Price/Unit 45.66</c:v>
                </c:pt>
                <c:pt idx="3">
                  <c:v>Av Price/Unit 93.25</c:v>
                </c:pt>
                <c:pt idx="4">
                  <c:v>Av Price/Unit 41.84</c:v>
                </c:pt>
                <c:pt idx="5">
                  <c:v>Av Price/Unit 29.28</c:v>
                </c:pt>
                <c:pt idx="6">
                  <c:v>Av Price/Unit 29.62</c:v>
                </c:pt>
                <c:pt idx="7">
                  <c:v>Av Price/Unit 36.99</c:v>
                </c:pt>
                <c:pt idx="8">
                  <c:v>Av Price/Unit 30.37</c:v>
                </c:pt>
                <c:pt idx="9">
                  <c:v>Av Price/Unit 29.93</c:v>
                </c:pt>
                <c:pt idx="10">
                  <c:v>Av Price/Unit 28.98</c:v>
                </c:pt>
                <c:pt idx="11">
                  <c:v>Av Price/Unit 60.44</c:v>
                </c:pt>
              </c:strCache>
            </c:strRef>
          </c:cat>
          <c:val>
            <c:numRef>
              <c:f>Sheet1!$C$2:$C$13</c:f>
              <c:numCache>
                <c:formatCode>General</c:formatCode>
                <c:ptCount val="12"/>
                <c:pt idx="0">
                  <c:v>27.852558784010746</c:v>
                </c:pt>
                <c:pt idx="1">
                  <c:v>13.405856012027433</c:v>
                </c:pt>
                <c:pt idx="2">
                  <c:v>22.313677443609023</c:v>
                </c:pt>
                <c:pt idx="3">
                  <c:v>47.842844356041773</c:v>
                </c:pt>
                <c:pt idx="4">
                  <c:v>20.570258064516128</c:v>
                </c:pt>
                <c:pt idx="5">
                  <c:v>15.336995018272741</c:v>
                </c:pt>
                <c:pt idx="6">
                  <c:v>14.219792467270896</c:v>
                </c:pt>
                <c:pt idx="7">
                  <c:v>18.345520678513729</c:v>
                </c:pt>
                <c:pt idx="8">
                  <c:v>13.902699525934187</c:v>
                </c:pt>
                <c:pt idx="9">
                  <c:v>14.096640952380952</c:v>
                </c:pt>
                <c:pt idx="10">
                  <c:v>13.884033333333333</c:v>
                </c:pt>
                <c:pt idx="11">
                  <c:v>29.20541250000000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17</c:v>
                </c:pt>
                <c:pt idx="1">
                  <c:v>Av Price/Unit 21.25</c:v>
                </c:pt>
                <c:pt idx="2">
                  <c:v>Av Price/Unit 45.66</c:v>
                </c:pt>
                <c:pt idx="3">
                  <c:v>Av Price/Unit 93.25</c:v>
                </c:pt>
                <c:pt idx="4">
                  <c:v>Av Price/Unit 41.84</c:v>
                </c:pt>
                <c:pt idx="5">
                  <c:v>Av Price/Unit 29.28</c:v>
                </c:pt>
                <c:pt idx="6">
                  <c:v>Av Price/Unit 29.62</c:v>
                </c:pt>
                <c:pt idx="7">
                  <c:v>Av Price/Unit 36.99</c:v>
                </c:pt>
                <c:pt idx="8">
                  <c:v>Av Price/Unit 30.37</c:v>
                </c:pt>
                <c:pt idx="9">
                  <c:v>Av Price/Unit 29.93</c:v>
                </c:pt>
                <c:pt idx="10">
                  <c:v>Av Price/Unit 28.98</c:v>
                </c:pt>
                <c:pt idx="11">
                  <c:v>Av Price/Unit 60.44</c:v>
                </c:pt>
              </c:strCache>
            </c:strRef>
          </c:cat>
          <c:val>
            <c:numRef>
              <c:f>Sheet1!$D$2:$D$13</c:f>
              <c:numCache>
                <c:formatCode>General</c:formatCode>
                <c:ptCount val="12"/>
                <c:pt idx="0">
                  <c:v>-0.89958746127719991</c:v>
                </c:pt>
                <c:pt idx="1">
                  <c:v>0.6986010743606208</c:v>
                </c:pt>
                <c:pt idx="2">
                  <c:v>-0.12383970044157877</c:v>
                </c:pt>
                <c:pt idx="3">
                  <c:v>-8.2222592408413675E-2</c:v>
                </c:pt>
                <c:pt idx="4">
                  <c:v>-0.40806416926811551</c:v>
                </c:pt>
                <c:pt idx="5">
                  <c:v>-0.97559753798807591</c:v>
                </c:pt>
                <c:pt idx="6">
                  <c:v>-0.26083728432359976</c:v>
                </c:pt>
                <c:pt idx="7">
                  <c:v>-0.29855812405149607</c:v>
                </c:pt>
                <c:pt idx="8">
                  <c:v>0.10101635062279257</c:v>
                </c:pt>
                <c:pt idx="9">
                  <c:v>-0.59436441558441899</c:v>
                </c:pt>
                <c:pt idx="10">
                  <c:v>-0.85232956711985253</c:v>
                </c:pt>
                <c:pt idx="11">
                  <c:v>1.038775908521309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17</c:v>
                </c:pt>
                <c:pt idx="1">
                  <c:v>Av Price/Unit 21.25</c:v>
                </c:pt>
                <c:pt idx="2">
                  <c:v>Av Price/Unit 45.66</c:v>
                </c:pt>
                <c:pt idx="3">
                  <c:v>Av Price/Unit 93.25</c:v>
                </c:pt>
                <c:pt idx="4">
                  <c:v>Av Price/Unit 41.84</c:v>
                </c:pt>
                <c:pt idx="5">
                  <c:v>Av Price/Unit 29.28</c:v>
                </c:pt>
                <c:pt idx="6">
                  <c:v>Av Price/Unit 29.62</c:v>
                </c:pt>
                <c:pt idx="7">
                  <c:v>Av Price/Unit 36.99</c:v>
                </c:pt>
                <c:pt idx="8">
                  <c:v>Av Price/Unit 30.37</c:v>
                </c:pt>
                <c:pt idx="9">
                  <c:v>Av Price/Unit 29.93</c:v>
                </c:pt>
                <c:pt idx="10">
                  <c:v>Av Price/Unit 28.98</c:v>
                </c:pt>
                <c:pt idx="11">
                  <c:v>Av Price/Unit 60.44</c:v>
                </c:pt>
              </c:strCache>
            </c:strRef>
          </c:cat>
          <c:val>
            <c:numRef>
              <c:f>Sheet1!$E$2:$E$13</c:f>
              <c:numCache>
                <c:formatCode>General</c:formatCode>
                <c:ptCount val="12"/>
                <c:pt idx="0">
                  <c:v>9.0281510095920527</c:v>
                </c:pt>
                <c:pt idx="1">
                  <c:v>3.5414372107165764</c:v>
                </c:pt>
                <c:pt idx="2">
                  <c:v>7.6100369972550403</c:v>
                </c:pt>
                <c:pt idx="3">
                  <c:v>15.5421846510857</c:v>
                </c:pt>
                <c:pt idx="4">
                  <c:v>6.972858133888308</c:v>
                </c:pt>
                <c:pt idx="5">
                  <c:v>4.8806020388536258</c:v>
                </c:pt>
                <c:pt idx="6">
                  <c:v>4.9362873447465576</c:v>
                </c:pt>
                <c:pt idx="7">
                  <c:v>6.1653938414843088</c:v>
                </c:pt>
                <c:pt idx="8">
                  <c:v>5.0616053169734121</c:v>
                </c:pt>
                <c:pt idx="9">
                  <c:v>4.9891053391053388</c:v>
                </c:pt>
                <c:pt idx="10">
                  <c:v>4.8305985310204678</c:v>
                </c:pt>
                <c:pt idx="11">
                  <c:v>10.07315162907268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8</c:v>
                </c:pt>
                <c:pt idx="1">
                  <c:v>Av Price/Unit 21.32</c:v>
                </c:pt>
                <c:pt idx="2">
                  <c:v>Av Price/Unit 46.08</c:v>
                </c:pt>
                <c:pt idx="3">
                  <c:v>Av Price/Unit 29.32</c:v>
                </c:pt>
                <c:pt idx="4">
                  <c:v>Av Price/Unit 93.45</c:v>
                </c:pt>
                <c:pt idx="5">
                  <c:v>Av Price/Unit 29.66</c:v>
                </c:pt>
                <c:pt idx="6">
                  <c:v>Av Price/Unit 42.17</c:v>
                </c:pt>
                <c:pt idx="7">
                  <c:v>Av Price/Unit 37.17</c:v>
                </c:pt>
                <c:pt idx="8">
                  <c:v>Av Price/Unit 30.17</c:v>
                </c:pt>
                <c:pt idx="9">
                  <c:v>Av Price/Unit 30.45</c:v>
                </c:pt>
                <c:pt idx="10">
                  <c:v>Av Price/Unit 29.15</c:v>
                </c:pt>
                <c:pt idx="11">
                  <c:v>Av Price/Unit 45.45</c:v>
                </c:pt>
              </c:strCache>
            </c:strRef>
          </c:cat>
          <c:val>
            <c:numRef>
              <c:f>Sheet1!$B$2:$B$13</c:f>
              <c:numCache>
                <c:formatCode>General</c:formatCode>
                <c:ptCount val="12"/>
                <c:pt idx="0">
                  <c:v>18.186456707247693</c:v>
                </c:pt>
                <c:pt idx="1">
                  <c:v>3.6010738107850409</c:v>
                </c:pt>
                <c:pt idx="2">
                  <c:v>15.85064746720173</c:v>
                </c:pt>
                <c:pt idx="3">
                  <c:v>10.075775032754201</c:v>
                </c:pt>
                <c:pt idx="4">
                  <c:v>30.069014140761926</c:v>
                </c:pt>
                <c:pt idx="5">
                  <c:v>10.710940945674043</c:v>
                </c:pt>
                <c:pt idx="6">
                  <c:v>14.624497382836275</c:v>
                </c:pt>
                <c:pt idx="7">
                  <c:v>12.78107721127849</c:v>
                </c:pt>
                <c:pt idx="8">
                  <c:v>11.442031177143825</c:v>
                </c:pt>
                <c:pt idx="9">
                  <c:v>11.294494046495666</c:v>
                </c:pt>
                <c:pt idx="10">
                  <c:v>11.121067275510205</c:v>
                </c:pt>
                <c:pt idx="11">
                  <c:v>15.07983681062033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8</c:v>
                </c:pt>
                <c:pt idx="1">
                  <c:v>Av Price/Unit 21.32</c:v>
                </c:pt>
                <c:pt idx="2">
                  <c:v>Av Price/Unit 46.08</c:v>
                </c:pt>
                <c:pt idx="3">
                  <c:v>Av Price/Unit 29.32</c:v>
                </c:pt>
                <c:pt idx="4">
                  <c:v>Av Price/Unit 93.45</c:v>
                </c:pt>
                <c:pt idx="5">
                  <c:v>Av Price/Unit 29.66</c:v>
                </c:pt>
                <c:pt idx="6">
                  <c:v>Av Price/Unit 42.17</c:v>
                </c:pt>
                <c:pt idx="7">
                  <c:v>Av Price/Unit 37.17</c:v>
                </c:pt>
                <c:pt idx="8">
                  <c:v>Av Price/Unit 30.17</c:v>
                </c:pt>
                <c:pt idx="9">
                  <c:v>Av Price/Unit 30.45</c:v>
                </c:pt>
                <c:pt idx="10">
                  <c:v>Av Price/Unit 29.15</c:v>
                </c:pt>
                <c:pt idx="11">
                  <c:v>Av Price/Unit 45.45</c:v>
                </c:pt>
              </c:strCache>
            </c:strRef>
          </c:cat>
          <c:val>
            <c:numRef>
              <c:f>Sheet1!$C$2:$C$13</c:f>
              <c:numCache>
                <c:formatCode>General</c:formatCode>
                <c:ptCount val="12"/>
                <c:pt idx="0">
                  <c:v>27.856765855046081</c:v>
                </c:pt>
                <c:pt idx="1">
                  <c:v>13.408466698449693</c:v>
                </c:pt>
                <c:pt idx="2">
                  <c:v>22.31419552400062</c:v>
                </c:pt>
                <c:pt idx="3">
                  <c:v>15.296791187695813</c:v>
                </c:pt>
                <c:pt idx="4">
                  <c:v>47.784625311318145</c:v>
                </c:pt>
                <c:pt idx="5">
                  <c:v>14.226450591786008</c:v>
                </c:pt>
                <c:pt idx="6">
                  <c:v>20.56733361112412</c:v>
                </c:pt>
                <c:pt idx="7">
                  <c:v>18.345168366164543</c:v>
                </c:pt>
                <c:pt idx="8">
                  <c:v>14.095354486880591</c:v>
                </c:pt>
                <c:pt idx="9">
                  <c:v>13.904633078836751</c:v>
                </c:pt>
                <c:pt idx="10">
                  <c:v>13.883748367346939</c:v>
                </c:pt>
                <c:pt idx="11">
                  <c:v>22.26825975579775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8</c:v>
                </c:pt>
                <c:pt idx="1">
                  <c:v>Av Price/Unit 21.32</c:v>
                </c:pt>
                <c:pt idx="2">
                  <c:v>Av Price/Unit 46.08</c:v>
                </c:pt>
                <c:pt idx="3">
                  <c:v>Av Price/Unit 29.32</c:v>
                </c:pt>
                <c:pt idx="4">
                  <c:v>Av Price/Unit 93.45</c:v>
                </c:pt>
                <c:pt idx="5">
                  <c:v>Av Price/Unit 29.66</c:v>
                </c:pt>
                <c:pt idx="6">
                  <c:v>Av Price/Unit 42.17</c:v>
                </c:pt>
                <c:pt idx="7">
                  <c:v>Av Price/Unit 37.17</c:v>
                </c:pt>
                <c:pt idx="8">
                  <c:v>Av Price/Unit 30.17</c:v>
                </c:pt>
                <c:pt idx="9">
                  <c:v>Av Price/Unit 30.45</c:v>
                </c:pt>
                <c:pt idx="10">
                  <c:v>Av Price/Unit 29.15</c:v>
                </c:pt>
                <c:pt idx="11">
                  <c:v>Av Price/Unit 45.45</c:v>
                </c:pt>
              </c:strCache>
            </c:strRef>
          </c:cat>
          <c:val>
            <c:numRef>
              <c:f>Sheet1!$D$2:$D$13</c:f>
              <c:numCache>
                <c:formatCode>General</c:formatCode>
                <c:ptCount val="12"/>
                <c:pt idx="0">
                  <c:v>-1.0600568488388191</c:v>
                </c:pt>
                <c:pt idx="1">
                  <c:v>0.75855521653658897</c:v>
                </c:pt>
                <c:pt idx="2">
                  <c:v>0.23283735967484631</c:v>
                </c:pt>
                <c:pt idx="3">
                  <c:v>-0.94303522263362538</c:v>
                </c:pt>
                <c:pt idx="4">
                  <c:v>1.8635553300754282E-2</c:v>
                </c:pt>
                <c:pt idx="5">
                  <c:v>-0.22455560914506023</c:v>
                </c:pt>
                <c:pt idx="6">
                  <c:v>-4.6146895141781386E-2</c:v>
                </c:pt>
                <c:pt idx="7">
                  <c:v>-0.14949922893152845</c:v>
                </c:pt>
                <c:pt idx="8">
                  <c:v>-0.39926802029022213</c:v>
                </c:pt>
                <c:pt idx="9">
                  <c:v>0.17182309056074985</c:v>
                </c:pt>
                <c:pt idx="10">
                  <c:v>-0.71348911224489697</c:v>
                </c:pt>
                <c:pt idx="11">
                  <c:v>0.5285867628178877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8</c:v>
                </c:pt>
                <c:pt idx="1">
                  <c:v>Av Price/Unit 21.32</c:v>
                </c:pt>
                <c:pt idx="2">
                  <c:v>Av Price/Unit 46.08</c:v>
                </c:pt>
                <c:pt idx="3">
                  <c:v>Av Price/Unit 29.32</c:v>
                </c:pt>
                <c:pt idx="4">
                  <c:v>Av Price/Unit 93.45</c:v>
                </c:pt>
                <c:pt idx="5">
                  <c:v>Av Price/Unit 29.66</c:v>
                </c:pt>
                <c:pt idx="6">
                  <c:v>Av Price/Unit 42.17</c:v>
                </c:pt>
                <c:pt idx="7">
                  <c:v>Av Price/Unit 37.17</c:v>
                </c:pt>
                <c:pt idx="8">
                  <c:v>Av Price/Unit 30.17</c:v>
                </c:pt>
                <c:pt idx="9">
                  <c:v>Av Price/Unit 30.45</c:v>
                </c:pt>
                <c:pt idx="10">
                  <c:v>Av Price/Unit 29.15</c:v>
                </c:pt>
                <c:pt idx="11">
                  <c:v>Av Price/Unit 45.45</c:v>
                </c:pt>
              </c:strCache>
            </c:strRef>
          </c:cat>
          <c:val>
            <c:numRef>
              <c:f>Sheet1!$E$2:$E$13</c:f>
              <c:numCache>
                <c:formatCode>General</c:formatCode>
                <c:ptCount val="12"/>
                <c:pt idx="0">
                  <c:v>8.996627729105823</c:v>
                </c:pt>
                <c:pt idx="1">
                  <c:v>3.5536191451542654</c:v>
                </c:pt>
                <c:pt idx="2">
                  <c:v>7.6795287338581035</c:v>
                </c:pt>
                <c:pt idx="3">
                  <c:v>4.8859061995632791</c:v>
                </c:pt>
                <c:pt idx="4">
                  <c:v>15.574455001076158</c:v>
                </c:pt>
                <c:pt idx="5">
                  <c:v>4.9425573046119808</c:v>
                </c:pt>
                <c:pt idx="6">
                  <c:v>7.0291368197637185</c:v>
                </c:pt>
                <c:pt idx="7">
                  <c:v>6.1953492697023034</c:v>
                </c:pt>
                <c:pt idx="8">
                  <c:v>5.0276235287468367</c:v>
                </c:pt>
                <c:pt idx="9">
                  <c:v>5.074190043178632</c:v>
                </c:pt>
                <c:pt idx="10">
                  <c:v>4.8582653061224459</c:v>
                </c:pt>
                <c:pt idx="11">
                  <c:v>7.575336665847194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4</c:v>
                </c:pt>
                <c:pt idx="1">
                  <c:v>Av Price/Unit 21.28</c:v>
                </c:pt>
                <c:pt idx="2">
                  <c:v>Av Price/Unit 46.06</c:v>
                </c:pt>
                <c:pt idx="3">
                  <c:v>Av Price/Unit 93.47</c:v>
                </c:pt>
                <c:pt idx="4">
                  <c:v>Av Price/Unit 29.27</c:v>
                </c:pt>
                <c:pt idx="5">
                  <c:v>Av Price/Unit 29.60</c:v>
                </c:pt>
                <c:pt idx="6">
                  <c:v>Av Price/Unit 42.05</c:v>
                </c:pt>
                <c:pt idx="7">
                  <c:v>Av Price/Unit 37.16</c:v>
                </c:pt>
                <c:pt idx="8">
                  <c:v>Av Price/Unit 30.10</c:v>
                </c:pt>
                <c:pt idx="9">
                  <c:v>Av Price/Unit 30.45</c:v>
                </c:pt>
                <c:pt idx="10">
                  <c:v>Av Price/Unit 98.09</c:v>
                </c:pt>
                <c:pt idx="11">
                  <c:v>Av Price/Unit 29.12</c:v>
                </c:pt>
              </c:strCache>
            </c:strRef>
          </c:cat>
          <c:val>
            <c:numRef>
              <c:f>Sheet1!$B$2:$B$13</c:f>
              <c:numCache>
                <c:formatCode>General</c:formatCode>
                <c:ptCount val="12"/>
                <c:pt idx="0">
                  <c:v>18.183700159560466</c:v>
                </c:pt>
                <c:pt idx="1">
                  <c:v>3.6043271779713746</c:v>
                </c:pt>
                <c:pt idx="2">
                  <c:v>15.840063378110232</c:v>
                </c:pt>
                <c:pt idx="3">
                  <c:v>30.081258966520679</c:v>
                </c:pt>
                <c:pt idx="4">
                  <c:v>10.084361500783702</c:v>
                </c:pt>
                <c:pt idx="5">
                  <c:v>10.723691123038812</c:v>
                </c:pt>
                <c:pt idx="6">
                  <c:v>14.644514153224035</c:v>
                </c:pt>
                <c:pt idx="7">
                  <c:v>12.784544722280884</c:v>
                </c:pt>
                <c:pt idx="8">
                  <c:v>11.443937414565607</c:v>
                </c:pt>
                <c:pt idx="9">
                  <c:v>11.320845365343633</c:v>
                </c:pt>
                <c:pt idx="10">
                  <c:v>31.672391755793221</c:v>
                </c:pt>
                <c:pt idx="11">
                  <c:v>11.10519049056074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4</c:v>
                </c:pt>
                <c:pt idx="1">
                  <c:v>Av Price/Unit 21.28</c:v>
                </c:pt>
                <c:pt idx="2">
                  <c:v>Av Price/Unit 46.06</c:v>
                </c:pt>
                <c:pt idx="3">
                  <c:v>Av Price/Unit 93.47</c:v>
                </c:pt>
                <c:pt idx="4">
                  <c:v>Av Price/Unit 29.27</c:v>
                </c:pt>
                <c:pt idx="5">
                  <c:v>Av Price/Unit 29.60</c:v>
                </c:pt>
                <c:pt idx="6">
                  <c:v>Av Price/Unit 42.05</c:v>
                </c:pt>
                <c:pt idx="7">
                  <c:v>Av Price/Unit 37.16</c:v>
                </c:pt>
                <c:pt idx="8">
                  <c:v>Av Price/Unit 30.10</c:v>
                </c:pt>
                <c:pt idx="9">
                  <c:v>Av Price/Unit 30.45</c:v>
                </c:pt>
                <c:pt idx="10">
                  <c:v>Av Price/Unit 98.09</c:v>
                </c:pt>
                <c:pt idx="11">
                  <c:v>Av Price/Unit 29.12</c:v>
                </c:pt>
              </c:strCache>
            </c:strRef>
          </c:cat>
          <c:val>
            <c:numRef>
              <c:f>Sheet1!$C$2:$C$13</c:f>
              <c:numCache>
                <c:formatCode>General</c:formatCode>
                <c:ptCount val="12"/>
                <c:pt idx="0">
                  <c:v>27.865328240557965</c:v>
                </c:pt>
                <c:pt idx="1">
                  <c:v>13.403335146235221</c:v>
                </c:pt>
                <c:pt idx="2">
                  <c:v>22.314758607300391</c:v>
                </c:pt>
                <c:pt idx="3">
                  <c:v>47.778620205167385</c:v>
                </c:pt>
                <c:pt idx="4">
                  <c:v>15.286686226489023</c:v>
                </c:pt>
                <c:pt idx="5">
                  <c:v>14.219124814203139</c:v>
                </c:pt>
                <c:pt idx="6">
                  <c:v>20.568087974154992</c:v>
                </c:pt>
                <c:pt idx="7">
                  <c:v>18.344027235480464</c:v>
                </c:pt>
                <c:pt idx="8">
                  <c:v>14.097366255315915</c:v>
                </c:pt>
                <c:pt idx="9">
                  <c:v>13.899442753448351</c:v>
                </c:pt>
                <c:pt idx="10">
                  <c:v>49.774545306001166</c:v>
                </c:pt>
                <c:pt idx="11">
                  <c:v>13.86333288651835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4</c:v>
                </c:pt>
                <c:pt idx="1">
                  <c:v>Av Price/Unit 21.28</c:v>
                </c:pt>
                <c:pt idx="2">
                  <c:v>Av Price/Unit 46.06</c:v>
                </c:pt>
                <c:pt idx="3">
                  <c:v>Av Price/Unit 93.47</c:v>
                </c:pt>
                <c:pt idx="4">
                  <c:v>Av Price/Unit 29.27</c:v>
                </c:pt>
                <c:pt idx="5">
                  <c:v>Av Price/Unit 29.60</c:v>
                </c:pt>
                <c:pt idx="6">
                  <c:v>Av Price/Unit 42.05</c:v>
                </c:pt>
                <c:pt idx="7">
                  <c:v>Av Price/Unit 37.16</c:v>
                </c:pt>
                <c:pt idx="8">
                  <c:v>Av Price/Unit 30.10</c:v>
                </c:pt>
                <c:pt idx="9">
                  <c:v>Av Price/Unit 30.45</c:v>
                </c:pt>
                <c:pt idx="10">
                  <c:v>Av Price/Unit 98.09</c:v>
                </c:pt>
                <c:pt idx="11">
                  <c:v>Av Price/Unit 29.12</c:v>
                </c:pt>
              </c:strCache>
            </c:strRef>
          </c:cat>
          <c:val>
            <c:numRef>
              <c:f>Sheet1!$D$2:$D$13</c:f>
              <c:numCache>
                <c:formatCode>General</c:formatCode>
                <c:ptCount val="12"/>
                <c:pt idx="0">
                  <c:v>-1.0128061683006564</c:v>
                </c:pt>
                <c:pt idx="1">
                  <c:v>0.72432187685818405</c:v>
                </c:pt>
                <c:pt idx="2">
                  <c:v>0.23010382721160738</c:v>
                </c:pt>
                <c:pt idx="3">
                  <c:v>3.0541450868554421E-2</c:v>
                </c:pt>
                <c:pt idx="4">
                  <c:v>-0.98256623749813343</c:v>
                </c:pt>
                <c:pt idx="5">
                  <c:v>-0.27570375624238608</c:v>
                </c:pt>
                <c:pt idx="6">
                  <c:v>-0.17256725711689569</c:v>
                </c:pt>
                <c:pt idx="7">
                  <c:v>-0.15780462231608539</c:v>
                </c:pt>
                <c:pt idx="8">
                  <c:v>-0.45816335497671901</c:v>
                </c:pt>
                <c:pt idx="9">
                  <c:v>0.1571532023699298</c:v>
                </c:pt>
                <c:pt idx="10">
                  <c:v>0.29375416419092915</c:v>
                </c:pt>
                <c:pt idx="11">
                  <c:v>-0.7051052814622487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4</c:v>
                </c:pt>
                <c:pt idx="1">
                  <c:v>Av Price/Unit 21.28</c:v>
                </c:pt>
                <c:pt idx="2">
                  <c:v>Av Price/Unit 46.06</c:v>
                </c:pt>
                <c:pt idx="3">
                  <c:v>Av Price/Unit 93.47</c:v>
                </c:pt>
                <c:pt idx="4">
                  <c:v>Av Price/Unit 29.27</c:v>
                </c:pt>
                <c:pt idx="5">
                  <c:v>Av Price/Unit 29.60</c:v>
                </c:pt>
                <c:pt idx="6">
                  <c:v>Av Price/Unit 42.05</c:v>
                </c:pt>
                <c:pt idx="7">
                  <c:v>Av Price/Unit 37.16</c:v>
                </c:pt>
                <c:pt idx="8">
                  <c:v>Av Price/Unit 30.10</c:v>
                </c:pt>
                <c:pt idx="9">
                  <c:v>Av Price/Unit 30.45</c:v>
                </c:pt>
                <c:pt idx="10">
                  <c:v>Av Price/Unit 98.09</c:v>
                </c:pt>
                <c:pt idx="11">
                  <c:v>Av Price/Unit 29.12</c:v>
                </c:pt>
              </c:strCache>
            </c:strRef>
          </c:cat>
          <c:val>
            <c:numRef>
              <c:f>Sheet1!$E$2:$E$13</c:f>
              <c:numCache>
                <c:formatCode>General</c:formatCode>
                <c:ptCount val="12"/>
                <c:pt idx="0">
                  <c:v>9.0072391652410282</c:v>
                </c:pt>
                <c:pt idx="1">
                  <c:v>3.5463968402129611</c:v>
                </c:pt>
                <c:pt idx="2">
                  <c:v>7.67697820159598</c:v>
                </c:pt>
                <c:pt idx="3">
                  <c:v>15.578084124511358</c:v>
                </c:pt>
                <c:pt idx="4">
                  <c:v>4.8776962979549134</c:v>
                </c:pt>
                <c:pt idx="5">
                  <c:v>4.9334129605599486</c:v>
                </c:pt>
                <c:pt idx="6">
                  <c:v>7.0080069740524209</c:v>
                </c:pt>
                <c:pt idx="7">
                  <c:v>6.1941534670890546</c:v>
                </c:pt>
                <c:pt idx="8">
                  <c:v>5.016628062980967</c:v>
                </c:pt>
                <c:pt idx="9">
                  <c:v>5.0754882642323862</c:v>
                </c:pt>
                <c:pt idx="10">
                  <c:v>16.348138245197063</c:v>
                </c:pt>
                <c:pt idx="11">
                  <c:v>4.852683619123373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86</c:v>
                </c:pt>
                <c:pt idx="1">
                  <c:v>Av Price/Unit 21.20</c:v>
                </c:pt>
                <c:pt idx="2">
                  <c:v>Av Price/Unit 93.58</c:v>
                </c:pt>
                <c:pt idx="3">
                  <c:v>Av Price/Unit 45.92</c:v>
                </c:pt>
                <c:pt idx="4">
                  <c:v>Av Price/Unit 29.41</c:v>
                </c:pt>
                <c:pt idx="5">
                  <c:v>Av Price/Unit 29.14</c:v>
                </c:pt>
                <c:pt idx="6">
                  <c:v>Av Price/Unit 29.94</c:v>
                </c:pt>
                <c:pt idx="7">
                  <c:v>Av Price/Unit 36.69</c:v>
                </c:pt>
                <c:pt idx="8">
                  <c:v>Av Price/Unit 28.53</c:v>
                </c:pt>
                <c:pt idx="9">
                  <c:v>Av Price/Unit 41.63</c:v>
                </c:pt>
                <c:pt idx="10">
                  <c:v>Av Price/Unit 98.01</c:v>
                </c:pt>
                <c:pt idx="11">
                  <c:v>Av Price/Unit 30.28</c:v>
                </c:pt>
              </c:strCache>
            </c:strRef>
          </c:cat>
          <c:val>
            <c:numRef>
              <c:f>Sheet1!$B$2:$B$13</c:f>
              <c:numCache>
                <c:formatCode>General</c:formatCode>
                <c:ptCount val="12"/>
                <c:pt idx="0">
                  <c:v>18.18058296550333</c:v>
                </c:pt>
                <c:pt idx="1">
                  <c:v>3.6054031585779196</c:v>
                </c:pt>
                <c:pt idx="2">
                  <c:v>30.193458782809341</c:v>
                </c:pt>
                <c:pt idx="3">
                  <c:v>15.833393870234348</c:v>
                </c:pt>
                <c:pt idx="4">
                  <c:v>10.724886408213299</c:v>
                </c:pt>
                <c:pt idx="5">
                  <c:v>10.068981396083387</c:v>
                </c:pt>
                <c:pt idx="6">
                  <c:v>11.446588387508983</c:v>
                </c:pt>
                <c:pt idx="7">
                  <c:v>12.796359307211812</c:v>
                </c:pt>
                <c:pt idx="8">
                  <c:v>11.111735131941709</c:v>
                </c:pt>
                <c:pt idx="9">
                  <c:v>14.73626874451273</c:v>
                </c:pt>
                <c:pt idx="10">
                  <c:v>31.741672107438017</c:v>
                </c:pt>
                <c:pt idx="11">
                  <c:v>11.34133554649790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86</c:v>
                </c:pt>
                <c:pt idx="1">
                  <c:v>Av Price/Unit 21.20</c:v>
                </c:pt>
                <c:pt idx="2">
                  <c:v>Av Price/Unit 93.58</c:v>
                </c:pt>
                <c:pt idx="3">
                  <c:v>Av Price/Unit 45.92</c:v>
                </c:pt>
                <c:pt idx="4">
                  <c:v>Av Price/Unit 29.41</c:v>
                </c:pt>
                <c:pt idx="5">
                  <c:v>Av Price/Unit 29.14</c:v>
                </c:pt>
                <c:pt idx="6">
                  <c:v>Av Price/Unit 29.94</c:v>
                </c:pt>
                <c:pt idx="7">
                  <c:v>Av Price/Unit 36.69</c:v>
                </c:pt>
                <c:pt idx="8">
                  <c:v>Av Price/Unit 28.53</c:v>
                </c:pt>
                <c:pt idx="9">
                  <c:v>Av Price/Unit 41.63</c:v>
                </c:pt>
                <c:pt idx="10">
                  <c:v>Av Price/Unit 98.01</c:v>
                </c:pt>
                <c:pt idx="11">
                  <c:v>Av Price/Unit 30.28</c:v>
                </c:pt>
              </c:strCache>
            </c:strRef>
          </c:cat>
          <c:val>
            <c:numRef>
              <c:f>Sheet1!$C$2:$C$13</c:f>
              <c:numCache>
                <c:formatCode>General</c:formatCode>
                <c:ptCount val="12"/>
                <c:pt idx="0">
                  <c:v>27.87501086544281</c:v>
                </c:pt>
                <c:pt idx="1">
                  <c:v>13.401637996682771</c:v>
                </c:pt>
                <c:pt idx="2">
                  <c:v>47.723595183155474</c:v>
                </c:pt>
                <c:pt idx="3">
                  <c:v>22.315113431269676</c:v>
                </c:pt>
                <c:pt idx="4">
                  <c:v>14.218438047808766</c:v>
                </c:pt>
                <c:pt idx="5">
                  <c:v>15.304786260265317</c:v>
                </c:pt>
                <c:pt idx="6">
                  <c:v>14.100163988499322</c:v>
                </c:pt>
                <c:pt idx="7">
                  <c:v>18.340139148211239</c:v>
                </c:pt>
                <c:pt idx="8">
                  <c:v>13.871748444269397</c:v>
                </c:pt>
                <c:pt idx="9">
                  <c:v>20.571545888206032</c:v>
                </c:pt>
                <c:pt idx="10">
                  <c:v>49.74534779614325</c:v>
                </c:pt>
                <c:pt idx="11">
                  <c:v>13.8954068754692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86</c:v>
                </c:pt>
                <c:pt idx="1">
                  <c:v>Av Price/Unit 21.20</c:v>
                </c:pt>
                <c:pt idx="2">
                  <c:v>Av Price/Unit 93.58</c:v>
                </c:pt>
                <c:pt idx="3">
                  <c:v>Av Price/Unit 45.92</c:v>
                </c:pt>
                <c:pt idx="4">
                  <c:v>Av Price/Unit 29.41</c:v>
                </c:pt>
                <c:pt idx="5">
                  <c:v>Av Price/Unit 29.14</c:v>
                </c:pt>
                <c:pt idx="6">
                  <c:v>Av Price/Unit 29.94</c:v>
                </c:pt>
                <c:pt idx="7">
                  <c:v>Av Price/Unit 36.69</c:v>
                </c:pt>
                <c:pt idx="8">
                  <c:v>Av Price/Unit 28.53</c:v>
                </c:pt>
                <c:pt idx="9">
                  <c:v>Av Price/Unit 41.63</c:v>
                </c:pt>
                <c:pt idx="10">
                  <c:v>Av Price/Unit 98.01</c:v>
                </c:pt>
                <c:pt idx="11">
                  <c:v>Av Price/Unit 30.28</c:v>
                </c:pt>
              </c:strCache>
            </c:strRef>
          </c:cat>
          <c:val>
            <c:numRef>
              <c:f>Sheet1!$D$2:$D$13</c:f>
              <c:numCache>
                <c:formatCode>General</c:formatCode>
                <c:ptCount val="12"/>
                <c:pt idx="0">
                  <c:v>-1.1726080505682219</c:v>
                </c:pt>
                <c:pt idx="1">
                  <c:v>0.6632672507872357</c:v>
                </c:pt>
                <c:pt idx="2">
                  <c:v>6.2467233919846876E-2</c:v>
                </c:pt>
                <c:pt idx="3">
                  <c:v>0.12066179899731821</c:v>
                </c:pt>
                <c:pt idx="4">
                  <c:v>-0.43630515629788036</c:v>
                </c:pt>
                <c:pt idx="5">
                  <c:v>-1.0872073278584899</c:v>
                </c:pt>
                <c:pt idx="6">
                  <c:v>-0.59340732902057525</c:v>
                </c:pt>
                <c:pt idx="7">
                  <c:v>-0.56400176793488654</c:v>
                </c:pt>
                <c:pt idx="8">
                  <c:v>-1.2059957200997786</c:v>
                </c:pt>
                <c:pt idx="9">
                  <c:v>-0.61424815139986322</c:v>
                </c:pt>
                <c:pt idx="10">
                  <c:v>0.18595989439855032</c:v>
                </c:pt>
                <c:pt idx="11">
                  <c:v>-7.0238049268880332E-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86</c:v>
                </c:pt>
                <c:pt idx="1">
                  <c:v>Av Price/Unit 21.20</c:v>
                </c:pt>
                <c:pt idx="2">
                  <c:v>Av Price/Unit 93.58</c:v>
                </c:pt>
                <c:pt idx="3">
                  <c:v>Av Price/Unit 45.92</c:v>
                </c:pt>
                <c:pt idx="4">
                  <c:v>Av Price/Unit 29.41</c:v>
                </c:pt>
                <c:pt idx="5">
                  <c:v>Av Price/Unit 29.14</c:v>
                </c:pt>
                <c:pt idx="6">
                  <c:v>Av Price/Unit 29.94</c:v>
                </c:pt>
                <c:pt idx="7">
                  <c:v>Av Price/Unit 36.69</c:v>
                </c:pt>
                <c:pt idx="8">
                  <c:v>Av Price/Unit 28.53</c:v>
                </c:pt>
                <c:pt idx="9">
                  <c:v>Av Price/Unit 41.63</c:v>
                </c:pt>
                <c:pt idx="10">
                  <c:v>Av Price/Unit 98.01</c:v>
                </c:pt>
                <c:pt idx="11">
                  <c:v>Av Price/Unit 30.28</c:v>
                </c:pt>
              </c:strCache>
            </c:strRef>
          </c:cat>
          <c:val>
            <c:numRef>
              <c:f>Sheet1!$E$2:$E$13</c:f>
              <c:numCache>
                <c:formatCode>General</c:formatCode>
                <c:ptCount val="12"/>
                <c:pt idx="0">
                  <c:v>8.9765920247461466</c:v>
                </c:pt>
                <c:pt idx="1">
                  <c:v>3.5340616812095864</c:v>
                </c:pt>
                <c:pt idx="2">
                  <c:v>15.595904239976925</c:v>
                </c:pt>
                <c:pt idx="3">
                  <c:v>7.6538270957211116</c:v>
                </c:pt>
                <c:pt idx="4">
                  <c:v>4.9013944223107568</c:v>
                </c:pt>
                <c:pt idx="5">
                  <c:v>4.8573120656980375</c:v>
                </c:pt>
                <c:pt idx="6">
                  <c:v>4.9906690093975428</c:v>
                </c:pt>
                <c:pt idx="7">
                  <c:v>6.1144993374976364</c:v>
                </c:pt>
                <c:pt idx="8">
                  <c:v>4.7554975712222642</c:v>
                </c:pt>
                <c:pt idx="9">
                  <c:v>6.9387132962637779</c:v>
                </c:pt>
                <c:pt idx="10">
                  <c:v>16.334595959595948</c:v>
                </c:pt>
                <c:pt idx="11">
                  <c:v>5.0459437234080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rgbClr val="FF808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00E8AA28-90A6-4EF6-9753-438D44CEB0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B98F9D1-79C8-4DFF-9956-F867D08C79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6A668169-5BC7-43FB-823E-18AA1EBA66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ADF35AAE-8574-44F6-966C-18F2D29B98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97CF392-C9D4-4732-83A0-C9B11C3304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3283D1F-387D-42C5-A081-0DF6BF5CDF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46E1677D-1A44-4EB8-986F-E0E2C3D02F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BE8018CF-90B5-425C-97B1-01D471E3C6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71.6935</c:v>
                </c:pt>
                <c:pt idx="1">
                  <c:v>144.6712</c:v>
                </c:pt>
                <c:pt idx="2">
                  <c:v>132.28749999999999</c:v>
                </c:pt>
                <c:pt idx="3">
                  <c:v>157.70259999999999</c:v>
                </c:pt>
                <c:pt idx="4">
                  <c:v>133.13310000000001</c:v>
                </c:pt>
              </c:numCache>
            </c:numRef>
          </c:xVal>
          <c:yVal>
            <c:numRef>
              <c:f>Sheet1!$B$2:$B$6</c:f>
              <c:numCache>
                <c:formatCode>General</c:formatCode>
                <c:ptCount val="5"/>
                <c:pt idx="0">
                  <c:v>0.37390000000000001</c:v>
                </c:pt>
                <c:pt idx="1">
                  <c:v>0.37440000000000001</c:v>
                </c:pt>
                <c:pt idx="2">
                  <c:v>0.38350000000000001</c:v>
                </c:pt>
                <c:pt idx="3">
                  <c:v>0.37009999999999998</c:v>
                </c:pt>
                <c:pt idx="4">
                  <c:v>0.37959999999999999</c:v>
                </c:pt>
              </c:numCache>
            </c:numRef>
          </c:yVal>
          <c:bubbleSize>
            <c:numRef>
              <c:f>Sheet1!$C$2:$C$6</c:f>
              <c:numCache>
                <c:formatCode>General</c:formatCode>
                <c:ptCount val="5"/>
                <c:pt idx="0">
                  <c:v>230584.36370000019</c:v>
                </c:pt>
                <c:pt idx="1">
                  <c:v>123115.18150000001</c:v>
                </c:pt>
                <c:pt idx="2">
                  <c:v>726787.34739999985</c:v>
                </c:pt>
                <c:pt idx="3">
                  <c:v>309727.84759999998</c:v>
                </c:pt>
                <c:pt idx="4">
                  <c:v>356796.63209999999</c:v>
                </c:pt>
              </c:numCache>
            </c:numRef>
          </c:bubbleSize>
          <c:bubble3D val="0"/>
          <c:extLst>
            <c:ext xmlns:c15="http://schemas.microsoft.com/office/drawing/2012/chart" uri="{02D57815-91ED-43cb-92C2-25804820EDAC}">
              <c15:datalabelsRange>
                <c15:f>Sheet1!$E$2:$E$29</c15:f>
                <c15:dlblRangeCache>
                  <c:ptCount val="28"/>
                  <c:pt idx="0">
                    <c:v>NICOLAS QCA</c:v>
                  </c:pt>
                  <c:pt idx="1">
                    <c:v>NICOLAS CCP</c:v>
                  </c:pt>
                  <c:pt idx="2">
                    <c:v>NICOLAS QCN</c:v>
                  </c:pt>
                  <c:pt idx="3">
                    <c:v>NICOLAS QCT</c:v>
                  </c:pt>
                  <c:pt idx="4">
                    <c:v>NICOLAS VCN</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06.03219999999999"/>
          <c:min val="105.83"/>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7841942742506895"/>
        <c:crossBetween val="midCat"/>
      </c:valAx>
      <c:valAx>
        <c:axId val="1011451359"/>
        <c:scaling>
          <c:orientation val="minMax"/>
          <c:max val="0.82019999999999993"/>
          <c:min val="5.6079999999999998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43.0398629545787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8</c:v>
                </c:pt>
                <c:pt idx="1">
                  <c:v>Av Price/Unit 93.48</c:v>
                </c:pt>
                <c:pt idx="2">
                  <c:v>Av Price/Unit 21.25</c:v>
                </c:pt>
                <c:pt idx="3">
                  <c:v>Av Price/Unit 45.96</c:v>
                </c:pt>
                <c:pt idx="4">
                  <c:v>Av Price/Unit 59.90</c:v>
                </c:pt>
                <c:pt idx="5">
                  <c:v>Av Price/Unit 98.35</c:v>
                </c:pt>
                <c:pt idx="6">
                  <c:v>Av Price/Unit 29.22</c:v>
                </c:pt>
                <c:pt idx="7">
                  <c:v>Av Price/Unit 29.84</c:v>
                </c:pt>
                <c:pt idx="8">
                  <c:v>Av Price/Unit 29.47</c:v>
                </c:pt>
                <c:pt idx="9">
                  <c:v>Av Price/Unit 30.38</c:v>
                </c:pt>
                <c:pt idx="10">
                  <c:v>Av Price/Unit 41.77</c:v>
                </c:pt>
                <c:pt idx="11">
                  <c:v>Av Price/Unit 29.52</c:v>
                </c:pt>
              </c:strCache>
            </c:strRef>
          </c:cat>
          <c:val>
            <c:numRef>
              <c:f>Sheet1!$B$2:$B$13</c:f>
              <c:numCache>
                <c:formatCode>General</c:formatCode>
                <c:ptCount val="12"/>
                <c:pt idx="0">
                  <c:v>18.173055143522113</c:v>
                </c:pt>
                <c:pt idx="1">
                  <c:v>29.846510463733654</c:v>
                </c:pt>
                <c:pt idx="2">
                  <c:v>3.6134988670970882</c:v>
                </c:pt>
                <c:pt idx="3">
                  <c:v>15.806317351298063</c:v>
                </c:pt>
                <c:pt idx="4">
                  <c:v>20.131353289473683</c:v>
                </c:pt>
                <c:pt idx="5">
                  <c:v>31.741321492007113</c:v>
                </c:pt>
                <c:pt idx="6">
                  <c:v>10.12196360770578</c:v>
                </c:pt>
                <c:pt idx="7">
                  <c:v>11.450670696557244</c:v>
                </c:pt>
                <c:pt idx="8">
                  <c:v>10.766153137410642</c:v>
                </c:pt>
                <c:pt idx="9">
                  <c:v>11.449227761688043</c:v>
                </c:pt>
                <c:pt idx="10">
                  <c:v>14.943870006863419</c:v>
                </c:pt>
                <c:pt idx="11">
                  <c:v>11.00984930898321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8</c:v>
                </c:pt>
                <c:pt idx="1">
                  <c:v>Av Price/Unit 93.48</c:v>
                </c:pt>
                <c:pt idx="2">
                  <c:v>Av Price/Unit 21.25</c:v>
                </c:pt>
                <c:pt idx="3">
                  <c:v>Av Price/Unit 45.96</c:v>
                </c:pt>
                <c:pt idx="4">
                  <c:v>Av Price/Unit 59.90</c:v>
                </c:pt>
                <c:pt idx="5">
                  <c:v>Av Price/Unit 98.35</c:v>
                </c:pt>
                <c:pt idx="6">
                  <c:v>Av Price/Unit 29.22</c:v>
                </c:pt>
                <c:pt idx="7">
                  <c:v>Av Price/Unit 29.84</c:v>
                </c:pt>
                <c:pt idx="8">
                  <c:v>Av Price/Unit 29.47</c:v>
                </c:pt>
                <c:pt idx="9">
                  <c:v>Av Price/Unit 30.38</c:v>
                </c:pt>
                <c:pt idx="10">
                  <c:v>Av Price/Unit 41.77</c:v>
                </c:pt>
                <c:pt idx="11">
                  <c:v>Av Price/Unit 29.52</c:v>
                </c:pt>
              </c:strCache>
            </c:strRef>
          </c:cat>
          <c:val>
            <c:numRef>
              <c:f>Sheet1!$C$2:$C$13</c:f>
              <c:numCache>
                <c:formatCode>General</c:formatCode>
                <c:ptCount val="12"/>
                <c:pt idx="0">
                  <c:v>27.898393778122578</c:v>
                </c:pt>
                <c:pt idx="1">
                  <c:v>47.893745541022589</c:v>
                </c:pt>
                <c:pt idx="2">
                  <c:v>13.388868595444023</c:v>
                </c:pt>
                <c:pt idx="3">
                  <c:v>22.316553927045678</c:v>
                </c:pt>
                <c:pt idx="4">
                  <c:v>29.20798125</c:v>
                </c:pt>
                <c:pt idx="5">
                  <c:v>49.745495559502665</c:v>
                </c:pt>
                <c:pt idx="6">
                  <c:v>15.242434290718037</c:v>
                </c:pt>
                <c:pt idx="7">
                  <c:v>14.104472297838271</c:v>
                </c:pt>
                <c:pt idx="8">
                  <c:v>14.194727720413027</c:v>
                </c:pt>
                <c:pt idx="9">
                  <c:v>13.874155730244103</c:v>
                </c:pt>
                <c:pt idx="10">
                  <c:v>20.579369663692521</c:v>
                </c:pt>
                <c:pt idx="11">
                  <c:v>13.74073652517275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8</c:v>
                </c:pt>
                <c:pt idx="1">
                  <c:v>Av Price/Unit 93.48</c:v>
                </c:pt>
                <c:pt idx="2">
                  <c:v>Av Price/Unit 21.25</c:v>
                </c:pt>
                <c:pt idx="3">
                  <c:v>Av Price/Unit 45.96</c:v>
                </c:pt>
                <c:pt idx="4">
                  <c:v>Av Price/Unit 59.90</c:v>
                </c:pt>
                <c:pt idx="5">
                  <c:v>Av Price/Unit 98.35</c:v>
                </c:pt>
                <c:pt idx="6">
                  <c:v>Av Price/Unit 29.22</c:v>
                </c:pt>
                <c:pt idx="7">
                  <c:v>Av Price/Unit 29.84</c:v>
                </c:pt>
                <c:pt idx="8">
                  <c:v>Av Price/Unit 29.47</c:v>
                </c:pt>
                <c:pt idx="9">
                  <c:v>Av Price/Unit 30.38</c:v>
                </c:pt>
                <c:pt idx="10">
                  <c:v>Av Price/Unit 41.77</c:v>
                </c:pt>
                <c:pt idx="11">
                  <c:v>Av Price/Unit 29.52</c:v>
                </c:pt>
              </c:strCache>
            </c:strRef>
          </c:cat>
          <c:val>
            <c:numRef>
              <c:f>Sheet1!$D$2:$D$13</c:f>
              <c:numCache>
                <c:formatCode>General</c:formatCode>
                <c:ptCount val="12"/>
                <c:pt idx="0">
                  <c:v>-1.0881046702870449</c:v>
                </c:pt>
                <c:pt idx="1">
                  <c:v>0.15973078345886904</c:v>
                </c:pt>
                <c:pt idx="2">
                  <c:v>0.70756472570755236</c:v>
                </c:pt>
                <c:pt idx="3">
                  <c:v>0.17735471574103912</c:v>
                </c:pt>
                <c:pt idx="4">
                  <c:v>0.57607899436091259</c:v>
                </c:pt>
                <c:pt idx="5">
                  <c:v>0.46922202486678088</c:v>
                </c:pt>
                <c:pt idx="6">
                  <c:v>-1.0126757734967811</c:v>
                </c:pt>
                <c:pt idx="7">
                  <c:v>-0.69158548171870748</c:v>
                </c:pt>
                <c:pt idx="8">
                  <c:v>-0.40663054011119826</c:v>
                </c:pt>
                <c:pt idx="9">
                  <c:v>-5.1515239277328817E-3</c:v>
                </c:pt>
                <c:pt idx="10">
                  <c:v>-0.71484342255777023</c:v>
                </c:pt>
                <c:pt idx="11">
                  <c:v>-0.1520336788417182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8</c:v>
                </c:pt>
                <c:pt idx="1">
                  <c:v>Av Price/Unit 93.48</c:v>
                </c:pt>
                <c:pt idx="2">
                  <c:v>Av Price/Unit 21.25</c:v>
                </c:pt>
                <c:pt idx="3">
                  <c:v>Av Price/Unit 45.96</c:v>
                </c:pt>
                <c:pt idx="4">
                  <c:v>Av Price/Unit 59.90</c:v>
                </c:pt>
                <c:pt idx="5">
                  <c:v>Av Price/Unit 98.35</c:v>
                </c:pt>
                <c:pt idx="6">
                  <c:v>Av Price/Unit 29.22</c:v>
                </c:pt>
                <c:pt idx="7">
                  <c:v>Av Price/Unit 29.84</c:v>
                </c:pt>
                <c:pt idx="8">
                  <c:v>Av Price/Unit 29.47</c:v>
                </c:pt>
                <c:pt idx="9">
                  <c:v>Av Price/Unit 30.38</c:v>
                </c:pt>
                <c:pt idx="10">
                  <c:v>Av Price/Unit 41.77</c:v>
                </c:pt>
                <c:pt idx="11">
                  <c:v>Av Price/Unit 29.52</c:v>
                </c:pt>
              </c:strCache>
            </c:strRef>
          </c:cat>
          <c:val>
            <c:numRef>
              <c:f>Sheet1!$E$2:$E$13</c:f>
              <c:numCache>
                <c:formatCode>General</c:formatCode>
                <c:ptCount val="12"/>
                <c:pt idx="0">
                  <c:v>8.9966640806827005</c:v>
                </c:pt>
                <c:pt idx="1">
                  <c:v>15.579997357643009</c:v>
                </c:pt>
                <c:pt idx="2">
                  <c:v>3.5419864376497365</c:v>
                </c:pt>
                <c:pt idx="3">
                  <c:v>7.6600394347683212</c:v>
                </c:pt>
                <c:pt idx="4">
                  <c:v>9.9830827067669166</c:v>
                </c:pt>
                <c:pt idx="5">
                  <c:v>16.391207815275298</c:v>
                </c:pt>
                <c:pt idx="6">
                  <c:v>4.8703444249853991</c:v>
                </c:pt>
                <c:pt idx="7">
                  <c:v>4.9727115025353594</c:v>
                </c:pt>
                <c:pt idx="8">
                  <c:v>4.9108419380460679</c:v>
                </c:pt>
                <c:pt idx="9">
                  <c:v>5.0636463936008838</c:v>
                </c:pt>
                <c:pt idx="10">
                  <c:v>6.9616792495996327</c:v>
                </c:pt>
                <c:pt idx="11">
                  <c:v>4.91971043106284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30</c:v>
                </c:pt>
                <c:pt idx="1">
                  <c:v>Av Price/Unit 54.26</c:v>
                </c:pt>
                <c:pt idx="2">
                  <c:v>Av Price/Unit 46.07</c:v>
                </c:pt>
                <c:pt idx="3">
                  <c:v>Av Price/Unit 21.33</c:v>
                </c:pt>
                <c:pt idx="4">
                  <c:v>Av Price/Unit 41.92</c:v>
                </c:pt>
                <c:pt idx="5">
                  <c:v>Av Price/Unit 29.46</c:v>
                </c:pt>
                <c:pt idx="6">
                  <c:v>Av Price/Unit 30.55</c:v>
                </c:pt>
                <c:pt idx="7">
                  <c:v>Av Price/Unit 98.14</c:v>
                </c:pt>
                <c:pt idx="8">
                  <c:v>Av Price/Unit 37.26</c:v>
                </c:pt>
                <c:pt idx="9">
                  <c:v>Av Price/Unit 29.91</c:v>
                </c:pt>
                <c:pt idx="10">
                  <c:v>Av Price/Unit 57.52</c:v>
                </c:pt>
                <c:pt idx="11">
                  <c:v>Av Price/Unit 60.46</c:v>
                </c:pt>
              </c:strCache>
            </c:strRef>
          </c:cat>
          <c:val>
            <c:numRef>
              <c:f>Sheet1!$B$2:$B$13</c:f>
              <c:numCache>
                <c:formatCode>General</c:formatCode>
                <c:ptCount val="12"/>
                <c:pt idx="0">
                  <c:v>29.951883288312622</c:v>
                </c:pt>
                <c:pt idx="1">
                  <c:v>18.185763407214257</c:v>
                </c:pt>
                <c:pt idx="2">
                  <c:v>15.853434293948126</c:v>
                </c:pt>
                <c:pt idx="3">
                  <c:v>3.5979885625965999</c:v>
                </c:pt>
                <c:pt idx="4">
                  <c:v>14.506429684975767</c:v>
                </c:pt>
                <c:pt idx="5">
                  <c:v>10.093124851419766</c:v>
                </c:pt>
                <c:pt idx="6">
                  <c:v>11.309679907264297</c:v>
                </c:pt>
                <c:pt idx="7">
                  <c:v>31.535699571428569</c:v>
                </c:pt>
                <c:pt idx="8">
                  <c:v>12.770112376779847</c:v>
                </c:pt>
                <c:pt idx="9">
                  <c:v>10.704660296096902</c:v>
                </c:pt>
                <c:pt idx="10">
                  <c:v>19.508916358839052</c:v>
                </c:pt>
                <c:pt idx="11">
                  <c:v>20.15509740412979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30</c:v>
                </c:pt>
                <c:pt idx="1">
                  <c:v>Av Price/Unit 54.26</c:v>
                </c:pt>
                <c:pt idx="2">
                  <c:v>Av Price/Unit 46.07</c:v>
                </c:pt>
                <c:pt idx="3">
                  <c:v>Av Price/Unit 21.33</c:v>
                </c:pt>
                <c:pt idx="4">
                  <c:v>Av Price/Unit 41.92</c:v>
                </c:pt>
                <c:pt idx="5">
                  <c:v>Av Price/Unit 29.46</c:v>
                </c:pt>
                <c:pt idx="6">
                  <c:v>Av Price/Unit 30.55</c:v>
                </c:pt>
                <c:pt idx="7">
                  <c:v>Av Price/Unit 98.14</c:v>
                </c:pt>
                <c:pt idx="8">
                  <c:v>Av Price/Unit 37.26</c:v>
                </c:pt>
                <c:pt idx="9">
                  <c:v>Av Price/Unit 29.91</c:v>
                </c:pt>
                <c:pt idx="10">
                  <c:v>Av Price/Unit 57.52</c:v>
                </c:pt>
                <c:pt idx="11">
                  <c:v>Av Price/Unit 60.46</c:v>
                </c:pt>
              </c:strCache>
            </c:strRef>
          </c:cat>
          <c:val>
            <c:numRef>
              <c:f>Sheet1!$C$2:$C$13</c:f>
              <c:numCache>
                <c:formatCode>General</c:formatCode>
                <c:ptCount val="12"/>
                <c:pt idx="0">
                  <c:v>47.842068611561317</c:v>
                </c:pt>
                <c:pt idx="1">
                  <c:v>27.858919382877012</c:v>
                </c:pt>
                <c:pt idx="2">
                  <c:v>22.31404726224784</c:v>
                </c:pt>
                <c:pt idx="3">
                  <c:v>13.413333075734156</c:v>
                </c:pt>
                <c:pt idx="4">
                  <c:v>20.562884046849756</c:v>
                </c:pt>
                <c:pt idx="5">
                  <c:v>15.276373101474794</c:v>
                </c:pt>
                <c:pt idx="6">
                  <c:v>13.901641973945685</c:v>
                </c:pt>
                <c:pt idx="7">
                  <c:v>49.832152857142866</c:v>
                </c:pt>
                <c:pt idx="8">
                  <c:v>18.348776807228916</c:v>
                </c:pt>
                <c:pt idx="9">
                  <c:v>14.230059219380886</c:v>
                </c:pt>
                <c:pt idx="10">
                  <c:v>27.61438179419525</c:v>
                </c:pt>
                <c:pt idx="11">
                  <c:v>29.21421545722713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30</c:v>
                </c:pt>
                <c:pt idx="1">
                  <c:v>Av Price/Unit 54.26</c:v>
                </c:pt>
                <c:pt idx="2">
                  <c:v>Av Price/Unit 46.07</c:v>
                </c:pt>
                <c:pt idx="3">
                  <c:v>Av Price/Unit 21.33</c:v>
                </c:pt>
                <c:pt idx="4">
                  <c:v>Av Price/Unit 41.92</c:v>
                </c:pt>
                <c:pt idx="5">
                  <c:v>Av Price/Unit 29.46</c:v>
                </c:pt>
                <c:pt idx="6">
                  <c:v>Av Price/Unit 30.55</c:v>
                </c:pt>
                <c:pt idx="7">
                  <c:v>Av Price/Unit 98.14</c:v>
                </c:pt>
                <c:pt idx="8">
                  <c:v>Av Price/Unit 37.26</c:v>
                </c:pt>
                <c:pt idx="9">
                  <c:v>Av Price/Unit 29.91</c:v>
                </c:pt>
                <c:pt idx="10">
                  <c:v>Av Price/Unit 57.52</c:v>
                </c:pt>
                <c:pt idx="11">
                  <c:v>Av Price/Unit 60.46</c:v>
                </c:pt>
              </c:strCache>
            </c:strRef>
          </c:cat>
          <c:val>
            <c:numRef>
              <c:f>Sheet1!$D$2:$D$13</c:f>
              <c:numCache>
                <c:formatCode>General</c:formatCode>
                <c:ptCount val="12"/>
                <c:pt idx="0">
                  <c:v>-4.4837307161245121E-2</c:v>
                </c:pt>
                <c:pt idx="1">
                  <c:v>-0.8273590612777042</c:v>
                </c:pt>
                <c:pt idx="2">
                  <c:v>0.22752840217739134</c:v>
                </c:pt>
                <c:pt idx="3">
                  <c:v>0.76531125422176771</c:v>
                </c:pt>
                <c:pt idx="4">
                  <c:v>-0.13629003769520409</c:v>
                </c:pt>
                <c:pt idx="5">
                  <c:v>-0.82239251595861518</c:v>
                </c:pt>
                <c:pt idx="6">
                  <c:v>0.24757265032751974</c:v>
                </c:pt>
                <c:pt idx="7">
                  <c:v>0.41726661904762352</c:v>
                </c:pt>
                <c:pt idx="8">
                  <c:v>-7.1746066082500448E-2</c:v>
                </c:pt>
                <c:pt idx="9">
                  <c:v>-6.2632495887555706E-3</c:v>
                </c:pt>
                <c:pt idx="10">
                  <c:v>0.8120445910290286</c:v>
                </c:pt>
                <c:pt idx="11">
                  <c:v>1.015151248770898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30</c:v>
                </c:pt>
                <c:pt idx="1">
                  <c:v>Av Price/Unit 54.26</c:v>
                </c:pt>
                <c:pt idx="2">
                  <c:v>Av Price/Unit 46.07</c:v>
                </c:pt>
                <c:pt idx="3">
                  <c:v>Av Price/Unit 21.33</c:v>
                </c:pt>
                <c:pt idx="4">
                  <c:v>Av Price/Unit 41.92</c:v>
                </c:pt>
                <c:pt idx="5">
                  <c:v>Av Price/Unit 29.46</c:v>
                </c:pt>
                <c:pt idx="6">
                  <c:v>Av Price/Unit 30.55</c:v>
                </c:pt>
                <c:pt idx="7">
                  <c:v>Av Price/Unit 98.14</c:v>
                </c:pt>
                <c:pt idx="8">
                  <c:v>Av Price/Unit 37.26</c:v>
                </c:pt>
                <c:pt idx="9">
                  <c:v>Av Price/Unit 29.91</c:v>
                </c:pt>
                <c:pt idx="10">
                  <c:v>Av Price/Unit 57.52</c:v>
                </c:pt>
                <c:pt idx="11">
                  <c:v>Av Price/Unit 60.46</c:v>
                </c:pt>
              </c:strCache>
            </c:strRef>
          </c:cat>
          <c:val>
            <c:numRef>
              <c:f>Sheet1!$E$2:$E$13</c:f>
              <c:numCache>
                <c:formatCode>General</c:formatCode>
                <c:ptCount val="12"/>
                <c:pt idx="0">
                  <c:v>15.549822918542512</c:v>
                </c:pt>
                <c:pt idx="1">
                  <c:v>9.0434593654932645</c:v>
                </c:pt>
                <c:pt idx="2">
                  <c:v>7.6789945565161704</c:v>
                </c:pt>
                <c:pt idx="3">
                  <c:v>3.5553265785105026</c:v>
                </c:pt>
                <c:pt idx="4">
                  <c:v>6.9866047388260615</c:v>
                </c:pt>
                <c:pt idx="5">
                  <c:v>4.9094210873871891</c:v>
                </c:pt>
                <c:pt idx="6">
                  <c:v>5.0917789063075007</c:v>
                </c:pt>
                <c:pt idx="7">
                  <c:v>16.357023809523806</c:v>
                </c:pt>
                <c:pt idx="8">
                  <c:v>6.2094286235852447</c:v>
                </c:pt>
                <c:pt idx="9">
                  <c:v>4.9856811724241075</c:v>
                </c:pt>
                <c:pt idx="10">
                  <c:v>9.5870712401055407</c:v>
                </c:pt>
                <c:pt idx="11">
                  <c:v>10.07689282202556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31</c:v>
                </c:pt>
                <c:pt idx="1">
                  <c:v>Av Price/Unit 21.32</c:v>
                </c:pt>
                <c:pt idx="2">
                  <c:v>Av Price/Unit 46.49</c:v>
                </c:pt>
                <c:pt idx="3">
                  <c:v>Av Price/Unit 93.04</c:v>
                </c:pt>
                <c:pt idx="4">
                  <c:v>Av Price/Unit 42.09</c:v>
                </c:pt>
                <c:pt idx="5">
                  <c:v>Av Price/Unit 29.73</c:v>
                </c:pt>
                <c:pt idx="6">
                  <c:v>Av Price/Unit 97.67</c:v>
                </c:pt>
                <c:pt idx="7">
                  <c:v>Av Price/Unit 29.18</c:v>
                </c:pt>
                <c:pt idx="8">
                  <c:v>Av Price/Unit 37.58</c:v>
                </c:pt>
                <c:pt idx="9">
                  <c:v>Av Price/Unit 30.60</c:v>
                </c:pt>
                <c:pt idx="10">
                  <c:v>Av Price/Unit 60.23</c:v>
                </c:pt>
                <c:pt idx="11">
                  <c:v>Av Price/Unit 45.62</c:v>
                </c:pt>
              </c:strCache>
            </c:strRef>
          </c:cat>
          <c:val>
            <c:numRef>
              <c:f>Sheet1!$B$2:$B$13</c:f>
              <c:numCache>
                <c:formatCode>General</c:formatCode>
                <c:ptCount val="12"/>
                <c:pt idx="0">
                  <c:v>18.187625448464576</c:v>
                </c:pt>
                <c:pt idx="1">
                  <c:v>3.6033179087506508</c:v>
                </c:pt>
                <c:pt idx="2">
                  <c:v>15.855633987008209</c:v>
                </c:pt>
                <c:pt idx="3">
                  <c:v>30.217047800586514</c:v>
                </c:pt>
                <c:pt idx="4">
                  <c:v>14.605814867617109</c:v>
                </c:pt>
                <c:pt idx="5">
                  <c:v>10.739800609756097</c:v>
                </c:pt>
                <c:pt idx="6">
                  <c:v>31.612613738630927</c:v>
                </c:pt>
                <c:pt idx="7">
                  <c:v>10.064382428979409</c:v>
                </c:pt>
                <c:pt idx="8">
                  <c:v>12.771571633888049</c:v>
                </c:pt>
                <c:pt idx="9">
                  <c:v>11.334627173169064</c:v>
                </c:pt>
                <c:pt idx="10">
                  <c:v>20.137745951704542</c:v>
                </c:pt>
                <c:pt idx="11">
                  <c:v>15.0797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31</c:v>
                </c:pt>
                <c:pt idx="1">
                  <c:v>Av Price/Unit 21.32</c:v>
                </c:pt>
                <c:pt idx="2">
                  <c:v>Av Price/Unit 46.49</c:v>
                </c:pt>
                <c:pt idx="3">
                  <c:v>Av Price/Unit 93.04</c:v>
                </c:pt>
                <c:pt idx="4">
                  <c:v>Av Price/Unit 42.09</c:v>
                </c:pt>
                <c:pt idx="5">
                  <c:v>Av Price/Unit 29.73</c:v>
                </c:pt>
                <c:pt idx="6">
                  <c:v>Av Price/Unit 97.67</c:v>
                </c:pt>
                <c:pt idx="7">
                  <c:v>Av Price/Unit 29.18</c:v>
                </c:pt>
                <c:pt idx="8">
                  <c:v>Av Price/Unit 37.58</c:v>
                </c:pt>
                <c:pt idx="9">
                  <c:v>Av Price/Unit 30.60</c:v>
                </c:pt>
                <c:pt idx="10">
                  <c:v>Av Price/Unit 60.23</c:v>
                </c:pt>
                <c:pt idx="11">
                  <c:v>Av Price/Unit 45.62</c:v>
                </c:pt>
              </c:strCache>
            </c:strRef>
          </c:cat>
          <c:val>
            <c:numRef>
              <c:f>Sheet1!$C$2:$C$13</c:f>
              <c:numCache>
                <c:formatCode>General</c:formatCode>
                <c:ptCount val="12"/>
                <c:pt idx="0">
                  <c:v>27.853135512313774</c:v>
                </c:pt>
                <c:pt idx="1">
                  <c:v>13.404927071587625</c:v>
                </c:pt>
                <c:pt idx="2">
                  <c:v>22.313930236548597</c:v>
                </c:pt>
                <c:pt idx="3">
                  <c:v>47.712026659557452</c:v>
                </c:pt>
                <c:pt idx="4">
                  <c:v>20.566629531568232</c:v>
                </c:pt>
                <c:pt idx="5">
                  <c:v>14.209868902439025</c:v>
                </c:pt>
                <c:pt idx="6">
                  <c:v>49.799738152225942</c:v>
                </c:pt>
                <c:pt idx="7">
                  <c:v>15.310198542011122</c:v>
                </c:pt>
                <c:pt idx="8">
                  <c:v>18.348296577155818</c:v>
                </c:pt>
                <c:pt idx="9">
                  <c:v>13.896728199863109</c:v>
                </c:pt>
                <c:pt idx="10">
                  <c:v>29.209659694602273</c:v>
                </c:pt>
                <c:pt idx="11">
                  <c:v>22.26674857142857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31</c:v>
                </c:pt>
                <c:pt idx="1">
                  <c:v>Av Price/Unit 21.32</c:v>
                </c:pt>
                <c:pt idx="2">
                  <c:v>Av Price/Unit 46.49</c:v>
                </c:pt>
                <c:pt idx="3">
                  <c:v>Av Price/Unit 93.04</c:v>
                </c:pt>
                <c:pt idx="4">
                  <c:v>Av Price/Unit 42.09</c:v>
                </c:pt>
                <c:pt idx="5">
                  <c:v>Av Price/Unit 29.73</c:v>
                </c:pt>
                <c:pt idx="6">
                  <c:v>Av Price/Unit 97.67</c:v>
                </c:pt>
                <c:pt idx="7">
                  <c:v>Av Price/Unit 29.18</c:v>
                </c:pt>
                <c:pt idx="8">
                  <c:v>Av Price/Unit 37.58</c:v>
                </c:pt>
                <c:pt idx="9">
                  <c:v>Av Price/Unit 30.60</c:v>
                </c:pt>
                <c:pt idx="10">
                  <c:v>Av Price/Unit 60.23</c:v>
                </c:pt>
                <c:pt idx="11">
                  <c:v>Av Price/Unit 45.62</c:v>
                </c:pt>
              </c:strCache>
            </c:strRef>
          </c:cat>
          <c:val>
            <c:numRef>
              <c:f>Sheet1!$D$2:$D$13</c:f>
              <c:numCache>
                <c:formatCode>General</c:formatCode>
                <c:ptCount val="12"/>
                <c:pt idx="0">
                  <c:v>-0.78546351981352558</c:v>
                </c:pt>
                <c:pt idx="1">
                  <c:v>0.76239982944047213</c:v>
                </c:pt>
                <c:pt idx="2">
                  <c:v>0.57623466928136935</c:v>
                </c:pt>
                <c:pt idx="3">
                  <c:v>-0.39486136141472628</c:v>
                </c:pt>
                <c:pt idx="4">
                  <c:v>-9.4736126466877124E-2</c:v>
                </c:pt>
                <c:pt idx="5">
                  <c:v>-0.17530072905620386</c:v>
                </c:pt>
                <c:pt idx="6">
                  <c:v>-2.293111536620529E-2</c:v>
                </c:pt>
                <c:pt idx="7">
                  <c:v>-1.0563536048900275</c:v>
                </c:pt>
                <c:pt idx="8">
                  <c:v>0.1960042044881547</c:v>
                </c:pt>
                <c:pt idx="9">
                  <c:v>0.26587825690166866</c:v>
                </c:pt>
                <c:pt idx="10">
                  <c:v>0.84613128551136185</c:v>
                </c:pt>
                <c:pt idx="11">
                  <c:v>0.6732978256963164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31</c:v>
                </c:pt>
                <c:pt idx="1">
                  <c:v>Av Price/Unit 21.32</c:v>
                </c:pt>
                <c:pt idx="2">
                  <c:v>Av Price/Unit 46.49</c:v>
                </c:pt>
                <c:pt idx="3">
                  <c:v>Av Price/Unit 93.04</c:v>
                </c:pt>
                <c:pt idx="4">
                  <c:v>Av Price/Unit 42.09</c:v>
                </c:pt>
                <c:pt idx="5">
                  <c:v>Av Price/Unit 29.73</c:v>
                </c:pt>
                <c:pt idx="6">
                  <c:v>Av Price/Unit 97.67</c:v>
                </c:pt>
                <c:pt idx="7">
                  <c:v>Av Price/Unit 29.18</c:v>
                </c:pt>
                <c:pt idx="8">
                  <c:v>Av Price/Unit 37.58</c:v>
                </c:pt>
                <c:pt idx="9">
                  <c:v>Av Price/Unit 30.60</c:v>
                </c:pt>
                <c:pt idx="10">
                  <c:v>Av Price/Unit 60.23</c:v>
                </c:pt>
                <c:pt idx="11">
                  <c:v>Av Price/Unit 45.62</c:v>
                </c:pt>
              </c:strCache>
            </c:strRef>
          </c:cat>
          <c:val>
            <c:numRef>
              <c:f>Sheet1!$E$2:$E$13</c:f>
              <c:numCache>
                <c:formatCode>General</c:formatCode>
                <c:ptCount val="12"/>
                <c:pt idx="0">
                  <c:v>9.0510540184453205</c:v>
                </c:pt>
                <c:pt idx="1">
                  <c:v>3.5541289619557466</c:v>
                </c:pt>
                <c:pt idx="2">
                  <c:v>7.7491522653919986</c:v>
                </c:pt>
                <c:pt idx="3">
                  <c:v>15.506842619745836</c:v>
                </c:pt>
                <c:pt idx="4">
                  <c:v>7.0155416545436884</c:v>
                </c:pt>
                <c:pt idx="5">
                  <c:v>4.9548647932131491</c:v>
                </c:pt>
                <c:pt idx="6">
                  <c:v>16.277884155098132</c:v>
                </c:pt>
                <c:pt idx="7">
                  <c:v>4.8636454732201031</c:v>
                </c:pt>
                <c:pt idx="8">
                  <c:v>6.2631744831063969</c:v>
                </c:pt>
                <c:pt idx="9">
                  <c:v>5.0994467259867653</c:v>
                </c:pt>
                <c:pt idx="10">
                  <c:v>10.038707386363637</c:v>
                </c:pt>
                <c:pt idx="11">
                  <c:v>7.603953279424975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17</c:v>
                </c:pt>
                <c:pt idx="1">
                  <c:v>Av Price/Unit 21.21</c:v>
                </c:pt>
                <c:pt idx="2">
                  <c:v>Av Price/Unit 93.53</c:v>
                </c:pt>
                <c:pt idx="3">
                  <c:v>Av Price/Unit 45.89</c:v>
                </c:pt>
                <c:pt idx="4">
                  <c:v>Av Price/Unit 29.33</c:v>
                </c:pt>
                <c:pt idx="5">
                  <c:v>Av Price/Unit 41.97</c:v>
                </c:pt>
                <c:pt idx="6">
                  <c:v>Av Price/Unit 59.86</c:v>
                </c:pt>
                <c:pt idx="7">
                  <c:v>Av Price/Unit 97.95</c:v>
                </c:pt>
                <c:pt idx="8">
                  <c:v>Av Price/Unit 30.18</c:v>
                </c:pt>
                <c:pt idx="9">
                  <c:v>Av Price/Unit 29.36</c:v>
                </c:pt>
                <c:pt idx="10">
                  <c:v>Av Price/Unit 37.38</c:v>
                </c:pt>
                <c:pt idx="11">
                  <c:v>Av Price/Unit 45.54</c:v>
                </c:pt>
              </c:strCache>
            </c:strRef>
          </c:cat>
          <c:val>
            <c:numRef>
              <c:f>Sheet1!$B$2:$B$13</c:f>
              <c:numCache>
                <c:formatCode>General</c:formatCode>
                <c:ptCount val="12"/>
                <c:pt idx="0">
                  <c:v>18.173772398809042</c:v>
                </c:pt>
                <c:pt idx="1">
                  <c:v>3.6161074044990529</c:v>
                </c:pt>
                <c:pt idx="2">
                  <c:v>30.089512634470129</c:v>
                </c:pt>
                <c:pt idx="3">
                  <c:v>15.797059640928332</c:v>
                </c:pt>
                <c:pt idx="4">
                  <c:v>10.166313997036239</c:v>
                </c:pt>
                <c:pt idx="5">
                  <c:v>14.839611304347825</c:v>
                </c:pt>
                <c:pt idx="6">
                  <c:v>20.14546042848141</c:v>
                </c:pt>
                <c:pt idx="7">
                  <c:v>31.696168976719008</c:v>
                </c:pt>
                <c:pt idx="8">
                  <c:v>11.4451852336048</c:v>
                </c:pt>
                <c:pt idx="9">
                  <c:v>10.749768686868688</c:v>
                </c:pt>
                <c:pt idx="10">
                  <c:v>12.803870080695217</c:v>
                </c:pt>
                <c:pt idx="11">
                  <c:v>15.08433836428289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17</c:v>
                </c:pt>
                <c:pt idx="1">
                  <c:v>Av Price/Unit 21.21</c:v>
                </c:pt>
                <c:pt idx="2">
                  <c:v>Av Price/Unit 93.53</c:v>
                </c:pt>
                <c:pt idx="3">
                  <c:v>Av Price/Unit 45.89</c:v>
                </c:pt>
                <c:pt idx="4">
                  <c:v>Av Price/Unit 29.33</c:v>
                </c:pt>
                <c:pt idx="5">
                  <c:v>Av Price/Unit 41.97</c:v>
                </c:pt>
                <c:pt idx="6">
                  <c:v>Av Price/Unit 59.86</c:v>
                </c:pt>
                <c:pt idx="7">
                  <c:v>Av Price/Unit 97.95</c:v>
                </c:pt>
                <c:pt idx="8">
                  <c:v>Av Price/Unit 30.18</c:v>
                </c:pt>
                <c:pt idx="9">
                  <c:v>Av Price/Unit 29.36</c:v>
                </c:pt>
                <c:pt idx="10">
                  <c:v>Av Price/Unit 37.38</c:v>
                </c:pt>
                <c:pt idx="11">
                  <c:v>Av Price/Unit 45.54</c:v>
                </c:pt>
              </c:strCache>
            </c:strRef>
          </c:cat>
          <c:val>
            <c:numRef>
              <c:f>Sheet1!$C$2:$C$13</c:f>
              <c:numCache>
                <c:formatCode>General</c:formatCode>
                <c:ptCount val="12"/>
                <c:pt idx="0">
                  <c:v>27.896165840508573</c:v>
                </c:pt>
                <c:pt idx="1">
                  <c:v>13.384754136449722</c:v>
                </c:pt>
                <c:pt idx="2">
                  <c:v>47.774572442206448</c:v>
                </c:pt>
                <c:pt idx="3">
                  <c:v>22.317046445774341</c:v>
                </c:pt>
                <c:pt idx="4">
                  <c:v>15.19024065741614</c:v>
                </c:pt>
                <c:pt idx="5">
                  <c:v>20.575440512820514</c:v>
                </c:pt>
                <c:pt idx="6">
                  <c:v>29.211685192186522</c:v>
                </c:pt>
                <c:pt idx="7">
                  <c:v>49.764524634542504</c:v>
                </c:pt>
                <c:pt idx="8">
                  <c:v>14.098683154736392</c:v>
                </c:pt>
                <c:pt idx="9">
                  <c:v>14.204141616161616</c:v>
                </c:pt>
                <c:pt idx="10">
                  <c:v>18.337667411545624</c:v>
                </c:pt>
                <c:pt idx="11">
                  <c:v>22.32649656262346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17</c:v>
                </c:pt>
                <c:pt idx="1">
                  <c:v>Av Price/Unit 21.21</c:v>
                </c:pt>
                <c:pt idx="2">
                  <c:v>Av Price/Unit 93.53</c:v>
                </c:pt>
                <c:pt idx="3">
                  <c:v>Av Price/Unit 45.89</c:v>
                </c:pt>
                <c:pt idx="4">
                  <c:v>Av Price/Unit 29.33</c:v>
                </c:pt>
                <c:pt idx="5">
                  <c:v>Av Price/Unit 41.97</c:v>
                </c:pt>
                <c:pt idx="6">
                  <c:v>Av Price/Unit 59.86</c:v>
                </c:pt>
                <c:pt idx="7">
                  <c:v>Av Price/Unit 97.95</c:v>
                </c:pt>
                <c:pt idx="8">
                  <c:v>Av Price/Unit 30.18</c:v>
                </c:pt>
                <c:pt idx="9">
                  <c:v>Av Price/Unit 29.36</c:v>
                </c:pt>
                <c:pt idx="10">
                  <c:v>Av Price/Unit 37.38</c:v>
                </c:pt>
                <c:pt idx="11">
                  <c:v>Av Price/Unit 45.54</c:v>
                </c:pt>
              </c:strCache>
            </c:strRef>
          </c:cat>
          <c:val>
            <c:numRef>
              <c:f>Sheet1!$D$2:$D$13</c:f>
              <c:numCache>
                <c:formatCode>General</c:formatCode>
                <c:ptCount val="12"/>
                <c:pt idx="0">
                  <c:v>-0.92781770875244973</c:v>
                </c:pt>
                <c:pt idx="1">
                  <c:v>0.67605194235299138</c:v>
                </c:pt>
                <c:pt idx="2">
                  <c:v>7.8045082780207053E-2</c:v>
                </c:pt>
                <c:pt idx="3">
                  <c:v>0.12352630759500016</c:v>
                </c:pt>
                <c:pt idx="4">
                  <c:v>-0.9127089496609635</c:v>
                </c:pt>
                <c:pt idx="5">
                  <c:v>-0.43697675213675069</c:v>
                </c:pt>
                <c:pt idx="6">
                  <c:v>0.52654478050830988</c:v>
                </c:pt>
                <c:pt idx="7">
                  <c:v>0.16175720988991316</c:v>
                </c:pt>
                <c:pt idx="8">
                  <c:v>-0.3915251964566373</c:v>
                </c:pt>
                <c:pt idx="9">
                  <c:v>-0.48978177328843486</c:v>
                </c:pt>
                <c:pt idx="10">
                  <c:v>5.0070970411724147E-3</c:v>
                </c:pt>
                <c:pt idx="11">
                  <c:v>0.5362874226261098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17</c:v>
                </c:pt>
                <c:pt idx="1">
                  <c:v>Av Price/Unit 21.21</c:v>
                </c:pt>
                <c:pt idx="2">
                  <c:v>Av Price/Unit 93.53</c:v>
                </c:pt>
                <c:pt idx="3">
                  <c:v>Av Price/Unit 45.89</c:v>
                </c:pt>
                <c:pt idx="4">
                  <c:v>Av Price/Unit 29.33</c:v>
                </c:pt>
                <c:pt idx="5">
                  <c:v>Av Price/Unit 41.97</c:v>
                </c:pt>
                <c:pt idx="6">
                  <c:v>Av Price/Unit 59.86</c:v>
                </c:pt>
                <c:pt idx="7">
                  <c:v>Av Price/Unit 97.95</c:v>
                </c:pt>
                <c:pt idx="8">
                  <c:v>Av Price/Unit 30.18</c:v>
                </c:pt>
                <c:pt idx="9">
                  <c:v>Av Price/Unit 29.36</c:v>
                </c:pt>
                <c:pt idx="10">
                  <c:v>Av Price/Unit 37.38</c:v>
                </c:pt>
                <c:pt idx="11">
                  <c:v>Av Price/Unit 45.54</c:v>
                </c:pt>
              </c:strCache>
            </c:strRef>
          </c:cat>
          <c:val>
            <c:numRef>
              <c:f>Sheet1!$E$2:$E$13</c:f>
              <c:numCache>
                <c:formatCode>General</c:formatCode>
                <c:ptCount val="12"/>
                <c:pt idx="0">
                  <c:v>9.0284193020573458</c:v>
                </c:pt>
                <c:pt idx="1">
                  <c:v>3.5353826966603537</c:v>
                </c:pt>
                <c:pt idx="2">
                  <c:v>15.588426031891352</c:v>
                </c:pt>
                <c:pt idx="3">
                  <c:v>7.6475210431567158</c:v>
                </c:pt>
                <c:pt idx="4">
                  <c:v>4.8887691409582805</c:v>
                </c:pt>
                <c:pt idx="5">
                  <c:v>6.9956150130063133</c:v>
                </c:pt>
                <c:pt idx="6">
                  <c:v>9.9767380802352328</c:v>
                </c:pt>
                <c:pt idx="7">
                  <c:v>16.324490164230287</c:v>
                </c:pt>
                <c:pt idx="8">
                  <c:v>5.0304686383769086</c:v>
                </c:pt>
                <c:pt idx="9">
                  <c:v>4.8928170594837228</c:v>
                </c:pt>
                <c:pt idx="10">
                  <c:v>6.2293089178564021</c:v>
                </c:pt>
                <c:pt idx="11">
                  <c:v>7.589424469906485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2</c:v>
                </c:pt>
                <c:pt idx="2">
                  <c:v>Av Price/Unit 46.07</c:v>
                </c:pt>
                <c:pt idx="3">
                  <c:v>Av Price/Unit 93.31</c:v>
                </c:pt>
                <c:pt idx="4">
                  <c:v>Av Price/Unit 29.67</c:v>
                </c:pt>
                <c:pt idx="5">
                  <c:v>Av Price/Unit 42.06</c:v>
                </c:pt>
                <c:pt idx="6">
                  <c:v>Av Price/Unit 29.28</c:v>
                </c:pt>
                <c:pt idx="7">
                  <c:v>Av Price/Unit 37.08</c:v>
                </c:pt>
                <c:pt idx="8">
                  <c:v>Av Price/Unit 30.45</c:v>
                </c:pt>
                <c:pt idx="9">
                  <c:v>Av Price/Unit 30.11</c:v>
                </c:pt>
                <c:pt idx="10">
                  <c:v>Av Price/Unit 97.82</c:v>
                </c:pt>
                <c:pt idx="11">
                  <c:v>Av Price/Unit 29.03</c:v>
                </c:pt>
              </c:strCache>
            </c:strRef>
          </c:cat>
          <c:val>
            <c:numRef>
              <c:f>Sheet1!$B$2:$B$13</c:f>
              <c:numCache>
                <c:formatCode>General</c:formatCode>
                <c:ptCount val="12"/>
                <c:pt idx="0">
                  <c:v>18.188374541617819</c:v>
                </c:pt>
                <c:pt idx="1">
                  <c:v>3.5993317570826271</c:v>
                </c:pt>
                <c:pt idx="2">
                  <c:v>15.851500164728099</c:v>
                </c:pt>
                <c:pt idx="3">
                  <c:v>30.049730782169899</c:v>
                </c:pt>
                <c:pt idx="4">
                  <c:v>10.710384155656689</c:v>
                </c:pt>
                <c:pt idx="5">
                  <c:v>14.590902845376265</c:v>
                </c:pt>
                <c:pt idx="6">
                  <c:v>10.060380946364267</c:v>
                </c:pt>
                <c:pt idx="7">
                  <c:v>12.780227392838828</c:v>
                </c:pt>
                <c:pt idx="8">
                  <c:v>11.29904943817197</c:v>
                </c:pt>
                <c:pt idx="9">
                  <c:v>11.443117352563188</c:v>
                </c:pt>
                <c:pt idx="10">
                  <c:v>31.632711498565445</c:v>
                </c:pt>
                <c:pt idx="11">
                  <c:v>11.12351191860465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2</c:v>
                </c:pt>
                <c:pt idx="2">
                  <c:v>Av Price/Unit 46.07</c:v>
                </c:pt>
                <c:pt idx="3">
                  <c:v>Av Price/Unit 93.31</c:v>
                </c:pt>
                <c:pt idx="4">
                  <c:v>Av Price/Unit 29.67</c:v>
                </c:pt>
                <c:pt idx="5">
                  <c:v>Av Price/Unit 42.06</c:v>
                </c:pt>
                <c:pt idx="6">
                  <c:v>Av Price/Unit 29.28</c:v>
                </c:pt>
                <c:pt idx="7">
                  <c:v>Av Price/Unit 37.08</c:v>
                </c:pt>
                <c:pt idx="8">
                  <c:v>Av Price/Unit 30.45</c:v>
                </c:pt>
                <c:pt idx="9">
                  <c:v>Av Price/Unit 30.11</c:v>
                </c:pt>
                <c:pt idx="10">
                  <c:v>Av Price/Unit 97.82</c:v>
                </c:pt>
                <c:pt idx="11">
                  <c:v>Av Price/Unit 29.03</c:v>
                </c:pt>
              </c:strCache>
            </c:strRef>
          </c:cat>
          <c:val>
            <c:numRef>
              <c:f>Sheet1!$C$2:$C$13</c:f>
              <c:numCache>
                <c:formatCode>General</c:formatCode>
                <c:ptCount val="12"/>
                <c:pt idx="0">
                  <c:v>27.850808679953104</c:v>
                </c:pt>
                <c:pt idx="1">
                  <c:v>13.411214448403008</c:v>
                </c:pt>
                <c:pt idx="2">
                  <c:v>22.314150159705903</c:v>
                </c:pt>
                <c:pt idx="3">
                  <c:v>47.794082253994965</c:v>
                </c:pt>
                <c:pt idx="4">
                  <c:v>14.226770502616331</c:v>
                </c:pt>
                <c:pt idx="5">
                  <c:v>20.566067548886902</c:v>
                </c:pt>
                <c:pt idx="6">
                  <c:v>15.31490767578495</c:v>
                </c:pt>
                <c:pt idx="7">
                  <c:v>18.345448034750081</c:v>
                </c:pt>
                <c:pt idx="8">
                  <c:v>13.90373581956832</c:v>
                </c:pt>
                <c:pt idx="9">
                  <c:v>14.096500793945452</c:v>
                </c:pt>
                <c:pt idx="10">
                  <c:v>49.791268152725671</c:v>
                </c:pt>
                <c:pt idx="11">
                  <c:v>13.88689186046511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2</c:v>
                </c:pt>
                <c:pt idx="2">
                  <c:v>Av Price/Unit 46.07</c:v>
                </c:pt>
                <c:pt idx="3">
                  <c:v>Av Price/Unit 93.31</c:v>
                </c:pt>
                <c:pt idx="4">
                  <c:v>Av Price/Unit 29.67</c:v>
                </c:pt>
                <c:pt idx="5">
                  <c:v>Av Price/Unit 42.06</c:v>
                </c:pt>
                <c:pt idx="6">
                  <c:v>Av Price/Unit 29.28</c:v>
                </c:pt>
                <c:pt idx="7">
                  <c:v>Av Price/Unit 37.08</c:v>
                </c:pt>
                <c:pt idx="8">
                  <c:v>Av Price/Unit 30.45</c:v>
                </c:pt>
                <c:pt idx="9">
                  <c:v>Av Price/Unit 30.11</c:v>
                </c:pt>
                <c:pt idx="10">
                  <c:v>Av Price/Unit 97.82</c:v>
                </c:pt>
                <c:pt idx="11">
                  <c:v>Av Price/Unit 29.03</c:v>
                </c:pt>
              </c:strCache>
            </c:strRef>
          </c:cat>
          <c:val>
            <c:numRef>
              <c:f>Sheet1!$D$2:$D$13</c:f>
              <c:numCache>
                <c:formatCode>General</c:formatCode>
                <c:ptCount val="12"/>
                <c:pt idx="0">
                  <c:v>-0.98456405549042358</c:v>
                </c:pt>
                <c:pt idx="1">
                  <c:v>0.75397298489350817</c:v>
                </c:pt>
                <c:pt idx="2">
                  <c:v>0.22778533116375144</c:v>
                </c:pt>
                <c:pt idx="3">
                  <c:v>-8.4070955985410478E-2</c:v>
                </c:pt>
                <c:pt idx="4">
                  <c:v>-0.21529505068933119</c:v>
                </c:pt>
                <c:pt idx="5">
                  <c:v>-0.1061395328744652</c:v>
                </c:pt>
                <c:pt idx="6">
                  <c:v>-0.9781202743206947</c:v>
                </c:pt>
                <c:pt idx="7">
                  <c:v>-0.22582826360190111</c:v>
                </c:pt>
                <c:pt idx="8">
                  <c:v>0.16988052868421377</c:v>
                </c:pt>
                <c:pt idx="9">
                  <c:v>-0.45070387167404391</c:v>
                </c:pt>
                <c:pt idx="10">
                  <c:v>8.9942955933224766E-2</c:v>
                </c:pt>
                <c:pt idx="11">
                  <c:v>-0.816138136766337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2</c:v>
                </c:pt>
                <c:pt idx="2">
                  <c:v>Av Price/Unit 46.07</c:v>
                </c:pt>
                <c:pt idx="3">
                  <c:v>Av Price/Unit 93.31</c:v>
                </c:pt>
                <c:pt idx="4">
                  <c:v>Av Price/Unit 29.67</c:v>
                </c:pt>
                <c:pt idx="5">
                  <c:v>Av Price/Unit 42.06</c:v>
                </c:pt>
                <c:pt idx="6">
                  <c:v>Av Price/Unit 29.28</c:v>
                </c:pt>
                <c:pt idx="7">
                  <c:v>Av Price/Unit 37.08</c:v>
                </c:pt>
                <c:pt idx="8">
                  <c:v>Av Price/Unit 30.45</c:v>
                </c:pt>
                <c:pt idx="9">
                  <c:v>Av Price/Unit 30.11</c:v>
                </c:pt>
                <c:pt idx="10">
                  <c:v>Av Price/Unit 97.82</c:v>
                </c:pt>
                <c:pt idx="11">
                  <c:v>Av Price/Unit 29.03</c:v>
                </c:pt>
              </c:strCache>
            </c:strRef>
          </c:cat>
          <c:val>
            <c:numRef>
              <c:f>Sheet1!$E$2:$E$13</c:f>
              <c:numCache>
                <c:formatCode>General</c:formatCode>
                <c:ptCount val="12"/>
                <c:pt idx="0">
                  <c:v>9.0109183274716642</c:v>
                </c:pt>
                <c:pt idx="1">
                  <c:v>3.552903838075828</c:v>
                </c:pt>
                <c:pt idx="2">
                  <c:v>7.6786797645593481</c:v>
                </c:pt>
                <c:pt idx="3">
                  <c:v>15.551948416035881</c:v>
                </c:pt>
                <c:pt idx="4">
                  <c:v>4.9443620227617489</c:v>
                </c:pt>
                <c:pt idx="5">
                  <c:v>7.0101661722777413</c:v>
                </c:pt>
                <c:pt idx="6">
                  <c:v>4.8794336695657021</c:v>
                </c:pt>
                <c:pt idx="7">
                  <c:v>6.1799694327974004</c:v>
                </c:pt>
                <c:pt idx="8">
                  <c:v>5.0745331572849022</c:v>
                </c:pt>
                <c:pt idx="9">
                  <c:v>5.0177828549669181</c:v>
                </c:pt>
                <c:pt idx="10">
                  <c:v>16.302784521444853</c:v>
                </c:pt>
                <c:pt idx="11">
                  <c:v>4.838853128460686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0</c:v>
                </c:pt>
                <c:pt idx="1">
                  <c:v>Av Price/Unit 46.05</c:v>
                </c:pt>
                <c:pt idx="2">
                  <c:v>Av Price/Unit 21.36</c:v>
                </c:pt>
                <c:pt idx="3">
                  <c:v>Av Price/Unit 93.77</c:v>
                </c:pt>
                <c:pt idx="4">
                  <c:v>Av Price/Unit 29.24</c:v>
                </c:pt>
                <c:pt idx="5">
                  <c:v>Av Price/Unit 29.56</c:v>
                </c:pt>
                <c:pt idx="6">
                  <c:v>Av Price/Unit 37.61</c:v>
                </c:pt>
                <c:pt idx="7">
                  <c:v>Av Price/Unit 30.34</c:v>
                </c:pt>
                <c:pt idx="8">
                  <c:v>Av Price/Unit 98.34</c:v>
                </c:pt>
                <c:pt idx="9">
                  <c:v>Av Price/Unit 29.63</c:v>
                </c:pt>
                <c:pt idx="10">
                  <c:v>Av Price/Unit 41.95</c:v>
                </c:pt>
                <c:pt idx="11">
                  <c:v>Av Price/Unit 45.77</c:v>
                </c:pt>
              </c:strCache>
            </c:strRef>
          </c:cat>
          <c:val>
            <c:numRef>
              <c:f>Sheet1!$B$2:$B$13</c:f>
              <c:numCache>
                <c:formatCode>General</c:formatCode>
                <c:ptCount val="12"/>
                <c:pt idx="0">
                  <c:v>18.170999103554866</c:v>
                </c:pt>
                <c:pt idx="1">
                  <c:v>15.821081786542925</c:v>
                </c:pt>
                <c:pt idx="2">
                  <c:v>3.614221763445979</c:v>
                </c:pt>
                <c:pt idx="3">
                  <c:v>30.002478294573653</c:v>
                </c:pt>
                <c:pt idx="4">
                  <c:v>10.135968718067813</c:v>
                </c:pt>
                <c:pt idx="5">
                  <c:v>10.747534031852473</c:v>
                </c:pt>
                <c:pt idx="6">
                  <c:v>12.792391918832324</c:v>
                </c:pt>
                <c:pt idx="7">
                  <c:v>11.446920696791993</c:v>
                </c:pt>
                <c:pt idx="8">
                  <c:v>31.703690322580652</c:v>
                </c:pt>
                <c:pt idx="9">
                  <c:v>11.068651501668521</c:v>
                </c:pt>
                <c:pt idx="10">
                  <c:v>14.80851888111888</c:v>
                </c:pt>
                <c:pt idx="11">
                  <c:v>15.08185292096219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0</c:v>
                </c:pt>
                <c:pt idx="1">
                  <c:v>Av Price/Unit 46.05</c:v>
                </c:pt>
                <c:pt idx="2">
                  <c:v>Av Price/Unit 21.36</c:v>
                </c:pt>
                <c:pt idx="3">
                  <c:v>Av Price/Unit 93.77</c:v>
                </c:pt>
                <c:pt idx="4">
                  <c:v>Av Price/Unit 29.24</c:v>
                </c:pt>
                <c:pt idx="5">
                  <c:v>Av Price/Unit 29.56</c:v>
                </c:pt>
                <c:pt idx="6">
                  <c:v>Av Price/Unit 37.61</c:v>
                </c:pt>
                <c:pt idx="7">
                  <c:v>Av Price/Unit 30.34</c:v>
                </c:pt>
                <c:pt idx="8">
                  <c:v>Av Price/Unit 98.34</c:v>
                </c:pt>
                <c:pt idx="9">
                  <c:v>Av Price/Unit 29.63</c:v>
                </c:pt>
                <c:pt idx="10">
                  <c:v>Av Price/Unit 41.95</c:v>
                </c:pt>
                <c:pt idx="11">
                  <c:v>Av Price/Unit 45.77</c:v>
                </c:pt>
              </c:strCache>
            </c:strRef>
          </c:cat>
          <c:val>
            <c:numRef>
              <c:f>Sheet1!$C$2:$C$13</c:f>
              <c:numCache>
                <c:formatCode>General</c:formatCode>
                <c:ptCount val="12"/>
                <c:pt idx="0">
                  <c:v>27.904780247295211</c:v>
                </c:pt>
                <c:pt idx="1">
                  <c:v>22.315768445475637</c:v>
                </c:pt>
                <c:pt idx="2">
                  <c:v>13.387728367444076</c:v>
                </c:pt>
                <c:pt idx="3">
                  <c:v>47.817255813953494</c:v>
                </c:pt>
                <c:pt idx="4">
                  <c:v>15.225952415234557</c:v>
                </c:pt>
                <c:pt idx="5">
                  <c:v>14.205425565800503</c:v>
                </c:pt>
                <c:pt idx="6">
                  <c:v>18.341444784620858</c:v>
                </c:pt>
                <c:pt idx="7">
                  <c:v>14.100514694722317</c:v>
                </c:pt>
                <c:pt idx="8">
                  <c:v>49.761354838709671</c:v>
                </c:pt>
                <c:pt idx="9">
                  <c:v>13.816348498331481</c:v>
                </c:pt>
                <c:pt idx="10">
                  <c:v>20.57426874663798</c:v>
                </c:pt>
                <c:pt idx="11">
                  <c:v>22.29434226804123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0</c:v>
                </c:pt>
                <c:pt idx="1">
                  <c:v>Av Price/Unit 46.05</c:v>
                </c:pt>
                <c:pt idx="2">
                  <c:v>Av Price/Unit 21.36</c:v>
                </c:pt>
                <c:pt idx="3">
                  <c:v>Av Price/Unit 93.77</c:v>
                </c:pt>
                <c:pt idx="4">
                  <c:v>Av Price/Unit 29.24</c:v>
                </c:pt>
                <c:pt idx="5">
                  <c:v>Av Price/Unit 29.56</c:v>
                </c:pt>
                <c:pt idx="6">
                  <c:v>Av Price/Unit 37.61</c:v>
                </c:pt>
                <c:pt idx="7">
                  <c:v>Av Price/Unit 30.34</c:v>
                </c:pt>
                <c:pt idx="8">
                  <c:v>Av Price/Unit 98.34</c:v>
                </c:pt>
                <c:pt idx="9">
                  <c:v>Av Price/Unit 29.63</c:v>
                </c:pt>
                <c:pt idx="10">
                  <c:v>Av Price/Unit 41.95</c:v>
                </c:pt>
                <c:pt idx="11">
                  <c:v>Av Price/Unit 45.77</c:v>
                </c:pt>
              </c:strCache>
            </c:strRef>
          </c:cat>
          <c:val>
            <c:numRef>
              <c:f>Sheet1!$D$2:$D$13</c:f>
              <c:numCache>
                <c:formatCode>General</c:formatCode>
                <c:ptCount val="12"/>
                <c:pt idx="0">
                  <c:v>-1.161278923235443</c:v>
                </c:pt>
                <c:pt idx="1">
                  <c:v>0.24233820572312226</c:v>
                </c:pt>
                <c:pt idx="2">
                  <c:v>0.79522978343645434</c:v>
                </c:pt>
                <c:pt idx="3">
                  <c:v>0.31872411714041959</c:v>
                </c:pt>
                <c:pt idx="4">
                  <c:v>-0.99901665892553027</c:v>
                </c:pt>
                <c:pt idx="5">
                  <c:v>-0.32150127596162648</c:v>
                </c:pt>
                <c:pt idx="6">
                  <c:v>0.2056079387682388</c:v>
                </c:pt>
                <c:pt idx="7">
                  <c:v>-0.26314195699666953</c:v>
                </c:pt>
                <c:pt idx="8">
                  <c:v>0.48195944700461268</c:v>
                </c:pt>
                <c:pt idx="9">
                  <c:v>-0.19367630700778804</c:v>
                </c:pt>
                <c:pt idx="10">
                  <c:v>-0.42358016854939962</c:v>
                </c:pt>
                <c:pt idx="11">
                  <c:v>0.7681347079037834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0</c:v>
                </c:pt>
                <c:pt idx="1">
                  <c:v>Av Price/Unit 46.05</c:v>
                </c:pt>
                <c:pt idx="2">
                  <c:v>Av Price/Unit 21.36</c:v>
                </c:pt>
                <c:pt idx="3">
                  <c:v>Av Price/Unit 93.77</c:v>
                </c:pt>
                <c:pt idx="4">
                  <c:v>Av Price/Unit 29.24</c:v>
                </c:pt>
                <c:pt idx="5">
                  <c:v>Av Price/Unit 29.56</c:v>
                </c:pt>
                <c:pt idx="6">
                  <c:v>Av Price/Unit 37.61</c:v>
                </c:pt>
                <c:pt idx="7">
                  <c:v>Av Price/Unit 30.34</c:v>
                </c:pt>
                <c:pt idx="8">
                  <c:v>Av Price/Unit 98.34</c:v>
                </c:pt>
                <c:pt idx="9">
                  <c:v>Av Price/Unit 29.63</c:v>
                </c:pt>
                <c:pt idx="10">
                  <c:v>Av Price/Unit 41.95</c:v>
                </c:pt>
                <c:pt idx="11">
                  <c:v>Av Price/Unit 45.77</c:v>
                </c:pt>
              </c:strCache>
            </c:strRef>
          </c:cat>
          <c:val>
            <c:numRef>
              <c:f>Sheet1!$E$2:$E$13</c:f>
              <c:numCache>
                <c:formatCode>General</c:formatCode>
                <c:ptCount val="12"/>
                <c:pt idx="0">
                  <c:v>8.9828954147346707</c:v>
                </c:pt>
                <c:pt idx="1">
                  <c:v>7.6758313998453165</c:v>
                </c:pt>
                <c:pt idx="2">
                  <c:v>3.5594359828653022</c:v>
                </c:pt>
                <c:pt idx="3">
                  <c:v>15.62769164513349</c:v>
                </c:pt>
                <c:pt idx="4">
                  <c:v>4.8725808948753704</c:v>
                </c:pt>
                <c:pt idx="5">
                  <c:v>4.9262829468194065</c:v>
                </c:pt>
                <c:pt idx="6">
                  <c:v>6.267888928444286</c:v>
                </c:pt>
                <c:pt idx="7">
                  <c:v>5.0568586869035279</c:v>
                </c:pt>
                <c:pt idx="8">
                  <c:v>16.389400921658986</c:v>
                </c:pt>
                <c:pt idx="9">
                  <c:v>4.9382647385984431</c:v>
                </c:pt>
                <c:pt idx="10">
                  <c:v>6.9918414918414893</c:v>
                </c:pt>
                <c:pt idx="11">
                  <c:v>7.628865979381443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8</c:v>
                </c:pt>
                <c:pt idx="1">
                  <c:v>Av Price/Unit 21.11</c:v>
                </c:pt>
                <c:pt idx="2">
                  <c:v>Av Price/Unit 46.16</c:v>
                </c:pt>
                <c:pt idx="3">
                  <c:v>Av Price/Unit 29.06</c:v>
                </c:pt>
                <c:pt idx="4">
                  <c:v>Av Price/Unit 94.44</c:v>
                </c:pt>
                <c:pt idx="5">
                  <c:v>Av Price/Unit 30.06</c:v>
                </c:pt>
                <c:pt idx="6">
                  <c:v>Av Price/Unit 37.81</c:v>
                </c:pt>
                <c:pt idx="7">
                  <c:v>Av Price/Unit 29.44</c:v>
                </c:pt>
                <c:pt idx="8">
                  <c:v>Av Price/Unit 29.20</c:v>
                </c:pt>
                <c:pt idx="9">
                  <c:v>Av Price/Unit 37.61</c:v>
                </c:pt>
                <c:pt idx="10">
                  <c:v>Av Price/Unit 42.95</c:v>
                </c:pt>
                <c:pt idx="11">
                  <c:v>Av Price/Unit 37.59</c:v>
                </c:pt>
              </c:strCache>
            </c:strRef>
          </c:cat>
          <c:val>
            <c:numRef>
              <c:f>Sheet1!$B$2:$B$13</c:f>
              <c:numCache>
                <c:formatCode>General</c:formatCode>
                <c:ptCount val="12"/>
                <c:pt idx="0">
                  <c:v>18.173534562211984</c:v>
                </c:pt>
                <c:pt idx="1">
                  <c:v>3.6190399051403666</c:v>
                </c:pt>
                <c:pt idx="2">
                  <c:v>15.816964188297405</c:v>
                </c:pt>
                <c:pt idx="3">
                  <c:v>10.099752058729653</c:v>
                </c:pt>
                <c:pt idx="4">
                  <c:v>30.33945193370166</c:v>
                </c:pt>
                <c:pt idx="5">
                  <c:v>11.449155678670358</c:v>
                </c:pt>
                <c:pt idx="6">
                  <c:v>12.786316457142858</c:v>
                </c:pt>
                <c:pt idx="7">
                  <c:v>10.790942603550295</c:v>
                </c:pt>
                <c:pt idx="8">
                  <c:v>11.05539466271312</c:v>
                </c:pt>
                <c:pt idx="9">
                  <c:v>13.252699679144387</c:v>
                </c:pt>
                <c:pt idx="10">
                  <c:v>14.729412499999999</c:v>
                </c:pt>
                <c:pt idx="11">
                  <c:v>13.23114313487241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8</c:v>
                </c:pt>
                <c:pt idx="1">
                  <c:v>Av Price/Unit 21.11</c:v>
                </c:pt>
                <c:pt idx="2">
                  <c:v>Av Price/Unit 46.16</c:v>
                </c:pt>
                <c:pt idx="3">
                  <c:v>Av Price/Unit 29.06</c:v>
                </c:pt>
                <c:pt idx="4">
                  <c:v>Av Price/Unit 94.44</c:v>
                </c:pt>
                <c:pt idx="5">
                  <c:v>Av Price/Unit 30.06</c:v>
                </c:pt>
                <c:pt idx="6">
                  <c:v>Av Price/Unit 37.81</c:v>
                </c:pt>
                <c:pt idx="7">
                  <c:v>Av Price/Unit 29.44</c:v>
                </c:pt>
                <c:pt idx="8">
                  <c:v>Av Price/Unit 29.20</c:v>
                </c:pt>
                <c:pt idx="9">
                  <c:v>Av Price/Unit 37.61</c:v>
                </c:pt>
                <c:pt idx="10">
                  <c:v>Av Price/Unit 42.95</c:v>
                </c:pt>
                <c:pt idx="11">
                  <c:v>Av Price/Unit 37.59</c:v>
                </c:pt>
              </c:strCache>
            </c:strRef>
          </c:cat>
          <c:val>
            <c:numRef>
              <c:f>Sheet1!$C$2:$C$13</c:f>
              <c:numCache>
                <c:formatCode>General</c:formatCode>
                <c:ptCount val="12"/>
                <c:pt idx="0">
                  <c:v>27.896904608294932</c:v>
                </c:pt>
                <c:pt idx="1">
                  <c:v>13.380128688629663</c:v>
                </c:pt>
                <c:pt idx="2">
                  <c:v>22.315987505499336</c:v>
                </c:pt>
                <c:pt idx="3">
                  <c:v>15.268573890839447</c:v>
                </c:pt>
                <c:pt idx="4">
                  <c:v>47.651997237569063</c:v>
                </c:pt>
                <c:pt idx="5">
                  <c:v>14.102873407202217</c:v>
                </c:pt>
                <c:pt idx="6">
                  <c:v>18.343444171428573</c:v>
                </c:pt>
                <c:pt idx="7">
                  <c:v>14.180484615384614</c:v>
                </c:pt>
                <c:pt idx="8">
                  <c:v>13.799301927353596</c:v>
                </c:pt>
                <c:pt idx="9">
                  <c:v>17.095252085561494</c:v>
                </c:pt>
                <c:pt idx="10">
                  <c:v>20.571287500000004</c:v>
                </c:pt>
                <c:pt idx="11">
                  <c:v>17.38173426488457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8</c:v>
                </c:pt>
                <c:pt idx="1">
                  <c:v>Av Price/Unit 21.11</c:v>
                </c:pt>
                <c:pt idx="2">
                  <c:v>Av Price/Unit 46.16</c:v>
                </c:pt>
                <c:pt idx="3">
                  <c:v>Av Price/Unit 29.06</c:v>
                </c:pt>
                <c:pt idx="4">
                  <c:v>Av Price/Unit 94.44</c:v>
                </c:pt>
                <c:pt idx="5">
                  <c:v>Av Price/Unit 30.06</c:v>
                </c:pt>
                <c:pt idx="6">
                  <c:v>Av Price/Unit 37.81</c:v>
                </c:pt>
                <c:pt idx="7">
                  <c:v>Av Price/Unit 29.44</c:v>
                </c:pt>
                <c:pt idx="8">
                  <c:v>Av Price/Unit 29.20</c:v>
                </c:pt>
                <c:pt idx="9">
                  <c:v>Av Price/Unit 37.61</c:v>
                </c:pt>
                <c:pt idx="10">
                  <c:v>Av Price/Unit 42.95</c:v>
                </c:pt>
                <c:pt idx="11">
                  <c:v>Av Price/Unit 37.59</c:v>
                </c:pt>
              </c:strCache>
            </c:strRef>
          </c:cat>
          <c:val>
            <c:numRef>
              <c:f>Sheet1!$D$2:$D$13</c:f>
              <c:numCache>
                <c:formatCode>General</c:formatCode>
                <c:ptCount val="12"/>
                <c:pt idx="0">
                  <c:v>-1.0035949308755789</c:v>
                </c:pt>
                <c:pt idx="1">
                  <c:v>0.59579786352177067</c:v>
                </c:pt>
                <c:pt idx="2">
                  <c:v>0.33532949112773025</c:v>
                </c:pt>
                <c:pt idx="3">
                  <c:v>-1.1524519204170609</c:v>
                </c:pt>
                <c:pt idx="4">
                  <c:v>0.71251031307551216</c:v>
                </c:pt>
                <c:pt idx="5">
                  <c:v>-0.50239843028624165</c:v>
                </c:pt>
                <c:pt idx="6">
                  <c:v>0.38262032380952604</c:v>
                </c:pt>
                <c:pt idx="7">
                  <c:v>-0.44065417488494774</c:v>
                </c:pt>
                <c:pt idx="8">
                  <c:v>-0.52000422535210333</c:v>
                </c:pt>
                <c:pt idx="9">
                  <c:v>0.99340295900178788</c:v>
                </c:pt>
                <c:pt idx="10">
                  <c:v>0.48719893617021626</c:v>
                </c:pt>
                <c:pt idx="11">
                  <c:v>0.7105328878088279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8</c:v>
                </c:pt>
                <c:pt idx="1">
                  <c:v>Av Price/Unit 21.11</c:v>
                </c:pt>
                <c:pt idx="2">
                  <c:v>Av Price/Unit 46.16</c:v>
                </c:pt>
                <c:pt idx="3">
                  <c:v>Av Price/Unit 29.06</c:v>
                </c:pt>
                <c:pt idx="4">
                  <c:v>Av Price/Unit 94.44</c:v>
                </c:pt>
                <c:pt idx="5">
                  <c:v>Av Price/Unit 30.06</c:v>
                </c:pt>
                <c:pt idx="6">
                  <c:v>Av Price/Unit 37.81</c:v>
                </c:pt>
                <c:pt idx="7">
                  <c:v>Av Price/Unit 29.44</c:v>
                </c:pt>
                <c:pt idx="8">
                  <c:v>Av Price/Unit 29.20</c:v>
                </c:pt>
                <c:pt idx="9">
                  <c:v>Av Price/Unit 37.61</c:v>
                </c:pt>
                <c:pt idx="10">
                  <c:v>Av Price/Unit 42.95</c:v>
                </c:pt>
                <c:pt idx="11">
                  <c:v>Av Price/Unit 37.59</c:v>
                </c:pt>
              </c:strCache>
            </c:strRef>
          </c:cat>
          <c:val>
            <c:numRef>
              <c:f>Sheet1!$E$2:$E$13</c:f>
              <c:numCache>
                <c:formatCode>General</c:formatCode>
                <c:ptCount val="12"/>
                <c:pt idx="0">
                  <c:v>9.0133640552995384</c:v>
                </c:pt>
                <c:pt idx="1">
                  <c:v>3.5189932914583588</c:v>
                </c:pt>
                <c:pt idx="2">
                  <c:v>7.6936500953218907</c:v>
                </c:pt>
                <c:pt idx="3">
                  <c:v>4.8431748058304045</c:v>
                </c:pt>
                <c:pt idx="4">
                  <c:v>15.740791896869249</c:v>
                </c:pt>
                <c:pt idx="5">
                  <c:v>5.0099261311172665</c:v>
                </c:pt>
                <c:pt idx="6">
                  <c:v>6.3024761904761917</c:v>
                </c:pt>
                <c:pt idx="7">
                  <c:v>4.9061472715318892</c:v>
                </c:pt>
                <c:pt idx="8">
                  <c:v>4.8669384729429153</c:v>
                </c:pt>
                <c:pt idx="9">
                  <c:v>6.2682709447415315</c:v>
                </c:pt>
                <c:pt idx="10">
                  <c:v>7.1575797872340381</c:v>
                </c:pt>
                <c:pt idx="11">
                  <c:v>6.264682057513166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9</c:v>
                </c:pt>
                <c:pt idx="1">
                  <c:v>Av Price/Unit 20.79</c:v>
                </c:pt>
                <c:pt idx="2">
                  <c:v>Av Price/Unit 30.30</c:v>
                </c:pt>
                <c:pt idx="3">
                  <c:v>Av Price/Unit 45.75</c:v>
                </c:pt>
                <c:pt idx="4">
                  <c:v>Av Price/Unit 94.65</c:v>
                </c:pt>
                <c:pt idx="5">
                  <c:v>Av Price/Unit 37.34</c:v>
                </c:pt>
                <c:pt idx="6">
                  <c:v>Av Price/Unit 29.22</c:v>
                </c:pt>
                <c:pt idx="7">
                  <c:v>Av Price/Unit 56.56</c:v>
                </c:pt>
                <c:pt idx="8">
                  <c:v>Av Price/Unit 30.60</c:v>
                </c:pt>
                <c:pt idx="9">
                  <c:v>Av Price/Unit 41.58</c:v>
                </c:pt>
                <c:pt idx="10">
                  <c:v>Av Price/Unit 30.33</c:v>
                </c:pt>
                <c:pt idx="11">
                  <c:v>Av Price/Unit 29.41</c:v>
                </c:pt>
              </c:strCache>
            </c:strRef>
          </c:cat>
          <c:val>
            <c:numRef>
              <c:f>Sheet1!$B$2:$B$13</c:f>
              <c:numCache>
                <c:formatCode>General</c:formatCode>
                <c:ptCount val="12"/>
                <c:pt idx="0">
                  <c:v>18.173492797319931</c:v>
                </c:pt>
                <c:pt idx="1">
                  <c:v>3.6024420990566037</c:v>
                </c:pt>
                <c:pt idx="2">
                  <c:v>8.78400091920658</c:v>
                </c:pt>
                <c:pt idx="3">
                  <c:v>15.818157495741055</c:v>
                </c:pt>
                <c:pt idx="4">
                  <c:v>30.263941472868218</c:v>
                </c:pt>
                <c:pt idx="5">
                  <c:v>12.780187398005438</c:v>
                </c:pt>
                <c:pt idx="6">
                  <c:v>10.762634455270151</c:v>
                </c:pt>
                <c:pt idx="7">
                  <c:v>19.607055254237288</c:v>
                </c:pt>
                <c:pt idx="8">
                  <c:v>11.45042534562212</c:v>
                </c:pt>
                <c:pt idx="9">
                  <c:v>14.899060617760618</c:v>
                </c:pt>
                <c:pt idx="10">
                  <c:v>11.481808982035929</c:v>
                </c:pt>
                <c:pt idx="11">
                  <c:v>10.16091213692946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9</c:v>
                </c:pt>
                <c:pt idx="1">
                  <c:v>Av Price/Unit 20.79</c:v>
                </c:pt>
                <c:pt idx="2">
                  <c:v>Av Price/Unit 30.30</c:v>
                </c:pt>
                <c:pt idx="3">
                  <c:v>Av Price/Unit 45.75</c:v>
                </c:pt>
                <c:pt idx="4">
                  <c:v>Av Price/Unit 94.65</c:v>
                </c:pt>
                <c:pt idx="5">
                  <c:v>Av Price/Unit 37.34</c:v>
                </c:pt>
                <c:pt idx="6">
                  <c:v>Av Price/Unit 29.22</c:v>
                </c:pt>
                <c:pt idx="7">
                  <c:v>Av Price/Unit 56.56</c:v>
                </c:pt>
                <c:pt idx="8">
                  <c:v>Av Price/Unit 30.60</c:v>
                </c:pt>
                <c:pt idx="9">
                  <c:v>Av Price/Unit 41.58</c:v>
                </c:pt>
                <c:pt idx="10">
                  <c:v>Av Price/Unit 30.33</c:v>
                </c:pt>
                <c:pt idx="11">
                  <c:v>Av Price/Unit 29.41</c:v>
                </c:pt>
              </c:strCache>
            </c:strRef>
          </c:cat>
          <c:val>
            <c:numRef>
              <c:f>Sheet1!$C$2:$C$13</c:f>
              <c:numCache>
                <c:formatCode>General</c:formatCode>
                <c:ptCount val="12"/>
                <c:pt idx="0">
                  <c:v>27.897034338358459</c:v>
                </c:pt>
                <c:pt idx="1">
                  <c:v>13.406308490566039</c:v>
                </c:pt>
                <c:pt idx="2">
                  <c:v>18.901983551040153</c:v>
                </c:pt>
                <c:pt idx="3">
                  <c:v>22.315924020442928</c:v>
                </c:pt>
                <c:pt idx="4">
                  <c:v>47.689029069767436</c:v>
                </c:pt>
                <c:pt idx="5">
                  <c:v>18.345461196736174</c:v>
                </c:pt>
                <c:pt idx="6">
                  <c:v>14.196749424269266</c:v>
                </c:pt>
                <c:pt idx="7">
                  <c:v>27.636342711864405</c:v>
                </c:pt>
                <c:pt idx="8">
                  <c:v>14.104213364055301</c:v>
                </c:pt>
                <c:pt idx="9">
                  <c:v>20.577680952380955</c:v>
                </c:pt>
                <c:pt idx="10">
                  <c:v>13.867738323353294</c:v>
                </c:pt>
                <c:pt idx="11">
                  <c:v>15.19659782157676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9</c:v>
                </c:pt>
                <c:pt idx="1">
                  <c:v>Av Price/Unit 20.79</c:v>
                </c:pt>
                <c:pt idx="2">
                  <c:v>Av Price/Unit 30.30</c:v>
                </c:pt>
                <c:pt idx="3">
                  <c:v>Av Price/Unit 45.75</c:v>
                </c:pt>
                <c:pt idx="4">
                  <c:v>Av Price/Unit 94.65</c:v>
                </c:pt>
                <c:pt idx="5">
                  <c:v>Av Price/Unit 37.34</c:v>
                </c:pt>
                <c:pt idx="6">
                  <c:v>Av Price/Unit 29.22</c:v>
                </c:pt>
                <c:pt idx="7">
                  <c:v>Av Price/Unit 56.56</c:v>
                </c:pt>
                <c:pt idx="8">
                  <c:v>Av Price/Unit 30.60</c:v>
                </c:pt>
                <c:pt idx="9">
                  <c:v>Av Price/Unit 41.58</c:v>
                </c:pt>
                <c:pt idx="10">
                  <c:v>Av Price/Unit 30.33</c:v>
                </c:pt>
                <c:pt idx="11">
                  <c:v>Av Price/Unit 29.41</c:v>
                </c:pt>
              </c:strCache>
            </c:strRef>
          </c:cat>
          <c:val>
            <c:numRef>
              <c:f>Sheet1!$D$2:$D$13</c:f>
              <c:numCache>
                <c:formatCode>General</c:formatCode>
                <c:ptCount val="12"/>
                <c:pt idx="0">
                  <c:v>-0.99617319932996651</c:v>
                </c:pt>
                <c:pt idx="1">
                  <c:v>0.31894857180293457</c:v>
                </c:pt>
                <c:pt idx="2">
                  <c:v>-2.4396532333494605</c:v>
                </c:pt>
                <c:pt idx="3">
                  <c:v>-8.6956842703074244E-3</c:v>
                </c:pt>
                <c:pt idx="4">
                  <c:v>0.91976847545220153</c:v>
                </c:pt>
                <c:pt idx="5">
                  <c:v>-9.7525536415830061E-3</c:v>
                </c:pt>
                <c:pt idx="6">
                  <c:v>-0.61331375848833503</c:v>
                </c:pt>
                <c:pt idx="7">
                  <c:v>-0.10783491525424438</c:v>
                </c:pt>
                <c:pt idx="8">
                  <c:v>-5.1566513056837238E-2</c:v>
                </c:pt>
                <c:pt idx="9">
                  <c:v>-0.82423191763191994</c:v>
                </c:pt>
                <c:pt idx="10">
                  <c:v>-7.5096207584831376E-2</c:v>
                </c:pt>
                <c:pt idx="11">
                  <c:v>-0.8493840940525565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9</c:v>
                </c:pt>
                <c:pt idx="1">
                  <c:v>Av Price/Unit 20.79</c:v>
                </c:pt>
                <c:pt idx="2">
                  <c:v>Av Price/Unit 30.30</c:v>
                </c:pt>
                <c:pt idx="3">
                  <c:v>Av Price/Unit 45.75</c:v>
                </c:pt>
                <c:pt idx="4">
                  <c:v>Av Price/Unit 94.65</c:v>
                </c:pt>
                <c:pt idx="5">
                  <c:v>Av Price/Unit 37.34</c:v>
                </c:pt>
                <c:pt idx="6">
                  <c:v>Av Price/Unit 29.22</c:v>
                </c:pt>
                <c:pt idx="7">
                  <c:v>Av Price/Unit 56.56</c:v>
                </c:pt>
                <c:pt idx="8">
                  <c:v>Av Price/Unit 30.60</c:v>
                </c:pt>
                <c:pt idx="9">
                  <c:v>Av Price/Unit 41.58</c:v>
                </c:pt>
                <c:pt idx="10">
                  <c:v>Av Price/Unit 30.33</c:v>
                </c:pt>
                <c:pt idx="11">
                  <c:v>Av Price/Unit 29.41</c:v>
                </c:pt>
              </c:strCache>
            </c:strRef>
          </c:cat>
          <c:val>
            <c:numRef>
              <c:f>Sheet1!$E$2:$E$13</c:f>
              <c:numCache>
                <c:formatCode>General</c:formatCode>
                <c:ptCount val="12"/>
                <c:pt idx="0">
                  <c:v>9.0148659966499096</c:v>
                </c:pt>
                <c:pt idx="1">
                  <c:v>3.4655398322851134</c:v>
                </c:pt>
                <c:pt idx="2">
                  <c:v>5.0492662473794523</c:v>
                </c:pt>
                <c:pt idx="3">
                  <c:v>7.6250709823963678</c:v>
                </c:pt>
                <c:pt idx="4">
                  <c:v>15.774547803617565</c:v>
                </c:pt>
                <c:pt idx="5">
                  <c:v>6.2231792082200039</c:v>
                </c:pt>
                <c:pt idx="6">
                  <c:v>4.8692057868320004</c:v>
                </c:pt>
                <c:pt idx="7">
                  <c:v>9.4271186440677965</c:v>
                </c:pt>
                <c:pt idx="8">
                  <c:v>5.1006144393241142</c:v>
                </c:pt>
                <c:pt idx="9">
                  <c:v>6.9305019305019302</c:v>
                </c:pt>
                <c:pt idx="10">
                  <c:v>5.0548902195608783</c:v>
                </c:pt>
                <c:pt idx="11">
                  <c:v>4.901625172890730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4</c:v>
                </c:pt>
                <c:pt idx="2">
                  <c:v>Av Price/Unit 46.07</c:v>
                </c:pt>
                <c:pt idx="3">
                  <c:v>Av Price/Unit 93.66</c:v>
                </c:pt>
                <c:pt idx="4">
                  <c:v>Av Price/Unit 29.31</c:v>
                </c:pt>
                <c:pt idx="5">
                  <c:v>Av Price/Unit 29.64</c:v>
                </c:pt>
                <c:pt idx="6">
                  <c:v>Av Price/Unit 30.21</c:v>
                </c:pt>
                <c:pt idx="7">
                  <c:v>Av Price/Unit 37.33</c:v>
                </c:pt>
                <c:pt idx="8">
                  <c:v>Av Price/Unit 42.06</c:v>
                </c:pt>
                <c:pt idx="9">
                  <c:v>Av Price/Unit 30.43</c:v>
                </c:pt>
                <c:pt idx="10">
                  <c:v>Av Price/Unit 98.00</c:v>
                </c:pt>
                <c:pt idx="11">
                  <c:v>Av Price/Unit 37.41</c:v>
                </c:pt>
              </c:strCache>
            </c:strRef>
          </c:cat>
          <c:val>
            <c:numRef>
              <c:f>Sheet1!$B$2:$B$13</c:f>
              <c:numCache>
                <c:formatCode>General</c:formatCode>
                <c:ptCount val="12"/>
                <c:pt idx="0">
                  <c:v>18.186566998862343</c:v>
                </c:pt>
                <c:pt idx="1">
                  <c:v>3.6061959679541538</c:v>
                </c:pt>
                <c:pt idx="2">
                  <c:v>15.824029539951576</c:v>
                </c:pt>
                <c:pt idx="3">
                  <c:v>30.208709491525429</c:v>
                </c:pt>
                <c:pt idx="4">
                  <c:v>10.088208180240128</c:v>
                </c:pt>
                <c:pt idx="5">
                  <c:v>10.726425436111525</c:v>
                </c:pt>
                <c:pt idx="6">
                  <c:v>11.442508632702923</c:v>
                </c:pt>
                <c:pt idx="7">
                  <c:v>12.781303416300634</c:v>
                </c:pt>
                <c:pt idx="8">
                  <c:v>14.662505253673411</c:v>
                </c:pt>
                <c:pt idx="9">
                  <c:v>11.356629487437186</c:v>
                </c:pt>
                <c:pt idx="10">
                  <c:v>31.72265995075913</c:v>
                </c:pt>
                <c:pt idx="11">
                  <c:v>13.23735045871559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4</c:v>
                </c:pt>
                <c:pt idx="2">
                  <c:v>Av Price/Unit 46.07</c:v>
                </c:pt>
                <c:pt idx="3">
                  <c:v>Av Price/Unit 93.66</c:v>
                </c:pt>
                <c:pt idx="4">
                  <c:v>Av Price/Unit 29.31</c:v>
                </c:pt>
                <c:pt idx="5">
                  <c:v>Av Price/Unit 29.64</c:v>
                </c:pt>
                <c:pt idx="6">
                  <c:v>Av Price/Unit 30.21</c:v>
                </c:pt>
                <c:pt idx="7">
                  <c:v>Av Price/Unit 37.33</c:v>
                </c:pt>
                <c:pt idx="8">
                  <c:v>Av Price/Unit 42.06</c:v>
                </c:pt>
                <c:pt idx="9">
                  <c:v>Av Price/Unit 30.43</c:v>
                </c:pt>
                <c:pt idx="10">
                  <c:v>Av Price/Unit 98.00</c:v>
                </c:pt>
                <c:pt idx="11">
                  <c:v>Av Price/Unit 37.41</c:v>
                </c:pt>
              </c:strCache>
            </c:strRef>
          </c:cat>
          <c:val>
            <c:numRef>
              <c:f>Sheet1!$C$2:$C$13</c:f>
              <c:numCache>
                <c:formatCode>General</c:formatCode>
                <c:ptCount val="12"/>
                <c:pt idx="0">
                  <c:v>27.85642326734926</c:v>
                </c:pt>
                <c:pt idx="1">
                  <c:v>13.400387494517704</c:v>
                </c:pt>
                <c:pt idx="2">
                  <c:v>22.31561162227603</c:v>
                </c:pt>
                <c:pt idx="3">
                  <c:v>47.716115932203394</c:v>
                </c:pt>
                <c:pt idx="4">
                  <c:v>15.282159272385362</c:v>
                </c:pt>
                <c:pt idx="5">
                  <c:v>14.217553779633221</c:v>
                </c:pt>
                <c:pt idx="6">
                  <c:v>14.09585837480771</c:v>
                </c:pt>
                <c:pt idx="7">
                  <c:v>18.345093923865296</c:v>
                </c:pt>
                <c:pt idx="8">
                  <c:v>20.56876599667314</c:v>
                </c:pt>
                <c:pt idx="9">
                  <c:v>13.892394482412058</c:v>
                </c:pt>
                <c:pt idx="10">
                  <c:v>49.753360279031604</c:v>
                </c:pt>
                <c:pt idx="11">
                  <c:v>17.09186880733944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4</c:v>
                </c:pt>
                <c:pt idx="2">
                  <c:v>Av Price/Unit 46.07</c:v>
                </c:pt>
                <c:pt idx="3">
                  <c:v>Av Price/Unit 93.66</c:v>
                </c:pt>
                <c:pt idx="4">
                  <c:v>Av Price/Unit 29.31</c:v>
                </c:pt>
                <c:pt idx="5">
                  <c:v>Av Price/Unit 29.64</c:v>
                </c:pt>
                <c:pt idx="6">
                  <c:v>Av Price/Unit 30.21</c:v>
                </c:pt>
                <c:pt idx="7">
                  <c:v>Av Price/Unit 37.33</c:v>
                </c:pt>
                <c:pt idx="8">
                  <c:v>Av Price/Unit 42.06</c:v>
                </c:pt>
                <c:pt idx="9">
                  <c:v>Av Price/Unit 30.43</c:v>
                </c:pt>
                <c:pt idx="10">
                  <c:v>Av Price/Unit 98.00</c:v>
                </c:pt>
                <c:pt idx="11">
                  <c:v>Av Price/Unit 37.41</c:v>
                </c:pt>
              </c:strCache>
            </c:strRef>
          </c:cat>
          <c:val>
            <c:numRef>
              <c:f>Sheet1!$D$2:$D$13</c:f>
              <c:numCache>
                <c:formatCode>General</c:formatCode>
                <c:ptCount val="12"/>
                <c:pt idx="0">
                  <c:v>-0.98077128706863448</c:v>
                </c:pt>
                <c:pt idx="1">
                  <c:v>0.78093249710047274</c:v>
                </c:pt>
                <c:pt idx="2">
                  <c:v>0.25305877723972259</c:v>
                </c:pt>
                <c:pt idx="3">
                  <c:v>0.12898813559321809</c:v>
                </c:pt>
                <c:pt idx="4">
                  <c:v>-0.94356288152755852</c:v>
                </c:pt>
                <c:pt idx="5">
                  <c:v>-0.24007809005516378</c:v>
                </c:pt>
                <c:pt idx="6">
                  <c:v>-0.36040422887823453</c:v>
                </c:pt>
                <c:pt idx="7">
                  <c:v>-1.3964446071248915E-2</c:v>
                </c:pt>
                <c:pt idx="8">
                  <c:v>-0.18310102578319487</c:v>
                </c:pt>
                <c:pt idx="9">
                  <c:v>0.10943499162479497</c:v>
                </c:pt>
                <c:pt idx="10">
                  <c:v>0.19372399124608819</c:v>
                </c:pt>
                <c:pt idx="11">
                  <c:v>0.8496007276178367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4</c:v>
                </c:pt>
                <c:pt idx="2">
                  <c:v>Av Price/Unit 46.07</c:v>
                </c:pt>
                <c:pt idx="3">
                  <c:v>Av Price/Unit 93.66</c:v>
                </c:pt>
                <c:pt idx="4">
                  <c:v>Av Price/Unit 29.31</c:v>
                </c:pt>
                <c:pt idx="5">
                  <c:v>Av Price/Unit 29.64</c:v>
                </c:pt>
                <c:pt idx="6">
                  <c:v>Av Price/Unit 30.21</c:v>
                </c:pt>
                <c:pt idx="7">
                  <c:v>Av Price/Unit 37.33</c:v>
                </c:pt>
                <c:pt idx="8">
                  <c:v>Av Price/Unit 42.06</c:v>
                </c:pt>
                <c:pt idx="9">
                  <c:v>Av Price/Unit 30.43</c:v>
                </c:pt>
                <c:pt idx="10">
                  <c:v>Av Price/Unit 98.00</c:v>
                </c:pt>
                <c:pt idx="11">
                  <c:v>Av Price/Unit 37.41</c:v>
                </c:pt>
              </c:strCache>
            </c:strRef>
          </c:cat>
          <c:val>
            <c:numRef>
              <c:f>Sheet1!$E$2:$E$13</c:f>
              <c:numCache>
                <c:formatCode>General</c:formatCode>
                <c:ptCount val="12"/>
                <c:pt idx="0">
                  <c:v>9.0124383769434928</c:v>
                </c:pt>
                <c:pt idx="1">
                  <c:v>3.5575031919144653</c:v>
                </c:pt>
                <c:pt idx="2">
                  <c:v>7.6785335956416381</c:v>
                </c:pt>
                <c:pt idx="3">
                  <c:v>15.610762711864417</c:v>
                </c:pt>
                <c:pt idx="4">
                  <c:v>4.8853609142195866</c:v>
                </c:pt>
                <c:pt idx="5">
                  <c:v>4.9407708364395404</c:v>
                </c:pt>
                <c:pt idx="6">
                  <c:v>5.0355925557264785</c:v>
                </c:pt>
                <c:pt idx="7">
                  <c:v>6.2224865788189287</c:v>
                </c:pt>
                <c:pt idx="8">
                  <c:v>7.0096340449126702</c:v>
                </c:pt>
                <c:pt idx="9">
                  <c:v>5.0716917922948026</c:v>
                </c:pt>
                <c:pt idx="10">
                  <c:v>16.333948844207352</c:v>
                </c:pt>
                <c:pt idx="11">
                  <c:v>6.235763998734578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2</c:v>
                </c:pt>
                <c:pt idx="1">
                  <c:v>Av Price/Unit 93.30</c:v>
                </c:pt>
                <c:pt idx="2">
                  <c:v>Av Price/Unit 21.23</c:v>
                </c:pt>
                <c:pt idx="3">
                  <c:v>Av Price/Unit 46.03</c:v>
                </c:pt>
                <c:pt idx="4">
                  <c:v>Av Price/Unit 42.00</c:v>
                </c:pt>
                <c:pt idx="5">
                  <c:v>Av Price/Unit 29.23</c:v>
                </c:pt>
                <c:pt idx="6">
                  <c:v>Av Price/Unit 29.53</c:v>
                </c:pt>
                <c:pt idx="7">
                  <c:v>Av Price/Unit 36.92</c:v>
                </c:pt>
                <c:pt idx="8">
                  <c:v>Av Price/Unit 97.81</c:v>
                </c:pt>
                <c:pt idx="9">
                  <c:v>Av Price/Unit 30.36</c:v>
                </c:pt>
                <c:pt idx="10">
                  <c:v>Av Price/Unit 45.35</c:v>
                </c:pt>
                <c:pt idx="11">
                  <c:v>Av Price/Unit 57.43</c:v>
                </c:pt>
              </c:strCache>
            </c:strRef>
          </c:cat>
          <c:val>
            <c:numRef>
              <c:f>Sheet1!$B$2:$B$13</c:f>
              <c:numCache>
                <c:formatCode>General</c:formatCode>
                <c:ptCount val="12"/>
                <c:pt idx="0">
                  <c:v>18.178025953066125</c:v>
                </c:pt>
                <c:pt idx="1">
                  <c:v>30.047066824644549</c:v>
                </c:pt>
                <c:pt idx="2">
                  <c:v>3.6035439588532472</c:v>
                </c:pt>
                <c:pt idx="3">
                  <c:v>15.838642537625415</c:v>
                </c:pt>
                <c:pt idx="4">
                  <c:v>14.631131363729297</c:v>
                </c:pt>
                <c:pt idx="5">
                  <c:v>10.074950305531733</c:v>
                </c:pt>
                <c:pt idx="6">
                  <c:v>10.721439784946236</c:v>
                </c:pt>
                <c:pt idx="7">
                  <c:v>12.787890688420214</c:v>
                </c:pt>
                <c:pt idx="8">
                  <c:v>31.671562401402277</c:v>
                </c:pt>
                <c:pt idx="9">
                  <c:v>11.3172250677099</c:v>
                </c:pt>
                <c:pt idx="10">
                  <c:v>15.080779862585883</c:v>
                </c:pt>
                <c:pt idx="11">
                  <c:v>19.52155685279187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2</c:v>
                </c:pt>
                <c:pt idx="1">
                  <c:v>Av Price/Unit 93.30</c:v>
                </c:pt>
                <c:pt idx="2">
                  <c:v>Av Price/Unit 21.23</c:v>
                </c:pt>
                <c:pt idx="3">
                  <c:v>Av Price/Unit 46.03</c:v>
                </c:pt>
                <c:pt idx="4">
                  <c:v>Av Price/Unit 42.00</c:v>
                </c:pt>
                <c:pt idx="5">
                  <c:v>Av Price/Unit 29.23</c:v>
                </c:pt>
                <c:pt idx="6">
                  <c:v>Av Price/Unit 29.53</c:v>
                </c:pt>
                <c:pt idx="7">
                  <c:v>Av Price/Unit 36.92</c:v>
                </c:pt>
                <c:pt idx="8">
                  <c:v>Av Price/Unit 97.81</c:v>
                </c:pt>
                <c:pt idx="9">
                  <c:v>Av Price/Unit 30.36</c:v>
                </c:pt>
                <c:pt idx="10">
                  <c:v>Av Price/Unit 45.35</c:v>
                </c:pt>
                <c:pt idx="11">
                  <c:v>Av Price/Unit 57.43</c:v>
                </c:pt>
              </c:strCache>
            </c:strRef>
          </c:cat>
          <c:val>
            <c:numRef>
              <c:f>Sheet1!$C$2:$C$13</c:f>
              <c:numCache>
                <c:formatCode>General</c:formatCode>
                <c:ptCount val="12"/>
                <c:pt idx="0">
                  <c:v>27.882953454772011</c:v>
                </c:pt>
                <c:pt idx="1">
                  <c:v>47.795388711762165</c:v>
                </c:pt>
                <c:pt idx="2">
                  <c:v>13.404570521638567</c:v>
                </c:pt>
                <c:pt idx="3">
                  <c:v>22.314834197324416</c:v>
                </c:pt>
                <c:pt idx="4">
                  <c:v>20.567583622980983</c:v>
                </c:pt>
                <c:pt idx="5">
                  <c:v>15.297761765651803</c:v>
                </c:pt>
                <c:pt idx="6">
                  <c:v>14.220418349317059</c:v>
                </c:pt>
                <c:pt idx="7">
                  <c:v>18.342926104257856</c:v>
                </c:pt>
                <c:pt idx="8">
                  <c:v>49.774894829097278</c:v>
                </c:pt>
                <c:pt idx="9">
                  <c:v>13.90015583057478</c:v>
                </c:pt>
                <c:pt idx="10">
                  <c:v>22.280460062460964</c:v>
                </c:pt>
                <c:pt idx="11">
                  <c:v>27.6172104060913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2</c:v>
                </c:pt>
                <c:pt idx="1">
                  <c:v>Av Price/Unit 93.30</c:v>
                </c:pt>
                <c:pt idx="2">
                  <c:v>Av Price/Unit 21.23</c:v>
                </c:pt>
                <c:pt idx="3">
                  <c:v>Av Price/Unit 46.03</c:v>
                </c:pt>
                <c:pt idx="4">
                  <c:v>Av Price/Unit 42.00</c:v>
                </c:pt>
                <c:pt idx="5">
                  <c:v>Av Price/Unit 29.23</c:v>
                </c:pt>
                <c:pt idx="6">
                  <c:v>Av Price/Unit 29.53</c:v>
                </c:pt>
                <c:pt idx="7">
                  <c:v>Av Price/Unit 36.92</c:v>
                </c:pt>
                <c:pt idx="8">
                  <c:v>Av Price/Unit 97.81</c:v>
                </c:pt>
                <c:pt idx="9">
                  <c:v>Av Price/Unit 30.36</c:v>
                </c:pt>
                <c:pt idx="10">
                  <c:v>Av Price/Unit 45.35</c:v>
                </c:pt>
                <c:pt idx="11">
                  <c:v>Av Price/Unit 57.43</c:v>
                </c:pt>
              </c:strCache>
            </c:strRef>
          </c:cat>
          <c:val>
            <c:numRef>
              <c:f>Sheet1!$D$2:$D$13</c:f>
              <c:numCache>
                <c:formatCode>General</c:formatCode>
                <c:ptCount val="12"/>
                <c:pt idx="0">
                  <c:v>-1.1253079617487955</c:v>
                </c:pt>
                <c:pt idx="1">
                  <c:v>-9.3353138015189074E-2</c:v>
                </c:pt>
                <c:pt idx="2">
                  <c:v>0.68263899743677925</c:v>
                </c:pt>
                <c:pt idx="3">
                  <c:v>0.20793602285395707</c:v>
                </c:pt>
                <c:pt idx="4">
                  <c:v>-0.19655682773347394</c:v>
                </c:pt>
                <c:pt idx="5">
                  <c:v>-1.0139266938250415</c:v>
                </c:pt>
                <c:pt idx="6">
                  <c:v>-0.33249140172430458</c:v>
                </c:pt>
                <c:pt idx="7">
                  <c:v>-0.36002491046557594</c:v>
                </c:pt>
                <c:pt idx="8">
                  <c:v>6.0992375109535146E-2</c:v>
                </c:pt>
                <c:pt idx="9">
                  <c:v>8.4429714615311013E-2</c:v>
                </c:pt>
                <c:pt idx="10">
                  <c:v>0.43191018946492221</c:v>
                </c:pt>
                <c:pt idx="11">
                  <c:v>0.7185299492385794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2</c:v>
                </c:pt>
                <c:pt idx="1">
                  <c:v>Av Price/Unit 93.30</c:v>
                </c:pt>
                <c:pt idx="2">
                  <c:v>Av Price/Unit 21.23</c:v>
                </c:pt>
                <c:pt idx="3">
                  <c:v>Av Price/Unit 46.03</c:v>
                </c:pt>
                <c:pt idx="4">
                  <c:v>Av Price/Unit 42.00</c:v>
                </c:pt>
                <c:pt idx="5">
                  <c:v>Av Price/Unit 29.23</c:v>
                </c:pt>
                <c:pt idx="6">
                  <c:v>Av Price/Unit 29.53</c:v>
                </c:pt>
                <c:pt idx="7">
                  <c:v>Av Price/Unit 36.92</c:v>
                </c:pt>
                <c:pt idx="8">
                  <c:v>Av Price/Unit 97.81</c:v>
                </c:pt>
                <c:pt idx="9">
                  <c:v>Av Price/Unit 30.36</c:v>
                </c:pt>
                <c:pt idx="10">
                  <c:v>Av Price/Unit 45.35</c:v>
                </c:pt>
                <c:pt idx="11">
                  <c:v>Av Price/Unit 57.43</c:v>
                </c:pt>
              </c:strCache>
            </c:strRef>
          </c:cat>
          <c:val>
            <c:numRef>
              <c:f>Sheet1!$E$2:$E$13</c:f>
              <c:numCache>
                <c:formatCode>General</c:formatCode>
                <c:ptCount val="12"/>
                <c:pt idx="0">
                  <c:v>8.9871292807626535</c:v>
                </c:pt>
                <c:pt idx="1">
                  <c:v>15.549820479678287</c:v>
                </c:pt>
                <c:pt idx="2">
                  <c:v>3.5381506955857174</c:v>
                </c:pt>
                <c:pt idx="3">
                  <c:v>7.6722756410256387</c:v>
                </c:pt>
                <c:pt idx="4">
                  <c:v>7.0004316317953554</c:v>
                </c:pt>
                <c:pt idx="5">
                  <c:v>4.8717570754716952</c:v>
                </c:pt>
                <c:pt idx="6">
                  <c:v>4.9218637992831553</c:v>
                </c:pt>
                <c:pt idx="7">
                  <c:v>6.1541583764424992</c:v>
                </c:pt>
                <c:pt idx="8">
                  <c:v>16.301489921121835</c:v>
                </c:pt>
                <c:pt idx="9">
                  <c:v>5.060362122579992</c:v>
                </c:pt>
                <c:pt idx="10">
                  <c:v>7.5586300229023502</c:v>
                </c:pt>
                <c:pt idx="11">
                  <c:v>9.571462563451776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C56F2F11-4921-4CF1-8D1B-5717E38883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425989EC-041B-4E24-B570-F947EA75DE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EC361C25-24D4-42A6-AB0C-C581539141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8A528A3E-FA0E-4D26-9AF0-5A4FAB36D6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D81853A9-BDA1-41CD-B93F-4653F11E65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4B6EDF18-BAA9-4834-860E-5C02EBA20F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9199BF40-DC29-4B4A-BC0F-F96D15633C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EE66AAD2-39BB-45A6-9AA5-363FDC86C3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75.267099999999999</c:v>
                </c:pt>
                <c:pt idx="1">
                  <c:v>61.76</c:v>
                </c:pt>
                <c:pt idx="2">
                  <c:v>61.421500000000002</c:v>
                </c:pt>
                <c:pt idx="3">
                  <c:v>62.845700000000001</c:v>
                </c:pt>
                <c:pt idx="4">
                  <c:v>56.819800000000001</c:v>
                </c:pt>
              </c:numCache>
            </c:numRef>
          </c:xVal>
          <c:yVal>
            <c:numRef>
              <c:f>Sheet1!$B$2:$B$6</c:f>
              <c:numCache>
                <c:formatCode>General</c:formatCode>
                <c:ptCount val="5"/>
                <c:pt idx="0">
                  <c:v>0.40239999999999998</c:v>
                </c:pt>
                <c:pt idx="1">
                  <c:v>0.40699999999999997</c:v>
                </c:pt>
                <c:pt idx="2">
                  <c:v>0.40579999999999999</c:v>
                </c:pt>
                <c:pt idx="3">
                  <c:v>0.40849999999999997</c:v>
                </c:pt>
                <c:pt idx="4">
                  <c:v>0.40529999999999999</c:v>
                </c:pt>
              </c:numCache>
            </c:numRef>
          </c:yVal>
          <c:bubbleSize>
            <c:numRef>
              <c:f>Sheet1!$C$2:$C$6</c:f>
              <c:numCache>
                <c:formatCode>General</c:formatCode>
                <c:ptCount val="5"/>
                <c:pt idx="0">
                  <c:v>318454.98890000011</c:v>
                </c:pt>
                <c:pt idx="1">
                  <c:v>195470.49239999999</c:v>
                </c:pt>
                <c:pt idx="2">
                  <c:v>1478169.3160000001</c:v>
                </c:pt>
                <c:pt idx="3">
                  <c:v>385683.81449999992</c:v>
                </c:pt>
                <c:pt idx="4">
                  <c:v>685076.34329999995</c:v>
                </c:pt>
              </c:numCache>
            </c:numRef>
          </c:bubbleSize>
          <c:bubble3D val="0"/>
          <c:extLst>
            <c:ext xmlns:c15="http://schemas.microsoft.com/office/drawing/2012/chart" uri="{02D57815-91ED-43cb-92C2-25804820EDAC}">
              <c15:datalabelsRange>
                <c15:f>Sheet1!$E$2:$E$29</c15:f>
                <c15:dlblRangeCache>
                  <c:ptCount val="28"/>
                  <c:pt idx="0">
                    <c:v>NICOLAS QCA</c:v>
                  </c:pt>
                  <c:pt idx="1">
                    <c:v>NICOLAS CCP</c:v>
                  </c:pt>
                  <c:pt idx="2">
                    <c:v>NICOLAS QCN</c:v>
                  </c:pt>
                  <c:pt idx="3">
                    <c:v>NICOLAS QCT</c:v>
                  </c:pt>
                  <c:pt idx="4">
                    <c:v>NICOLAS VCN</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90.320520000000002"/>
          <c:min val="45.45584000000000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575123038927086"/>
        <c:crossBetween val="midCat"/>
      </c:valAx>
      <c:valAx>
        <c:axId val="1011451359"/>
        <c:scaling>
          <c:orientation val="minMax"/>
          <c:max val="0.85019999999999984"/>
          <c:min val="8.1919999999999993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62.03274090532631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17</c:v>
                </c:pt>
                <c:pt idx="1">
                  <c:v>Av Price/Unit 21.25</c:v>
                </c:pt>
                <c:pt idx="2">
                  <c:v>Av Price/Unit 45.66</c:v>
                </c:pt>
                <c:pt idx="3">
                  <c:v>Av Price/Unit 93.25</c:v>
                </c:pt>
                <c:pt idx="4">
                  <c:v>Av Price/Unit 41.84</c:v>
                </c:pt>
                <c:pt idx="5">
                  <c:v>Av Price/Unit 29.28</c:v>
                </c:pt>
                <c:pt idx="6">
                  <c:v>Av Price/Unit 29.62</c:v>
                </c:pt>
                <c:pt idx="7">
                  <c:v>Av Price/Unit 36.99</c:v>
                </c:pt>
                <c:pt idx="8">
                  <c:v>Av Price/Unit 30.37</c:v>
                </c:pt>
                <c:pt idx="9">
                  <c:v>Av Price/Unit 29.93</c:v>
                </c:pt>
                <c:pt idx="10">
                  <c:v>Av Price/Unit 28.98</c:v>
                </c:pt>
                <c:pt idx="11">
                  <c:v>Av Price/Unit 60.44</c:v>
                </c:pt>
              </c:strCache>
            </c:strRef>
          </c:cat>
          <c:val>
            <c:numRef>
              <c:f>Sheet1!$B$2:$B$13</c:f>
              <c:numCache>
                <c:formatCode>General</c:formatCode>
                <c:ptCount val="12"/>
                <c:pt idx="0">
                  <c:v>18.187811118575745</c:v>
                </c:pt>
                <c:pt idx="1">
                  <c:v>3.6027289671948379</c:v>
                </c:pt>
                <c:pt idx="2">
                  <c:v>15.860385651629073</c:v>
                </c:pt>
                <c:pt idx="3">
                  <c:v>29.950301491795123</c:v>
                </c:pt>
                <c:pt idx="4">
                  <c:v>14.702096774193549</c:v>
                </c:pt>
                <c:pt idx="5">
                  <c:v>10.041612713983458</c:v>
                </c:pt>
                <c:pt idx="6">
                  <c:v>10.72252910372608</c:v>
                </c:pt>
                <c:pt idx="7">
                  <c:v>12.780006652959319</c:v>
                </c:pt>
                <c:pt idx="8">
                  <c:v>11.304310708310098</c:v>
                </c:pt>
                <c:pt idx="9">
                  <c:v>11.443250158730159</c:v>
                </c:pt>
                <c:pt idx="10">
                  <c:v>11.121288888888889</c:v>
                </c:pt>
                <c:pt idx="11">
                  <c:v>20.12156973684210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17</c:v>
                </c:pt>
                <c:pt idx="1">
                  <c:v>Av Price/Unit 21.25</c:v>
                </c:pt>
                <c:pt idx="2">
                  <c:v>Av Price/Unit 45.66</c:v>
                </c:pt>
                <c:pt idx="3">
                  <c:v>Av Price/Unit 93.25</c:v>
                </c:pt>
                <c:pt idx="4">
                  <c:v>Av Price/Unit 41.84</c:v>
                </c:pt>
                <c:pt idx="5">
                  <c:v>Av Price/Unit 29.28</c:v>
                </c:pt>
                <c:pt idx="6">
                  <c:v>Av Price/Unit 29.62</c:v>
                </c:pt>
                <c:pt idx="7">
                  <c:v>Av Price/Unit 36.99</c:v>
                </c:pt>
                <c:pt idx="8">
                  <c:v>Av Price/Unit 30.37</c:v>
                </c:pt>
                <c:pt idx="9">
                  <c:v>Av Price/Unit 29.93</c:v>
                </c:pt>
                <c:pt idx="10">
                  <c:v>Av Price/Unit 28.98</c:v>
                </c:pt>
                <c:pt idx="11">
                  <c:v>Av Price/Unit 60.44</c:v>
                </c:pt>
              </c:strCache>
            </c:strRef>
          </c:cat>
          <c:val>
            <c:numRef>
              <c:f>Sheet1!$C$2:$C$13</c:f>
              <c:numCache>
                <c:formatCode>General</c:formatCode>
                <c:ptCount val="12"/>
                <c:pt idx="0">
                  <c:v>27.852558784010746</c:v>
                </c:pt>
                <c:pt idx="1">
                  <c:v>13.405856012027433</c:v>
                </c:pt>
                <c:pt idx="2">
                  <c:v>22.313677443609023</c:v>
                </c:pt>
                <c:pt idx="3">
                  <c:v>47.842844356041773</c:v>
                </c:pt>
                <c:pt idx="4">
                  <c:v>20.570258064516128</c:v>
                </c:pt>
                <c:pt idx="5">
                  <c:v>15.336995018272741</c:v>
                </c:pt>
                <c:pt idx="6">
                  <c:v>14.219792467270896</c:v>
                </c:pt>
                <c:pt idx="7">
                  <c:v>18.345520678513729</c:v>
                </c:pt>
                <c:pt idx="8">
                  <c:v>13.902699525934187</c:v>
                </c:pt>
                <c:pt idx="9">
                  <c:v>14.096640952380952</c:v>
                </c:pt>
                <c:pt idx="10">
                  <c:v>13.884033333333333</c:v>
                </c:pt>
                <c:pt idx="11">
                  <c:v>29.20541250000000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17</c:v>
                </c:pt>
                <c:pt idx="1">
                  <c:v>Av Price/Unit 21.25</c:v>
                </c:pt>
                <c:pt idx="2">
                  <c:v>Av Price/Unit 45.66</c:v>
                </c:pt>
                <c:pt idx="3">
                  <c:v>Av Price/Unit 93.25</c:v>
                </c:pt>
                <c:pt idx="4">
                  <c:v>Av Price/Unit 41.84</c:v>
                </c:pt>
                <c:pt idx="5">
                  <c:v>Av Price/Unit 29.28</c:v>
                </c:pt>
                <c:pt idx="6">
                  <c:v>Av Price/Unit 29.62</c:v>
                </c:pt>
                <c:pt idx="7">
                  <c:v>Av Price/Unit 36.99</c:v>
                </c:pt>
                <c:pt idx="8">
                  <c:v>Av Price/Unit 30.37</c:v>
                </c:pt>
                <c:pt idx="9">
                  <c:v>Av Price/Unit 29.93</c:v>
                </c:pt>
                <c:pt idx="10">
                  <c:v>Av Price/Unit 28.98</c:v>
                </c:pt>
                <c:pt idx="11">
                  <c:v>Av Price/Unit 60.44</c:v>
                </c:pt>
              </c:strCache>
            </c:strRef>
          </c:cat>
          <c:val>
            <c:numRef>
              <c:f>Sheet1!$D$2:$D$13</c:f>
              <c:numCache>
                <c:formatCode>General</c:formatCode>
                <c:ptCount val="12"/>
                <c:pt idx="0">
                  <c:v>-0.89958746127719991</c:v>
                </c:pt>
                <c:pt idx="1">
                  <c:v>0.6986010743606208</c:v>
                </c:pt>
                <c:pt idx="2">
                  <c:v>-0.12383970044157877</c:v>
                </c:pt>
                <c:pt idx="3">
                  <c:v>-8.2222592408413675E-2</c:v>
                </c:pt>
                <c:pt idx="4">
                  <c:v>-0.40806416926811551</c:v>
                </c:pt>
                <c:pt idx="5">
                  <c:v>-0.97559753798807591</c:v>
                </c:pt>
                <c:pt idx="6">
                  <c:v>-0.26083728432359976</c:v>
                </c:pt>
                <c:pt idx="7">
                  <c:v>-0.29855812405149607</c:v>
                </c:pt>
                <c:pt idx="8">
                  <c:v>0.10101635062279257</c:v>
                </c:pt>
                <c:pt idx="9">
                  <c:v>-0.59436441558441899</c:v>
                </c:pt>
                <c:pt idx="10">
                  <c:v>-0.85232956711985253</c:v>
                </c:pt>
                <c:pt idx="11">
                  <c:v>1.038775908521309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17</c:v>
                </c:pt>
                <c:pt idx="1">
                  <c:v>Av Price/Unit 21.25</c:v>
                </c:pt>
                <c:pt idx="2">
                  <c:v>Av Price/Unit 45.66</c:v>
                </c:pt>
                <c:pt idx="3">
                  <c:v>Av Price/Unit 93.25</c:v>
                </c:pt>
                <c:pt idx="4">
                  <c:v>Av Price/Unit 41.84</c:v>
                </c:pt>
                <c:pt idx="5">
                  <c:v>Av Price/Unit 29.28</c:v>
                </c:pt>
                <c:pt idx="6">
                  <c:v>Av Price/Unit 29.62</c:v>
                </c:pt>
                <c:pt idx="7">
                  <c:v>Av Price/Unit 36.99</c:v>
                </c:pt>
                <c:pt idx="8">
                  <c:v>Av Price/Unit 30.37</c:v>
                </c:pt>
                <c:pt idx="9">
                  <c:v>Av Price/Unit 29.93</c:v>
                </c:pt>
                <c:pt idx="10">
                  <c:v>Av Price/Unit 28.98</c:v>
                </c:pt>
                <c:pt idx="11">
                  <c:v>Av Price/Unit 60.44</c:v>
                </c:pt>
              </c:strCache>
            </c:strRef>
          </c:cat>
          <c:val>
            <c:numRef>
              <c:f>Sheet1!$E$2:$E$13</c:f>
              <c:numCache>
                <c:formatCode>General</c:formatCode>
                <c:ptCount val="12"/>
                <c:pt idx="0">
                  <c:v>9.0281510095920527</c:v>
                </c:pt>
                <c:pt idx="1">
                  <c:v>3.5414372107165764</c:v>
                </c:pt>
                <c:pt idx="2">
                  <c:v>7.6100369972550403</c:v>
                </c:pt>
                <c:pt idx="3">
                  <c:v>15.5421846510857</c:v>
                </c:pt>
                <c:pt idx="4">
                  <c:v>6.972858133888308</c:v>
                </c:pt>
                <c:pt idx="5">
                  <c:v>4.8806020388536258</c:v>
                </c:pt>
                <c:pt idx="6">
                  <c:v>4.9362873447465576</c:v>
                </c:pt>
                <c:pt idx="7">
                  <c:v>6.1653938414843088</c:v>
                </c:pt>
                <c:pt idx="8">
                  <c:v>5.0616053169734121</c:v>
                </c:pt>
                <c:pt idx="9">
                  <c:v>4.9891053391053388</c:v>
                </c:pt>
                <c:pt idx="10">
                  <c:v>4.8305985310204678</c:v>
                </c:pt>
                <c:pt idx="11">
                  <c:v>10.07315162907268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3</c:v>
                </c:pt>
                <c:pt idx="1">
                  <c:v>Av Price/Unit 21.32</c:v>
                </c:pt>
                <c:pt idx="2">
                  <c:v>Av Price/Unit 46.11</c:v>
                </c:pt>
                <c:pt idx="3">
                  <c:v>Av Price/Unit 93.51</c:v>
                </c:pt>
                <c:pt idx="4">
                  <c:v>Av Price/Unit 29.23</c:v>
                </c:pt>
                <c:pt idx="5">
                  <c:v>Av Price/Unit 29.62</c:v>
                </c:pt>
                <c:pt idx="6">
                  <c:v>Av Price/Unit 37.38</c:v>
                </c:pt>
                <c:pt idx="7">
                  <c:v>Av Price/Unit 30.29</c:v>
                </c:pt>
                <c:pt idx="8">
                  <c:v>Av Price/Unit 42.19</c:v>
                </c:pt>
                <c:pt idx="9">
                  <c:v>Av Price/Unit 30.68</c:v>
                </c:pt>
                <c:pt idx="10">
                  <c:v>Av Price/Unit 29.39</c:v>
                </c:pt>
                <c:pt idx="11">
                  <c:v>Av Price/Unit 45.46</c:v>
                </c:pt>
              </c:strCache>
            </c:strRef>
          </c:cat>
          <c:val>
            <c:numRef>
              <c:f>Sheet1!$B$2:$B$13</c:f>
              <c:numCache>
                <c:formatCode>General</c:formatCode>
                <c:ptCount val="12"/>
                <c:pt idx="0">
                  <c:v>18.185646662125343</c:v>
                </c:pt>
                <c:pt idx="1">
                  <c:v>3.6029380697050937</c:v>
                </c:pt>
                <c:pt idx="2">
                  <c:v>15.839146074087202</c:v>
                </c:pt>
                <c:pt idx="3">
                  <c:v>30.086455169082129</c:v>
                </c:pt>
                <c:pt idx="4">
                  <c:v>10.1145396771115</c:v>
                </c:pt>
                <c:pt idx="5">
                  <c:v>10.722603546099288</c:v>
                </c:pt>
                <c:pt idx="6">
                  <c:v>12.785465752589886</c:v>
                </c:pt>
                <c:pt idx="7">
                  <c:v>11.442178527791688</c:v>
                </c:pt>
                <c:pt idx="8">
                  <c:v>14.645515837531486</c:v>
                </c:pt>
                <c:pt idx="9">
                  <c:v>11.32673680592279</c:v>
                </c:pt>
                <c:pt idx="10">
                  <c:v>11.077941390331604</c:v>
                </c:pt>
                <c:pt idx="11">
                  <c:v>15.08069501510573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3</c:v>
                </c:pt>
                <c:pt idx="1">
                  <c:v>Av Price/Unit 21.32</c:v>
                </c:pt>
                <c:pt idx="2">
                  <c:v>Av Price/Unit 46.11</c:v>
                </c:pt>
                <c:pt idx="3">
                  <c:v>Av Price/Unit 93.51</c:v>
                </c:pt>
                <c:pt idx="4">
                  <c:v>Av Price/Unit 29.23</c:v>
                </c:pt>
                <c:pt idx="5">
                  <c:v>Av Price/Unit 29.62</c:v>
                </c:pt>
                <c:pt idx="6">
                  <c:v>Av Price/Unit 37.38</c:v>
                </c:pt>
                <c:pt idx="7">
                  <c:v>Av Price/Unit 30.29</c:v>
                </c:pt>
                <c:pt idx="8">
                  <c:v>Av Price/Unit 42.19</c:v>
                </c:pt>
                <c:pt idx="9">
                  <c:v>Av Price/Unit 30.68</c:v>
                </c:pt>
                <c:pt idx="10">
                  <c:v>Av Price/Unit 29.39</c:v>
                </c:pt>
                <c:pt idx="11">
                  <c:v>Av Price/Unit 45.46</c:v>
                </c:pt>
              </c:strCache>
            </c:strRef>
          </c:cat>
          <c:val>
            <c:numRef>
              <c:f>Sheet1!$C$2:$C$13</c:f>
              <c:numCache>
                <c:formatCode>General</c:formatCode>
                <c:ptCount val="12"/>
                <c:pt idx="0">
                  <c:v>27.859282016348775</c:v>
                </c:pt>
                <c:pt idx="1">
                  <c:v>13.405526193599911</c:v>
                </c:pt>
                <c:pt idx="2">
                  <c:v>22.314807408720309</c:v>
                </c:pt>
                <c:pt idx="3">
                  <c:v>47.776071884057977</c:v>
                </c:pt>
                <c:pt idx="4">
                  <c:v>15.251171122952124</c:v>
                </c:pt>
                <c:pt idx="5">
                  <c:v>14.21974969545265</c:v>
                </c:pt>
                <c:pt idx="6">
                  <c:v>18.343724131627056</c:v>
                </c:pt>
                <c:pt idx="7">
                  <c:v>14.095509994992488</c:v>
                </c:pt>
                <c:pt idx="8">
                  <c:v>20.568125724181364</c:v>
                </c:pt>
                <c:pt idx="9">
                  <c:v>13.898282337387625</c:v>
                </c:pt>
                <c:pt idx="10">
                  <c:v>13.828294087095486</c:v>
                </c:pt>
                <c:pt idx="11">
                  <c:v>22.27936238670694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3</c:v>
                </c:pt>
                <c:pt idx="1">
                  <c:v>Av Price/Unit 21.32</c:v>
                </c:pt>
                <c:pt idx="2">
                  <c:v>Av Price/Unit 46.11</c:v>
                </c:pt>
                <c:pt idx="3">
                  <c:v>Av Price/Unit 93.51</c:v>
                </c:pt>
                <c:pt idx="4">
                  <c:v>Av Price/Unit 29.23</c:v>
                </c:pt>
                <c:pt idx="5">
                  <c:v>Av Price/Unit 29.62</c:v>
                </c:pt>
                <c:pt idx="6">
                  <c:v>Av Price/Unit 37.38</c:v>
                </c:pt>
                <c:pt idx="7">
                  <c:v>Av Price/Unit 30.29</c:v>
                </c:pt>
                <c:pt idx="8">
                  <c:v>Av Price/Unit 42.19</c:v>
                </c:pt>
                <c:pt idx="9">
                  <c:v>Av Price/Unit 30.68</c:v>
                </c:pt>
                <c:pt idx="10">
                  <c:v>Av Price/Unit 29.39</c:v>
                </c:pt>
                <c:pt idx="11">
                  <c:v>Av Price/Unit 45.46</c:v>
                </c:pt>
              </c:strCache>
            </c:strRef>
          </c:cat>
          <c:val>
            <c:numRef>
              <c:f>Sheet1!$D$2:$D$13</c:f>
              <c:numCache>
                <c:formatCode>General</c:formatCode>
                <c:ptCount val="12"/>
                <c:pt idx="0">
                  <c:v>-1.021708604190998</c:v>
                </c:pt>
                <c:pt idx="1">
                  <c:v>0.76051164603654797</c:v>
                </c:pt>
                <c:pt idx="2">
                  <c:v>0.27217119815668411</c:v>
                </c:pt>
                <c:pt idx="3">
                  <c:v>5.921207729468847E-2</c:v>
                </c:pt>
                <c:pt idx="4">
                  <c:v>-1.005324288213771</c:v>
                </c:pt>
                <c:pt idx="5">
                  <c:v>-0.25985540536782636</c:v>
                </c:pt>
                <c:pt idx="6">
                  <c:v>2.2242169408897894E-2</c:v>
                </c:pt>
                <c:pt idx="7">
                  <c:v>-0.29807910866299281</c:v>
                </c:pt>
                <c:pt idx="8">
                  <c:v>-5.25374475230862E-2</c:v>
                </c:pt>
                <c:pt idx="9">
                  <c:v>0.34302245725366021</c:v>
                </c:pt>
                <c:pt idx="10">
                  <c:v>-0.41407051982065823</c:v>
                </c:pt>
                <c:pt idx="11">
                  <c:v>0.5226213494461262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3</c:v>
                </c:pt>
                <c:pt idx="1">
                  <c:v>Av Price/Unit 21.32</c:v>
                </c:pt>
                <c:pt idx="2">
                  <c:v>Av Price/Unit 46.11</c:v>
                </c:pt>
                <c:pt idx="3">
                  <c:v>Av Price/Unit 93.51</c:v>
                </c:pt>
                <c:pt idx="4">
                  <c:v>Av Price/Unit 29.23</c:v>
                </c:pt>
                <c:pt idx="5">
                  <c:v>Av Price/Unit 29.62</c:v>
                </c:pt>
                <c:pt idx="6">
                  <c:v>Av Price/Unit 37.38</c:v>
                </c:pt>
                <c:pt idx="7">
                  <c:v>Av Price/Unit 30.29</c:v>
                </c:pt>
                <c:pt idx="8">
                  <c:v>Av Price/Unit 42.19</c:v>
                </c:pt>
                <c:pt idx="9">
                  <c:v>Av Price/Unit 30.68</c:v>
                </c:pt>
                <c:pt idx="10">
                  <c:v>Av Price/Unit 29.39</c:v>
                </c:pt>
                <c:pt idx="11">
                  <c:v>Av Price/Unit 45.46</c:v>
                </c:pt>
              </c:strCache>
            </c:strRef>
          </c:cat>
          <c:val>
            <c:numRef>
              <c:f>Sheet1!$E$2:$E$13</c:f>
              <c:numCache>
                <c:formatCode>General</c:formatCode>
                <c:ptCount val="12"/>
                <c:pt idx="0">
                  <c:v>9.0046386401972196</c:v>
                </c:pt>
                <c:pt idx="1">
                  <c:v>3.5537951818683085</c:v>
                </c:pt>
                <c:pt idx="2">
                  <c:v>7.6852180077986425</c:v>
                </c:pt>
                <c:pt idx="3">
                  <c:v>15.584347826086956</c:v>
                </c:pt>
                <c:pt idx="4">
                  <c:v>4.8720773023699655</c:v>
                </c:pt>
                <c:pt idx="5">
                  <c:v>4.9364900570157175</c:v>
                </c:pt>
                <c:pt idx="6">
                  <c:v>6.2302864107251636</c:v>
                </c:pt>
                <c:pt idx="7">
                  <c:v>5.0479218828242338</c:v>
                </c:pt>
                <c:pt idx="8">
                  <c:v>7.0322208228379495</c:v>
                </c:pt>
                <c:pt idx="9">
                  <c:v>5.1136083201128129</c:v>
                </c:pt>
                <c:pt idx="10">
                  <c:v>4.8984329915212834</c:v>
                </c:pt>
                <c:pt idx="11">
                  <c:v>7.576535750251760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5</c:v>
                </c:pt>
                <c:pt idx="1">
                  <c:v>Av Price/Unit 21.26</c:v>
                </c:pt>
                <c:pt idx="2">
                  <c:v>Av Price/Unit 46.29</c:v>
                </c:pt>
                <c:pt idx="3">
                  <c:v>Av Price/Unit 93.43</c:v>
                </c:pt>
                <c:pt idx="4">
                  <c:v>Av Price/Unit 29.25</c:v>
                </c:pt>
                <c:pt idx="5">
                  <c:v>Av Price/Unit 29.59</c:v>
                </c:pt>
                <c:pt idx="6">
                  <c:v>Av Price/Unit 37.17</c:v>
                </c:pt>
                <c:pt idx="7">
                  <c:v>Av Price/Unit 30.16</c:v>
                </c:pt>
                <c:pt idx="8">
                  <c:v>Av Price/Unit 42.09</c:v>
                </c:pt>
                <c:pt idx="9">
                  <c:v>Av Price/Unit 30.42</c:v>
                </c:pt>
                <c:pt idx="10">
                  <c:v>Av Price/Unit 29.14</c:v>
                </c:pt>
                <c:pt idx="11">
                  <c:v>Av Price/Unit 97.96</c:v>
                </c:pt>
              </c:strCache>
            </c:strRef>
          </c:cat>
          <c:val>
            <c:numRef>
              <c:f>Sheet1!$B$2:$B$13</c:f>
              <c:numCache>
                <c:formatCode>General</c:formatCode>
                <c:ptCount val="12"/>
                <c:pt idx="0">
                  <c:v>18.184343906073934</c:v>
                </c:pt>
                <c:pt idx="1">
                  <c:v>3.6059014807193344</c:v>
                </c:pt>
                <c:pt idx="2">
                  <c:v>15.84164344493219</c:v>
                </c:pt>
                <c:pt idx="3">
                  <c:v>30.100035759062418</c:v>
                </c:pt>
                <c:pt idx="4">
                  <c:v>10.095996135838693</c:v>
                </c:pt>
                <c:pt idx="5">
                  <c:v>10.725499228556485</c:v>
                </c:pt>
                <c:pt idx="6">
                  <c:v>12.785072935700741</c:v>
                </c:pt>
                <c:pt idx="7">
                  <c:v>11.445658692555666</c:v>
                </c:pt>
                <c:pt idx="8">
                  <c:v>14.604576938307629</c:v>
                </c:pt>
                <c:pt idx="9">
                  <c:v>11.3010438953982</c:v>
                </c:pt>
                <c:pt idx="10">
                  <c:v>11.108024913793102</c:v>
                </c:pt>
                <c:pt idx="11">
                  <c:v>31.68826871035941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5</c:v>
                </c:pt>
                <c:pt idx="1">
                  <c:v>Av Price/Unit 21.26</c:v>
                </c:pt>
                <c:pt idx="2">
                  <c:v>Av Price/Unit 46.29</c:v>
                </c:pt>
                <c:pt idx="3">
                  <c:v>Av Price/Unit 93.43</c:v>
                </c:pt>
                <c:pt idx="4">
                  <c:v>Av Price/Unit 29.25</c:v>
                </c:pt>
                <c:pt idx="5">
                  <c:v>Av Price/Unit 29.59</c:v>
                </c:pt>
                <c:pt idx="6">
                  <c:v>Av Price/Unit 37.17</c:v>
                </c:pt>
                <c:pt idx="7">
                  <c:v>Av Price/Unit 30.16</c:v>
                </c:pt>
                <c:pt idx="8">
                  <c:v>Av Price/Unit 42.09</c:v>
                </c:pt>
                <c:pt idx="9">
                  <c:v>Av Price/Unit 30.42</c:v>
                </c:pt>
                <c:pt idx="10">
                  <c:v>Av Price/Unit 29.14</c:v>
                </c:pt>
                <c:pt idx="11">
                  <c:v>Av Price/Unit 97.96</c:v>
                </c:pt>
              </c:strCache>
            </c:strRef>
          </c:cat>
          <c:val>
            <c:numRef>
              <c:f>Sheet1!$C$2:$C$13</c:f>
              <c:numCache>
                <c:formatCode>General</c:formatCode>
                <c:ptCount val="12"/>
                <c:pt idx="0">
                  <c:v>27.863328635818402</c:v>
                </c:pt>
                <c:pt idx="1">
                  <c:v>13.400851990695177</c:v>
                </c:pt>
                <c:pt idx="2">
                  <c:v>22.314674546288412</c:v>
                </c:pt>
                <c:pt idx="3">
                  <c:v>47.769411692559281</c:v>
                </c:pt>
                <c:pt idx="4">
                  <c:v>15.272994038329484</c:v>
                </c:pt>
                <c:pt idx="5">
                  <c:v>14.218085944037655</c:v>
                </c:pt>
                <c:pt idx="6">
                  <c:v>18.343853404585417</c:v>
                </c:pt>
                <c:pt idx="7">
                  <c:v>14.099182824799461</c:v>
                </c:pt>
                <c:pt idx="8">
                  <c:v>20.56658287828262</c:v>
                </c:pt>
                <c:pt idx="9">
                  <c:v>13.90334297843437</c:v>
                </c:pt>
                <c:pt idx="10">
                  <c:v>13.866977586206898</c:v>
                </c:pt>
                <c:pt idx="11">
                  <c:v>49.76785412262155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5</c:v>
                </c:pt>
                <c:pt idx="1">
                  <c:v>Av Price/Unit 21.26</c:v>
                </c:pt>
                <c:pt idx="2">
                  <c:v>Av Price/Unit 46.29</c:v>
                </c:pt>
                <c:pt idx="3">
                  <c:v>Av Price/Unit 93.43</c:v>
                </c:pt>
                <c:pt idx="4">
                  <c:v>Av Price/Unit 29.25</c:v>
                </c:pt>
                <c:pt idx="5">
                  <c:v>Av Price/Unit 29.59</c:v>
                </c:pt>
                <c:pt idx="6">
                  <c:v>Av Price/Unit 37.17</c:v>
                </c:pt>
                <c:pt idx="7">
                  <c:v>Av Price/Unit 30.16</c:v>
                </c:pt>
                <c:pt idx="8">
                  <c:v>Av Price/Unit 42.09</c:v>
                </c:pt>
                <c:pt idx="9">
                  <c:v>Av Price/Unit 30.42</c:v>
                </c:pt>
                <c:pt idx="10">
                  <c:v>Av Price/Unit 29.14</c:v>
                </c:pt>
                <c:pt idx="11">
                  <c:v>Av Price/Unit 97.96</c:v>
                </c:pt>
              </c:strCache>
            </c:strRef>
          </c:cat>
          <c:val>
            <c:numRef>
              <c:f>Sheet1!$D$2:$D$13</c:f>
              <c:numCache>
                <c:formatCode>General</c:formatCode>
                <c:ptCount val="12"/>
                <c:pt idx="0">
                  <c:v>-1.0043299746767858</c:v>
                </c:pt>
                <c:pt idx="1">
                  <c:v>0.70927796218424533</c:v>
                </c:pt>
                <c:pt idx="2">
                  <c:v>0.41673681451876377</c:v>
                </c:pt>
                <c:pt idx="3">
                  <c:v>-9.3357045516455628E-3</c:v>
                </c:pt>
                <c:pt idx="4">
                  <c:v>-0.99111598310340554</c:v>
                </c:pt>
                <c:pt idx="5">
                  <c:v>-0.28627474503138473</c:v>
                </c:pt>
                <c:pt idx="6">
                  <c:v>-0.1549563351146297</c:v>
                </c:pt>
                <c:pt idx="7">
                  <c:v>-0.41221038558612833</c:v>
                </c:pt>
                <c:pt idx="8">
                  <c:v>-9.3175934417118356E-2</c:v>
                </c:pt>
                <c:pt idx="9">
                  <c:v>0.14838948887757297</c:v>
                </c:pt>
                <c:pt idx="10">
                  <c:v>-0.69562829821200367</c:v>
                </c:pt>
                <c:pt idx="11">
                  <c:v>0.1747204839088709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5</c:v>
                </c:pt>
                <c:pt idx="1">
                  <c:v>Av Price/Unit 21.26</c:v>
                </c:pt>
                <c:pt idx="2">
                  <c:v>Av Price/Unit 46.29</c:v>
                </c:pt>
                <c:pt idx="3">
                  <c:v>Av Price/Unit 93.43</c:v>
                </c:pt>
                <c:pt idx="4">
                  <c:v>Av Price/Unit 29.25</c:v>
                </c:pt>
                <c:pt idx="5">
                  <c:v>Av Price/Unit 29.59</c:v>
                </c:pt>
                <c:pt idx="6">
                  <c:v>Av Price/Unit 37.17</c:v>
                </c:pt>
                <c:pt idx="7">
                  <c:v>Av Price/Unit 30.16</c:v>
                </c:pt>
                <c:pt idx="8">
                  <c:v>Av Price/Unit 42.09</c:v>
                </c:pt>
                <c:pt idx="9">
                  <c:v>Av Price/Unit 30.42</c:v>
                </c:pt>
                <c:pt idx="10">
                  <c:v>Av Price/Unit 29.14</c:v>
                </c:pt>
                <c:pt idx="11">
                  <c:v>Av Price/Unit 97.96</c:v>
                </c:pt>
              </c:strCache>
            </c:strRef>
          </c:cat>
          <c:val>
            <c:numRef>
              <c:f>Sheet1!$E$2:$E$13</c:f>
              <c:numCache>
                <c:formatCode>General</c:formatCode>
                <c:ptCount val="12"/>
                <c:pt idx="0">
                  <c:v>9.008663201386101</c:v>
                </c:pt>
                <c:pt idx="1">
                  <c:v>3.5432062867197511</c:v>
                </c:pt>
                <c:pt idx="2">
                  <c:v>7.7146039441787329</c:v>
                </c:pt>
                <c:pt idx="3">
                  <c:v>15.572022349414009</c:v>
                </c:pt>
                <c:pt idx="4">
                  <c:v>4.875574838212958</c:v>
                </c:pt>
                <c:pt idx="5">
                  <c:v>4.9314526673640167</c:v>
                </c:pt>
                <c:pt idx="6">
                  <c:v>6.1947940010342997</c:v>
                </c:pt>
                <c:pt idx="7">
                  <c:v>5.0265262263537984</c:v>
                </c:pt>
                <c:pt idx="8">
                  <c:v>7.0155967764346219</c:v>
                </c:pt>
                <c:pt idx="9">
                  <c:v>5.0705552725420278</c:v>
                </c:pt>
                <c:pt idx="10">
                  <c:v>4.8558748403575969</c:v>
                </c:pt>
                <c:pt idx="11">
                  <c:v>16.32616866337795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32</c:v>
                </c:pt>
                <c:pt idx="1">
                  <c:v>Av Price/Unit 11.77</c:v>
                </c:pt>
                <c:pt idx="2">
                  <c:v>Av Price/Unit 12.81</c:v>
                </c:pt>
                <c:pt idx="3">
                  <c:v>Av Price/Unit 17.41</c:v>
                </c:pt>
                <c:pt idx="4">
                  <c:v>Av Price/Unit 11.15</c:v>
                </c:pt>
                <c:pt idx="5">
                  <c:v>Av Price/Unit 11.37</c:v>
                </c:pt>
                <c:pt idx="6">
                  <c:v>Av Price/Unit 9.10</c:v>
                </c:pt>
                <c:pt idx="7">
                  <c:v>Av Price/Unit 5.72</c:v>
                </c:pt>
                <c:pt idx="8">
                  <c:v>Av Price/Unit 13.25</c:v>
                </c:pt>
                <c:pt idx="9">
                  <c:v>Av Price/Unit 12.55</c:v>
                </c:pt>
                <c:pt idx="10">
                  <c:v>Av Price/Unit 13.80</c:v>
                </c:pt>
                <c:pt idx="11">
                  <c:v>Av Price/Unit 9.65</c:v>
                </c:pt>
              </c:strCache>
            </c:strRef>
          </c:cat>
          <c:val>
            <c:numRef>
              <c:f>Sheet1!$B$2:$B$13</c:f>
              <c:numCache>
                <c:formatCode>General</c:formatCode>
                <c:ptCount val="12"/>
                <c:pt idx="0">
                  <c:v>3.3546313078421819</c:v>
                </c:pt>
                <c:pt idx="1">
                  <c:v>4.8999189130728666</c:v>
                </c:pt>
                <c:pt idx="2">
                  <c:v>5.1212597684515195</c:v>
                </c:pt>
                <c:pt idx="3">
                  <c:v>6.4773181195369718</c:v>
                </c:pt>
                <c:pt idx="4">
                  <c:v>4.6329318400000004</c:v>
                </c:pt>
                <c:pt idx="5">
                  <c:v>4.7478915628192029</c:v>
                </c:pt>
                <c:pt idx="6">
                  <c:v>3.9932482838283825</c:v>
                </c:pt>
                <c:pt idx="7">
                  <c:v>2.5483492622770321</c:v>
                </c:pt>
                <c:pt idx="8">
                  <c:v>5.3422217821782176</c:v>
                </c:pt>
                <c:pt idx="9">
                  <c:v>5.2174163150492268</c:v>
                </c:pt>
                <c:pt idx="10">
                  <c:v>5.6512118404907987</c:v>
                </c:pt>
                <c:pt idx="11">
                  <c:v>2.875507042253521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32</c:v>
                </c:pt>
                <c:pt idx="1">
                  <c:v>Av Price/Unit 11.77</c:v>
                </c:pt>
                <c:pt idx="2">
                  <c:v>Av Price/Unit 12.81</c:v>
                </c:pt>
                <c:pt idx="3">
                  <c:v>Av Price/Unit 17.41</c:v>
                </c:pt>
                <c:pt idx="4">
                  <c:v>Av Price/Unit 11.15</c:v>
                </c:pt>
                <c:pt idx="5">
                  <c:v>Av Price/Unit 11.37</c:v>
                </c:pt>
                <c:pt idx="6">
                  <c:v>Av Price/Unit 9.10</c:v>
                </c:pt>
                <c:pt idx="7">
                  <c:v>Av Price/Unit 5.72</c:v>
                </c:pt>
                <c:pt idx="8">
                  <c:v>Av Price/Unit 13.25</c:v>
                </c:pt>
                <c:pt idx="9">
                  <c:v>Av Price/Unit 12.55</c:v>
                </c:pt>
                <c:pt idx="10">
                  <c:v>Av Price/Unit 13.80</c:v>
                </c:pt>
                <c:pt idx="11">
                  <c:v>Av Price/Unit 9.65</c:v>
                </c:pt>
              </c:strCache>
            </c:strRef>
          </c:cat>
          <c:val>
            <c:numRef>
              <c:f>Sheet1!$C$2:$C$13</c:f>
              <c:numCache>
                <c:formatCode>General</c:formatCode>
                <c:ptCount val="12"/>
                <c:pt idx="0">
                  <c:v>2.5780157817827569</c:v>
                </c:pt>
                <c:pt idx="1">
                  <c:v>4.5774011220765169</c:v>
                </c:pt>
                <c:pt idx="2">
                  <c:v>4.9741066570188126</c:v>
                </c:pt>
                <c:pt idx="3">
                  <c:v>7.6190350106307578</c:v>
                </c:pt>
                <c:pt idx="4">
                  <c:v>4.4555395200000003</c:v>
                </c:pt>
                <c:pt idx="5">
                  <c:v>4.4588608784473953</c:v>
                </c:pt>
                <c:pt idx="6">
                  <c:v>3.2062515181518152</c:v>
                </c:pt>
                <c:pt idx="7">
                  <c:v>2.4516507377229679</c:v>
                </c:pt>
                <c:pt idx="8">
                  <c:v>5.307330693069308</c:v>
                </c:pt>
                <c:pt idx="9">
                  <c:v>4.8095171589310839</c:v>
                </c:pt>
                <c:pt idx="10">
                  <c:v>5.3204770552147238</c:v>
                </c:pt>
                <c:pt idx="11">
                  <c:v>5.188232621535664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32</c:v>
                </c:pt>
                <c:pt idx="1">
                  <c:v>Av Price/Unit 11.77</c:v>
                </c:pt>
                <c:pt idx="2">
                  <c:v>Av Price/Unit 12.81</c:v>
                </c:pt>
                <c:pt idx="3">
                  <c:v>Av Price/Unit 17.41</c:v>
                </c:pt>
                <c:pt idx="4">
                  <c:v>Av Price/Unit 11.15</c:v>
                </c:pt>
                <c:pt idx="5">
                  <c:v>Av Price/Unit 11.37</c:v>
                </c:pt>
                <c:pt idx="6">
                  <c:v>Av Price/Unit 9.10</c:v>
                </c:pt>
                <c:pt idx="7">
                  <c:v>Av Price/Unit 5.72</c:v>
                </c:pt>
                <c:pt idx="8">
                  <c:v>Av Price/Unit 13.25</c:v>
                </c:pt>
                <c:pt idx="9">
                  <c:v>Av Price/Unit 12.55</c:v>
                </c:pt>
                <c:pt idx="10">
                  <c:v>Av Price/Unit 13.80</c:v>
                </c:pt>
                <c:pt idx="11">
                  <c:v>Av Price/Unit 9.65</c:v>
                </c:pt>
              </c:strCache>
            </c:strRef>
          </c:cat>
          <c:val>
            <c:numRef>
              <c:f>Sheet1!$D$2:$D$13</c:f>
              <c:numCache>
                <c:formatCode>General</c:formatCode>
                <c:ptCount val="12"/>
                <c:pt idx="0">
                  <c:v>0.17102233723006943</c:v>
                </c:pt>
                <c:pt idx="1">
                  <c:v>0.33319431300977875</c:v>
                </c:pt>
                <c:pt idx="2">
                  <c:v>0.57595841775205159</c:v>
                </c:pt>
                <c:pt idx="3">
                  <c:v>0.41325392550595019</c:v>
                </c:pt>
                <c:pt idx="4">
                  <c:v>0.20290445333333373</c:v>
                </c:pt>
                <c:pt idx="5">
                  <c:v>0.27196734082397178</c:v>
                </c:pt>
                <c:pt idx="6">
                  <c:v>0.38245839383938218</c:v>
                </c:pt>
                <c:pt idx="7">
                  <c:v>-0.2314101152462742</c:v>
                </c:pt>
                <c:pt idx="8">
                  <c:v>0.38813254754047044</c:v>
                </c:pt>
                <c:pt idx="9">
                  <c:v>0.43055988435693138</c:v>
                </c:pt>
                <c:pt idx="10">
                  <c:v>0.5252436196319028</c:v>
                </c:pt>
                <c:pt idx="11">
                  <c:v>-1.9668786915037373E-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32</c:v>
                </c:pt>
                <c:pt idx="1">
                  <c:v>Av Price/Unit 11.77</c:v>
                </c:pt>
                <c:pt idx="2">
                  <c:v>Av Price/Unit 12.81</c:v>
                </c:pt>
                <c:pt idx="3">
                  <c:v>Av Price/Unit 17.41</c:v>
                </c:pt>
                <c:pt idx="4">
                  <c:v>Av Price/Unit 11.15</c:v>
                </c:pt>
                <c:pt idx="5">
                  <c:v>Av Price/Unit 11.37</c:v>
                </c:pt>
                <c:pt idx="6">
                  <c:v>Av Price/Unit 9.10</c:v>
                </c:pt>
                <c:pt idx="7">
                  <c:v>Av Price/Unit 5.72</c:v>
                </c:pt>
                <c:pt idx="8">
                  <c:v>Av Price/Unit 13.25</c:v>
                </c:pt>
                <c:pt idx="9">
                  <c:v>Av Price/Unit 12.55</c:v>
                </c:pt>
                <c:pt idx="10">
                  <c:v>Av Price/Unit 13.80</c:v>
                </c:pt>
                <c:pt idx="11">
                  <c:v>Av Price/Unit 9.65</c:v>
                </c:pt>
              </c:strCache>
            </c:strRef>
          </c:cat>
          <c:val>
            <c:numRef>
              <c:f>Sheet1!$E$2:$E$13</c:f>
              <c:numCache>
                <c:formatCode>General</c:formatCode>
                <c:ptCount val="12"/>
                <c:pt idx="0">
                  <c:v>1.2207338853710015</c:v>
                </c:pt>
                <c:pt idx="1">
                  <c:v>1.9621017529629117</c:v>
                </c:pt>
                <c:pt idx="2">
                  <c:v>2.134273999035214</c:v>
                </c:pt>
                <c:pt idx="3">
                  <c:v>2.901921411134734</c:v>
                </c:pt>
                <c:pt idx="4">
                  <c:v>1.8582666666666656</c:v>
                </c:pt>
                <c:pt idx="5">
                  <c:v>1.8957439564181133</c:v>
                </c:pt>
                <c:pt idx="6">
                  <c:v>1.5163916391639181</c:v>
                </c:pt>
                <c:pt idx="7">
                  <c:v>0.95371797695074478</c:v>
                </c:pt>
                <c:pt idx="8">
                  <c:v>2.2075278956467064</c:v>
                </c:pt>
                <c:pt idx="9">
                  <c:v>2.0914986716674471</c:v>
                </c:pt>
                <c:pt idx="10">
                  <c:v>2.2993865030674847</c:v>
                </c:pt>
                <c:pt idx="11">
                  <c:v>1.608814175374829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0</c:v>
                </c:pt>
                <c:pt idx="1">
                  <c:v>Av Price/Unit 11.79</c:v>
                </c:pt>
                <c:pt idx="2">
                  <c:v>Av Price/Unit 12.82</c:v>
                </c:pt>
                <c:pt idx="3">
                  <c:v>Av Price/Unit 17.41</c:v>
                </c:pt>
                <c:pt idx="4">
                  <c:v>Av Price/Unit 9.11</c:v>
                </c:pt>
                <c:pt idx="5">
                  <c:v>Av Price/Unit 11.41</c:v>
                </c:pt>
                <c:pt idx="6">
                  <c:v>Av Price/Unit 11.19</c:v>
                </c:pt>
                <c:pt idx="7">
                  <c:v>Av Price/Unit 13.47</c:v>
                </c:pt>
                <c:pt idx="8">
                  <c:v>Av Price/Unit 13.86</c:v>
                </c:pt>
                <c:pt idx="9">
                  <c:v>Av Price/Unit 12.61</c:v>
                </c:pt>
                <c:pt idx="10">
                  <c:v>Av Price/Unit 5.74</c:v>
                </c:pt>
                <c:pt idx="11">
                  <c:v>Av Price/Unit 9.84</c:v>
                </c:pt>
              </c:strCache>
            </c:strRef>
          </c:cat>
          <c:val>
            <c:numRef>
              <c:f>Sheet1!$B$2:$B$13</c:f>
              <c:numCache>
                <c:formatCode>General</c:formatCode>
                <c:ptCount val="12"/>
                <c:pt idx="0">
                  <c:v>3.3576659967978801</c:v>
                </c:pt>
                <c:pt idx="1">
                  <c:v>4.8998087014787428</c:v>
                </c:pt>
                <c:pt idx="2">
                  <c:v>5.1145929341317373</c:v>
                </c:pt>
                <c:pt idx="3">
                  <c:v>6.4766898572501859</c:v>
                </c:pt>
                <c:pt idx="4">
                  <c:v>3.997904032189989</c:v>
                </c:pt>
                <c:pt idx="5">
                  <c:v>4.7535026697362577</c:v>
                </c:pt>
                <c:pt idx="6">
                  <c:v>4.6421045257485511</c:v>
                </c:pt>
                <c:pt idx="7">
                  <c:v>5.3892173142467605</c:v>
                </c:pt>
                <c:pt idx="8">
                  <c:v>5.6552571581196585</c:v>
                </c:pt>
                <c:pt idx="9">
                  <c:v>5.2191503510945889</c:v>
                </c:pt>
                <c:pt idx="10">
                  <c:v>2.548986129345284</c:v>
                </c:pt>
                <c:pt idx="11">
                  <c:v>4.023246311818942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0</c:v>
                </c:pt>
                <c:pt idx="1">
                  <c:v>Av Price/Unit 11.79</c:v>
                </c:pt>
                <c:pt idx="2">
                  <c:v>Av Price/Unit 12.82</c:v>
                </c:pt>
                <c:pt idx="3">
                  <c:v>Av Price/Unit 17.41</c:v>
                </c:pt>
                <c:pt idx="4">
                  <c:v>Av Price/Unit 9.11</c:v>
                </c:pt>
                <c:pt idx="5">
                  <c:v>Av Price/Unit 11.41</c:v>
                </c:pt>
                <c:pt idx="6">
                  <c:v>Av Price/Unit 11.19</c:v>
                </c:pt>
                <c:pt idx="7">
                  <c:v>Av Price/Unit 13.47</c:v>
                </c:pt>
                <c:pt idx="8">
                  <c:v>Av Price/Unit 13.86</c:v>
                </c:pt>
                <c:pt idx="9">
                  <c:v>Av Price/Unit 12.61</c:v>
                </c:pt>
                <c:pt idx="10">
                  <c:v>Av Price/Unit 5.74</c:v>
                </c:pt>
                <c:pt idx="11">
                  <c:v>Av Price/Unit 9.84</c:v>
                </c:pt>
              </c:strCache>
            </c:strRef>
          </c:cat>
          <c:val>
            <c:numRef>
              <c:f>Sheet1!$C$2:$C$13</c:f>
              <c:numCache>
                <c:formatCode>General</c:formatCode>
                <c:ptCount val="12"/>
                <c:pt idx="0">
                  <c:v>2.5802535350300886</c:v>
                </c:pt>
                <c:pt idx="1">
                  <c:v>4.5773114671903876</c:v>
                </c:pt>
                <c:pt idx="2">
                  <c:v>4.9647134131736523</c:v>
                </c:pt>
                <c:pt idx="3">
                  <c:v>7.6266133734034556</c:v>
                </c:pt>
                <c:pt idx="4">
                  <c:v>3.2100597174934578</c:v>
                </c:pt>
                <c:pt idx="5">
                  <c:v>4.4644519972535237</c:v>
                </c:pt>
                <c:pt idx="6">
                  <c:v>4.4564037964426069</c:v>
                </c:pt>
                <c:pt idx="7">
                  <c:v>5.3271784594410354</c:v>
                </c:pt>
                <c:pt idx="8">
                  <c:v>5.3084822649572647</c:v>
                </c:pt>
                <c:pt idx="9">
                  <c:v>4.8107321664601397</c:v>
                </c:pt>
                <c:pt idx="10">
                  <c:v>2.451013870654716</c:v>
                </c:pt>
                <c:pt idx="11">
                  <c:v>3.816427326068733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0</c:v>
                </c:pt>
                <c:pt idx="1">
                  <c:v>Av Price/Unit 11.79</c:v>
                </c:pt>
                <c:pt idx="2">
                  <c:v>Av Price/Unit 12.82</c:v>
                </c:pt>
                <c:pt idx="3">
                  <c:v>Av Price/Unit 17.41</c:v>
                </c:pt>
                <c:pt idx="4">
                  <c:v>Av Price/Unit 9.11</c:v>
                </c:pt>
                <c:pt idx="5">
                  <c:v>Av Price/Unit 11.41</c:v>
                </c:pt>
                <c:pt idx="6">
                  <c:v>Av Price/Unit 11.19</c:v>
                </c:pt>
                <c:pt idx="7">
                  <c:v>Av Price/Unit 13.47</c:v>
                </c:pt>
                <c:pt idx="8">
                  <c:v>Av Price/Unit 13.86</c:v>
                </c:pt>
                <c:pt idx="9">
                  <c:v>Av Price/Unit 12.61</c:v>
                </c:pt>
                <c:pt idx="10">
                  <c:v>Av Price/Unit 5.74</c:v>
                </c:pt>
                <c:pt idx="11">
                  <c:v>Av Price/Unit 9.84</c:v>
                </c:pt>
              </c:strCache>
            </c:strRef>
          </c:cat>
          <c:val>
            <c:numRef>
              <c:f>Sheet1!$D$2:$D$13</c:f>
              <c:numCache>
                <c:formatCode>General</c:formatCode>
                <c:ptCount val="12"/>
                <c:pt idx="0">
                  <c:v>0.2272472912641037</c:v>
                </c:pt>
                <c:pt idx="1">
                  <c:v>0.34383847119531907</c:v>
                </c:pt>
                <c:pt idx="2">
                  <c:v>0.60043010867154756</c:v>
                </c:pt>
                <c:pt idx="3">
                  <c:v>0.40572037315302012</c:v>
                </c:pt>
                <c:pt idx="4">
                  <c:v>0.38402439479632733</c:v>
                </c:pt>
                <c:pt idx="5">
                  <c:v>0.28804988354402816</c:v>
                </c:pt>
                <c:pt idx="6">
                  <c:v>0.22351913347649166</c:v>
                </c:pt>
                <c:pt idx="7">
                  <c:v>0.50560788457168471</c:v>
                </c:pt>
                <c:pt idx="8">
                  <c:v>0.58585103276353578</c:v>
                </c:pt>
                <c:pt idx="9">
                  <c:v>0.47516016453255894</c:v>
                </c:pt>
                <c:pt idx="10">
                  <c:v>-0.2191905930703788</c:v>
                </c:pt>
                <c:pt idx="11">
                  <c:v>0.35884550153673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0</c:v>
                </c:pt>
                <c:pt idx="1">
                  <c:v>Av Price/Unit 11.79</c:v>
                </c:pt>
                <c:pt idx="2">
                  <c:v>Av Price/Unit 12.82</c:v>
                </c:pt>
                <c:pt idx="3">
                  <c:v>Av Price/Unit 17.41</c:v>
                </c:pt>
                <c:pt idx="4">
                  <c:v>Av Price/Unit 9.11</c:v>
                </c:pt>
                <c:pt idx="5">
                  <c:v>Av Price/Unit 11.41</c:v>
                </c:pt>
                <c:pt idx="6">
                  <c:v>Av Price/Unit 11.19</c:v>
                </c:pt>
                <c:pt idx="7">
                  <c:v>Av Price/Unit 13.47</c:v>
                </c:pt>
                <c:pt idx="8">
                  <c:v>Av Price/Unit 13.86</c:v>
                </c:pt>
                <c:pt idx="9">
                  <c:v>Av Price/Unit 12.61</c:v>
                </c:pt>
                <c:pt idx="10">
                  <c:v>Av Price/Unit 5.74</c:v>
                </c:pt>
                <c:pt idx="11">
                  <c:v>Av Price/Unit 9.84</c:v>
                </c:pt>
              </c:strCache>
            </c:strRef>
          </c:cat>
          <c:val>
            <c:numRef>
              <c:f>Sheet1!$E$2:$E$13</c:f>
              <c:numCache>
                <c:formatCode>General</c:formatCode>
                <c:ptCount val="12"/>
                <c:pt idx="0">
                  <c:v>1.2330333646184148</c:v>
                </c:pt>
                <c:pt idx="1">
                  <c:v>1.9641905422057921</c:v>
                </c:pt>
                <c:pt idx="2">
                  <c:v>2.1359558660456859</c:v>
                </c:pt>
                <c:pt idx="3">
                  <c:v>2.9018047207613313</c:v>
                </c:pt>
                <c:pt idx="4">
                  <c:v>1.5183976288959542</c:v>
                </c:pt>
                <c:pt idx="5">
                  <c:v>1.9012009101067664</c:v>
                </c:pt>
                <c:pt idx="6">
                  <c:v>1.864396364274814</c:v>
                </c:pt>
                <c:pt idx="7">
                  <c:v>2.2443904794364911</c:v>
                </c:pt>
                <c:pt idx="8">
                  <c:v>2.3099180911680874</c:v>
                </c:pt>
                <c:pt idx="9">
                  <c:v>2.1010085364174618</c:v>
                </c:pt>
                <c:pt idx="10">
                  <c:v>0.95616188138592217</c:v>
                </c:pt>
                <c:pt idx="11">
                  <c:v>1.639703827884888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4</c:v>
                </c:pt>
                <c:pt idx="1">
                  <c:v>Av Price/Unit 11.78</c:v>
                </c:pt>
                <c:pt idx="2">
                  <c:v>Av Price/Unit 17.38</c:v>
                </c:pt>
                <c:pt idx="3">
                  <c:v>Av Price/Unit 12.81</c:v>
                </c:pt>
                <c:pt idx="4">
                  <c:v>Av Price/Unit 9.09</c:v>
                </c:pt>
                <c:pt idx="5">
                  <c:v>Av Price/Unit 11.40</c:v>
                </c:pt>
                <c:pt idx="6">
                  <c:v>Av Price/Unit 11.20</c:v>
                </c:pt>
                <c:pt idx="7">
                  <c:v>Av Price/Unit 13.53</c:v>
                </c:pt>
                <c:pt idx="8">
                  <c:v>Av Price/Unit 13.81</c:v>
                </c:pt>
                <c:pt idx="9">
                  <c:v>Av Price/Unit 12.58</c:v>
                </c:pt>
                <c:pt idx="10">
                  <c:v>Av Price/Unit 5.76</c:v>
                </c:pt>
                <c:pt idx="11">
                  <c:v>Av Price/Unit 9.80</c:v>
                </c:pt>
              </c:strCache>
            </c:strRef>
          </c:cat>
          <c:val>
            <c:numRef>
              <c:f>Sheet1!$B$2:$B$13</c:f>
              <c:numCache>
                <c:formatCode>General</c:formatCode>
                <c:ptCount val="12"/>
                <c:pt idx="0">
                  <c:v>3.3605091708002082</c:v>
                </c:pt>
                <c:pt idx="1">
                  <c:v>4.9010822103319285</c:v>
                </c:pt>
                <c:pt idx="2">
                  <c:v>6.4760469245339465</c:v>
                </c:pt>
                <c:pt idx="3">
                  <c:v>5.1167321658120892</c:v>
                </c:pt>
                <c:pt idx="4">
                  <c:v>3.9851112126333583</c:v>
                </c:pt>
                <c:pt idx="5">
                  <c:v>4.7570874003309775</c:v>
                </c:pt>
                <c:pt idx="6">
                  <c:v>4.6485549141832463</c:v>
                </c:pt>
                <c:pt idx="7">
                  <c:v>5.4113504695546819</c:v>
                </c:pt>
                <c:pt idx="8">
                  <c:v>5.6572593785524825</c:v>
                </c:pt>
                <c:pt idx="9">
                  <c:v>5.2288499305233902</c:v>
                </c:pt>
                <c:pt idx="10">
                  <c:v>2.5491082971538832</c:v>
                </c:pt>
                <c:pt idx="11">
                  <c:v>4.024637219730941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4</c:v>
                </c:pt>
                <c:pt idx="1">
                  <c:v>Av Price/Unit 11.78</c:v>
                </c:pt>
                <c:pt idx="2">
                  <c:v>Av Price/Unit 17.38</c:v>
                </c:pt>
                <c:pt idx="3">
                  <c:v>Av Price/Unit 12.81</c:v>
                </c:pt>
                <c:pt idx="4">
                  <c:v>Av Price/Unit 9.09</c:v>
                </c:pt>
                <c:pt idx="5">
                  <c:v>Av Price/Unit 11.40</c:v>
                </c:pt>
                <c:pt idx="6">
                  <c:v>Av Price/Unit 11.20</c:v>
                </c:pt>
                <c:pt idx="7">
                  <c:v>Av Price/Unit 13.53</c:v>
                </c:pt>
                <c:pt idx="8">
                  <c:v>Av Price/Unit 13.81</c:v>
                </c:pt>
                <c:pt idx="9">
                  <c:v>Av Price/Unit 12.58</c:v>
                </c:pt>
                <c:pt idx="10">
                  <c:v>Av Price/Unit 5.76</c:v>
                </c:pt>
                <c:pt idx="11">
                  <c:v>Av Price/Unit 9.80</c:v>
                </c:pt>
              </c:strCache>
            </c:strRef>
          </c:cat>
          <c:val>
            <c:numRef>
              <c:f>Sheet1!$C$2:$C$13</c:f>
              <c:numCache>
                <c:formatCode>General</c:formatCode>
                <c:ptCount val="12"/>
                <c:pt idx="0">
                  <c:v>2.5823500668161534</c:v>
                </c:pt>
                <c:pt idx="1">
                  <c:v>4.5783474406932152</c:v>
                </c:pt>
                <c:pt idx="2">
                  <c:v>7.6343686970391786</c:v>
                </c:pt>
                <c:pt idx="3">
                  <c:v>4.967727486098072</c:v>
                </c:pt>
                <c:pt idx="4">
                  <c:v>3.1995957483891408</c:v>
                </c:pt>
                <c:pt idx="5">
                  <c:v>4.4680239581766212</c:v>
                </c:pt>
                <c:pt idx="6">
                  <c:v>4.457011570318504</c:v>
                </c:pt>
                <c:pt idx="7">
                  <c:v>5.3365260224174493</c:v>
                </c:pt>
                <c:pt idx="8">
                  <c:v>5.3025454717696094</c:v>
                </c:pt>
                <c:pt idx="9">
                  <c:v>4.8175284854099116</c:v>
                </c:pt>
                <c:pt idx="10">
                  <c:v>2.4508917028461168</c:v>
                </c:pt>
                <c:pt idx="11">
                  <c:v>3.817717937219731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4</c:v>
                </c:pt>
                <c:pt idx="1">
                  <c:v>Av Price/Unit 11.78</c:v>
                </c:pt>
                <c:pt idx="2">
                  <c:v>Av Price/Unit 17.38</c:v>
                </c:pt>
                <c:pt idx="3">
                  <c:v>Av Price/Unit 12.81</c:v>
                </c:pt>
                <c:pt idx="4">
                  <c:v>Av Price/Unit 9.09</c:v>
                </c:pt>
                <c:pt idx="5">
                  <c:v>Av Price/Unit 11.40</c:v>
                </c:pt>
                <c:pt idx="6">
                  <c:v>Av Price/Unit 11.20</c:v>
                </c:pt>
                <c:pt idx="7">
                  <c:v>Av Price/Unit 13.53</c:v>
                </c:pt>
                <c:pt idx="8">
                  <c:v>Av Price/Unit 13.81</c:v>
                </c:pt>
                <c:pt idx="9">
                  <c:v>Av Price/Unit 12.58</c:v>
                </c:pt>
                <c:pt idx="10">
                  <c:v>Av Price/Unit 5.76</c:v>
                </c:pt>
                <c:pt idx="11">
                  <c:v>Av Price/Unit 9.80</c:v>
                </c:pt>
              </c:strCache>
            </c:strRef>
          </c:cat>
          <c:val>
            <c:numRef>
              <c:f>Sheet1!$D$2:$D$13</c:f>
              <c:numCache>
                <c:formatCode>General</c:formatCode>
                <c:ptCount val="12"/>
                <c:pt idx="0">
                  <c:v>0.25794406619706578</c:v>
                </c:pt>
                <c:pt idx="1">
                  <c:v>0.33468122385845511</c:v>
                </c:pt>
                <c:pt idx="2">
                  <c:v>0.37609286877347081</c:v>
                </c:pt>
                <c:pt idx="3">
                  <c:v>0.58760381791483063</c:v>
                </c:pt>
                <c:pt idx="4">
                  <c:v>0.39015836062110409</c:v>
                </c:pt>
                <c:pt idx="5">
                  <c:v>0.27340927736823772</c:v>
                </c:pt>
                <c:pt idx="6">
                  <c:v>0.22488298465829892</c:v>
                </c:pt>
                <c:pt idx="7">
                  <c:v>0.52742233666565852</c:v>
                </c:pt>
                <c:pt idx="8">
                  <c:v>0.54550018946570766</c:v>
                </c:pt>
                <c:pt idx="9">
                  <c:v>0.4382209356183413</c:v>
                </c:pt>
                <c:pt idx="10">
                  <c:v>-0.19808248914616478</c:v>
                </c:pt>
                <c:pt idx="11">
                  <c:v>0.3238001416096292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4</c:v>
                </c:pt>
                <c:pt idx="1">
                  <c:v>Av Price/Unit 11.78</c:v>
                </c:pt>
                <c:pt idx="2">
                  <c:v>Av Price/Unit 17.38</c:v>
                </c:pt>
                <c:pt idx="3">
                  <c:v>Av Price/Unit 12.81</c:v>
                </c:pt>
                <c:pt idx="4">
                  <c:v>Av Price/Unit 9.09</c:v>
                </c:pt>
                <c:pt idx="5">
                  <c:v>Av Price/Unit 11.40</c:v>
                </c:pt>
                <c:pt idx="6">
                  <c:v>Av Price/Unit 11.20</c:v>
                </c:pt>
                <c:pt idx="7">
                  <c:v>Av Price/Unit 13.53</c:v>
                </c:pt>
                <c:pt idx="8">
                  <c:v>Av Price/Unit 13.81</c:v>
                </c:pt>
                <c:pt idx="9">
                  <c:v>Av Price/Unit 12.58</c:v>
                </c:pt>
                <c:pt idx="10">
                  <c:v>Av Price/Unit 5.76</c:v>
                </c:pt>
                <c:pt idx="11">
                  <c:v>Av Price/Unit 9.80</c:v>
                </c:pt>
              </c:strCache>
            </c:strRef>
          </c:cat>
          <c:val>
            <c:numRef>
              <c:f>Sheet1!$E$2:$E$13</c:f>
              <c:numCache>
                <c:formatCode>General</c:formatCode>
                <c:ptCount val="12"/>
                <c:pt idx="0">
                  <c:v>1.2401606607626852</c:v>
                </c:pt>
                <c:pt idx="1">
                  <c:v>1.9628217876477714</c:v>
                </c:pt>
                <c:pt idx="2">
                  <c:v>2.8973016980693167</c:v>
                </c:pt>
                <c:pt idx="3">
                  <c:v>2.1344214149876013</c:v>
                </c:pt>
                <c:pt idx="4">
                  <c:v>1.5149730643287209</c:v>
                </c:pt>
                <c:pt idx="5">
                  <c:v>1.899704127175166</c:v>
                </c:pt>
                <c:pt idx="6">
                  <c:v>1.8660803233427254</c:v>
                </c:pt>
                <c:pt idx="7">
                  <c:v>2.2550489750580627</c:v>
                </c:pt>
                <c:pt idx="8">
                  <c:v>2.3010610079575597</c:v>
                </c:pt>
                <c:pt idx="9">
                  <c:v>2.0969198703103289</c:v>
                </c:pt>
                <c:pt idx="10">
                  <c:v>0.96038350217076696</c:v>
                </c:pt>
                <c:pt idx="11">
                  <c:v>1.633231059712060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19</c:v>
                </c:pt>
                <c:pt idx="1">
                  <c:v>Av Price/Unit 11.79</c:v>
                </c:pt>
                <c:pt idx="2">
                  <c:v>Av Price/Unit 17.47</c:v>
                </c:pt>
                <c:pt idx="3">
                  <c:v>Av Price/Unit 11.15</c:v>
                </c:pt>
                <c:pt idx="4">
                  <c:v>Av Price/Unit 12.51</c:v>
                </c:pt>
                <c:pt idx="5">
                  <c:v>Av Price/Unit 9.20</c:v>
                </c:pt>
                <c:pt idx="6">
                  <c:v>Av Price/Unit 11.44</c:v>
                </c:pt>
                <c:pt idx="7">
                  <c:v>Av Price/Unit 9.25</c:v>
                </c:pt>
                <c:pt idx="8">
                  <c:v>Av Price/Unit 11.57</c:v>
                </c:pt>
                <c:pt idx="9">
                  <c:v>Av Price/Unit 12.29</c:v>
                </c:pt>
                <c:pt idx="10">
                  <c:v>Av Price/Unit 9.95</c:v>
                </c:pt>
                <c:pt idx="11">
                  <c:v>Av Price/Unit 10.99</c:v>
                </c:pt>
              </c:strCache>
            </c:strRef>
          </c:cat>
          <c:val>
            <c:numRef>
              <c:f>Sheet1!$B$2:$B$13</c:f>
              <c:numCache>
                <c:formatCode>General</c:formatCode>
                <c:ptCount val="12"/>
                <c:pt idx="0">
                  <c:v>3.3443261036468326</c:v>
                </c:pt>
                <c:pt idx="1">
                  <c:v>4.8910233316352532</c:v>
                </c:pt>
                <c:pt idx="2">
                  <c:v>6.4833870796460173</c:v>
                </c:pt>
                <c:pt idx="3">
                  <c:v>4.6194262243285946</c:v>
                </c:pt>
                <c:pt idx="4">
                  <c:v>5.0723134476534293</c:v>
                </c:pt>
                <c:pt idx="5">
                  <c:v>4.1047860014892024</c:v>
                </c:pt>
                <c:pt idx="6">
                  <c:v>3.9</c:v>
                </c:pt>
                <c:pt idx="7">
                  <c:v>2.6537701327433627</c:v>
                </c:pt>
                <c:pt idx="8">
                  <c:v>4.7427183844011145</c:v>
                </c:pt>
                <c:pt idx="9">
                  <c:v>5.1580273224043713</c:v>
                </c:pt>
                <c:pt idx="10">
                  <c:v>4.0159141638225258</c:v>
                </c:pt>
                <c:pt idx="11">
                  <c:v>4.527574074074074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19</c:v>
                </c:pt>
                <c:pt idx="1">
                  <c:v>Av Price/Unit 11.79</c:v>
                </c:pt>
                <c:pt idx="2">
                  <c:v>Av Price/Unit 17.47</c:v>
                </c:pt>
                <c:pt idx="3">
                  <c:v>Av Price/Unit 11.15</c:v>
                </c:pt>
                <c:pt idx="4">
                  <c:v>Av Price/Unit 12.51</c:v>
                </c:pt>
                <c:pt idx="5">
                  <c:v>Av Price/Unit 9.20</c:v>
                </c:pt>
                <c:pt idx="6">
                  <c:v>Av Price/Unit 11.44</c:v>
                </c:pt>
                <c:pt idx="7">
                  <c:v>Av Price/Unit 9.25</c:v>
                </c:pt>
                <c:pt idx="8">
                  <c:v>Av Price/Unit 11.57</c:v>
                </c:pt>
                <c:pt idx="9">
                  <c:v>Av Price/Unit 12.29</c:v>
                </c:pt>
                <c:pt idx="10">
                  <c:v>Av Price/Unit 9.95</c:v>
                </c:pt>
                <c:pt idx="11">
                  <c:v>Av Price/Unit 10.99</c:v>
                </c:pt>
              </c:strCache>
            </c:strRef>
          </c:cat>
          <c:val>
            <c:numRef>
              <c:f>Sheet1!$C$2:$C$13</c:f>
              <c:numCache>
                <c:formatCode>General</c:formatCode>
                <c:ptCount val="12"/>
                <c:pt idx="0">
                  <c:v>2.5704168138195778</c:v>
                </c:pt>
                <c:pt idx="1">
                  <c:v>4.570164747834947</c:v>
                </c:pt>
                <c:pt idx="2">
                  <c:v>7.5458286725663708</c:v>
                </c:pt>
                <c:pt idx="3">
                  <c:v>4.4542669826224328</c:v>
                </c:pt>
                <c:pt idx="4">
                  <c:v>4.9051436823104693</c:v>
                </c:pt>
                <c:pt idx="5">
                  <c:v>3.2974845122859273</c:v>
                </c:pt>
                <c:pt idx="6">
                  <c:v>5.6000000000000005</c:v>
                </c:pt>
                <c:pt idx="7">
                  <c:v>4.9572566371681424</c:v>
                </c:pt>
                <c:pt idx="8">
                  <c:v>4.4537061281337049</c:v>
                </c:pt>
                <c:pt idx="9">
                  <c:v>4.7679043715846987</c:v>
                </c:pt>
                <c:pt idx="10">
                  <c:v>3.8096238907849824</c:v>
                </c:pt>
                <c:pt idx="11">
                  <c:v>4.278907407407407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19</c:v>
                </c:pt>
                <c:pt idx="1">
                  <c:v>Av Price/Unit 11.79</c:v>
                </c:pt>
                <c:pt idx="2">
                  <c:v>Av Price/Unit 17.47</c:v>
                </c:pt>
                <c:pt idx="3">
                  <c:v>Av Price/Unit 11.15</c:v>
                </c:pt>
                <c:pt idx="4">
                  <c:v>Av Price/Unit 12.51</c:v>
                </c:pt>
                <c:pt idx="5">
                  <c:v>Av Price/Unit 9.20</c:v>
                </c:pt>
                <c:pt idx="6">
                  <c:v>Av Price/Unit 11.44</c:v>
                </c:pt>
                <c:pt idx="7">
                  <c:v>Av Price/Unit 9.25</c:v>
                </c:pt>
                <c:pt idx="8">
                  <c:v>Av Price/Unit 11.57</c:v>
                </c:pt>
                <c:pt idx="9">
                  <c:v>Av Price/Unit 12.29</c:v>
                </c:pt>
                <c:pt idx="10">
                  <c:v>Av Price/Unit 9.95</c:v>
                </c:pt>
                <c:pt idx="11">
                  <c:v>Av Price/Unit 10.99</c:v>
                </c:pt>
              </c:strCache>
            </c:strRef>
          </c:cat>
          <c:val>
            <c:numRef>
              <c:f>Sheet1!$D$2:$D$13</c:f>
              <c:numCache>
                <c:formatCode>General</c:formatCode>
                <c:ptCount val="12"/>
                <c:pt idx="0">
                  <c:v>7.5020358285350142E-2</c:v>
                </c:pt>
                <c:pt idx="1">
                  <c:v>0.3609713873323166</c:v>
                </c:pt>
                <c:pt idx="2">
                  <c:v>0.5319936873156319</c:v>
                </c:pt>
                <c:pt idx="3">
                  <c:v>0.21873536071616684</c:v>
                </c:pt>
                <c:pt idx="4">
                  <c:v>0.44444584837545165</c:v>
                </c:pt>
                <c:pt idx="5">
                  <c:v>0.26774686026309169</c:v>
                </c:pt>
                <c:pt idx="6">
                  <c:v>3.1126871552404012E-2</c:v>
                </c:pt>
                <c:pt idx="7">
                  <c:v>9.8228392330383052E-2</c:v>
                </c:pt>
                <c:pt idx="8">
                  <c:v>0.44145849582172936</c:v>
                </c:pt>
                <c:pt idx="9">
                  <c:v>0.31845203400121491</c:v>
                </c:pt>
                <c:pt idx="10">
                  <c:v>0.46797730375426827</c:v>
                </c:pt>
                <c:pt idx="11">
                  <c:v>0.3511074800290465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19</c:v>
                </c:pt>
                <c:pt idx="1">
                  <c:v>Av Price/Unit 11.79</c:v>
                </c:pt>
                <c:pt idx="2">
                  <c:v>Av Price/Unit 17.47</c:v>
                </c:pt>
                <c:pt idx="3">
                  <c:v>Av Price/Unit 11.15</c:v>
                </c:pt>
                <c:pt idx="4">
                  <c:v>Av Price/Unit 12.51</c:v>
                </c:pt>
                <c:pt idx="5">
                  <c:v>Av Price/Unit 9.20</c:v>
                </c:pt>
                <c:pt idx="6">
                  <c:v>Av Price/Unit 11.44</c:v>
                </c:pt>
                <c:pt idx="7">
                  <c:v>Av Price/Unit 9.25</c:v>
                </c:pt>
                <c:pt idx="8">
                  <c:v>Av Price/Unit 11.57</c:v>
                </c:pt>
                <c:pt idx="9">
                  <c:v>Av Price/Unit 12.29</c:v>
                </c:pt>
                <c:pt idx="10">
                  <c:v>Av Price/Unit 9.95</c:v>
                </c:pt>
                <c:pt idx="11">
                  <c:v>Av Price/Unit 10.99</c:v>
                </c:pt>
              </c:strCache>
            </c:strRef>
          </c:cat>
          <c:val>
            <c:numRef>
              <c:f>Sheet1!$E$2:$E$13</c:f>
              <c:numCache>
                <c:formatCode>General</c:formatCode>
                <c:ptCount val="12"/>
                <c:pt idx="0">
                  <c:v>1.197952655150351</c:v>
                </c:pt>
                <c:pt idx="1">
                  <c:v>1.9644251995245361</c:v>
                </c:pt>
                <c:pt idx="2">
                  <c:v>2.9122418879056067</c:v>
                </c:pt>
                <c:pt idx="3">
                  <c:v>1.8584781463928375</c:v>
                </c:pt>
                <c:pt idx="4">
                  <c:v>2.0843862815884475</c:v>
                </c:pt>
                <c:pt idx="5">
                  <c:v>1.5340034748076441</c:v>
                </c:pt>
                <c:pt idx="6">
                  <c:v>1.90622537431048</c:v>
                </c:pt>
                <c:pt idx="7">
                  <c:v>1.5418510324483772</c:v>
                </c:pt>
                <c:pt idx="8">
                  <c:v>1.9275766016713092</c:v>
                </c:pt>
                <c:pt idx="9">
                  <c:v>2.0488767455980565</c:v>
                </c:pt>
                <c:pt idx="10">
                  <c:v>1.6587030716723534</c:v>
                </c:pt>
                <c:pt idx="11">
                  <c:v>1.831517792302106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55</c:v>
                </c:pt>
                <c:pt idx="1">
                  <c:v>Av Price/Unit 11.80</c:v>
                </c:pt>
                <c:pt idx="2">
                  <c:v>Av Price/Unit 12.90</c:v>
                </c:pt>
                <c:pt idx="3">
                  <c:v>Av Price/Unit 9.14</c:v>
                </c:pt>
                <c:pt idx="4">
                  <c:v>Av Price/Unit 11.32</c:v>
                </c:pt>
                <c:pt idx="5">
                  <c:v>Av Price/Unit 17.45</c:v>
                </c:pt>
                <c:pt idx="6">
                  <c:v>Av Price/Unit 11.54</c:v>
                </c:pt>
                <c:pt idx="7">
                  <c:v>Av Price/Unit 13.96</c:v>
                </c:pt>
                <c:pt idx="8">
                  <c:v>Av Price/Unit 13.39</c:v>
                </c:pt>
                <c:pt idx="9">
                  <c:v>Av Price/Unit 9.91</c:v>
                </c:pt>
                <c:pt idx="10">
                  <c:v>Av Price/Unit 12.65</c:v>
                </c:pt>
                <c:pt idx="11">
                  <c:v>Av Price/Unit 9.93</c:v>
                </c:pt>
              </c:strCache>
            </c:strRef>
          </c:cat>
          <c:val>
            <c:numRef>
              <c:f>Sheet1!$B$2:$B$13</c:f>
              <c:numCache>
                <c:formatCode>General</c:formatCode>
                <c:ptCount val="12"/>
                <c:pt idx="0">
                  <c:v>3.3659155306298527</c:v>
                </c:pt>
                <c:pt idx="1">
                  <c:v>4.9014456140350875</c:v>
                </c:pt>
                <c:pt idx="2">
                  <c:v>5.1190837750484803</c:v>
                </c:pt>
                <c:pt idx="3">
                  <c:v>4.0355939223936428</c:v>
                </c:pt>
                <c:pt idx="4">
                  <c:v>4.6641778179626288</c:v>
                </c:pt>
                <c:pt idx="5">
                  <c:v>6.473777869700104</c:v>
                </c:pt>
                <c:pt idx="6">
                  <c:v>4.7817718816067654</c:v>
                </c:pt>
                <c:pt idx="7">
                  <c:v>5.6691740492170029</c:v>
                </c:pt>
                <c:pt idx="8">
                  <c:v>5.3828024038461546</c:v>
                </c:pt>
                <c:pt idx="9">
                  <c:v>4.0293006289308178</c:v>
                </c:pt>
                <c:pt idx="10">
                  <c:v>5.2318854489164099</c:v>
                </c:pt>
                <c:pt idx="11">
                  <c:v>4.326500000000000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55</c:v>
                </c:pt>
                <c:pt idx="1">
                  <c:v>Av Price/Unit 11.80</c:v>
                </c:pt>
                <c:pt idx="2">
                  <c:v>Av Price/Unit 12.90</c:v>
                </c:pt>
                <c:pt idx="3">
                  <c:v>Av Price/Unit 9.14</c:v>
                </c:pt>
                <c:pt idx="4">
                  <c:v>Av Price/Unit 11.32</c:v>
                </c:pt>
                <c:pt idx="5">
                  <c:v>Av Price/Unit 17.45</c:v>
                </c:pt>
                <c:pt idx="6">
                  <c:v>Av Price/Unit 11.54</c:v>
                </c:pt>
                <c:pt idx="7">
                  <c:v>Av Price/Unit 13.96</c:v>
                </c:pt>
                <c:pt idx="8">
                  <c:v>Av Price/Unit 13.39</c:v>
                </c:pt>
                <c:pt idx="9">
                  <c:v>Av Price/Unit 9.91</c:v>
                </c:pt>
                <c:pt idx="10">
                  <c:v>Av Price/Unit 12.65</c:v>
                </c:pt>
                <c:pt idx="11">
                  <c:v>Av Price/Unit 9.93</c:v>
                </c:pt>
              </c:strCache>
            </c:strRef>
          </c:cat>
          <c:val>
            <c:numRef>
              <c:f>Sheet1!$C$2:$C$13</c:f>
              <c:numCache>
                <c:formatCode>General</c:formatCode>
                <c:ptCount val="12"/>
                <c:pt idx="0">
                  <c:v>2.5863366695427095</c:v>
                </c:pt>
                <c:pt idx="1">
                  <c:v>4.5786430622009568</c:v>
                </c:pt>
                <c:pt idx="2">
                  <c:v>4.9710407886231414</c:v>
                </c:pt>
                <c:pt idx="3">
                  <c:v>3.2408884057971012</c:v>
                </c:pt>
                <c:pt idx="4">
                  <c:v>4.4584836045810734</c:v>
                </c:pt>
                <c:pt idx="5">
                  <c:v>7.6617389865563608</c:v>
                </c:pt>
                <c:pt idx="6">
                  <c:v>4.4926205073995771</c:v>
                </c:pt>
                <c:pt idx="7">
                  <c:v>5.267217225950783</c:v>
                </c:pt>
                <c:pt idx="8">
                  <c:v>5.324469230769231</c:v>
                </c:pt>
                <c:pt idx="9">
                  <c:v>3.8220450733752624</c:v>
                </c:pt>
                <c:pt idx="10">
                  <c:v>4.819655417956656</c:v>
                </c:pt>
                <c:pt idx="11">
                  <c:v>3.572399999999999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55</c:v>
                </c:pt>
                <c:pt idx="1">
                  <c:v>Av Price/Unit 11.80</c:v>
                </c:pt>
                <c:pt idx="2">
                  <c:v>Av Price/Unit 12.90</c:v>
                </c:pt>
                <c:pt idx="3">
                  <c:v>Av Price/Unit 9.14</c:v>
                </c:pt>
                <c:pt idx="4">
                  <c:v>Av Price/Unit 11.32</c:v>
                </c:pt>
                <c:pt idx="5">
                  <c:v>Av Price/Unit 17.45</c:v>
                </c:pt>
                <c:pt idx="6">
                  <c:v>Av Price/Unit 11.54</c:v>
                </c:pt>
                <c:pt idx="7">
                  <c:v>Av Price/Unit 13.96</c:v>
                </c:pt>
                <c:pt idx="8">
                  <c:v>Av Price/Unit 13.39</c:v>
                </c:pt>
                <c:pt idx="9">
                  <c:v>Av Price/Unit 9.91</c:v>
                </c:pt>
                <c:pt idx="10">
                  <c:v>Av Price/Unit 12.65</c:v>
                </c:pt>
                <c:pt idx="11">
                  <c:v>Av Price/Unit 9.93</c:v>
                </c:pt>
              </c:strCache>
            </c:strRef>
          </c:cat>
          <c:val>
            <c:numRef>
              <c:f>Sheet1!$D$2:$D$13</c:f>
              <c:numCache>
                <c:formatCode>General</c:formatCode>
                <c:ptCount val="12"/>
                <c:pt idx="0">
                  <c:v>0.34142769628990699</c:v>
                </c:pt>
                <c:pt idx="1">
                  <c:v>0.35344481658692217</c:v>
                </c:pt>
                <c:pt idx="2">
                  <c:v>0.66020810170222077</c:v>
                </c:pt>
                <c:pt idx="3">
                  <c:v>0.34312184821567637</c:v>
                </c:pt>
                <c:pt idx="4">
                  <c:v>0.31028310227044642</c:v>
                </c:pt>
                <c:pt idx="5">
                  <c:v>0.40946763185108637</c:v>
                </c:pt>
                <c:pt idx="6">
                  <c:v>0.34270885600188095</c:v>
                </c:pt>
                <c:pt idx="7">
                  <c:v>0.69298978374347797</c:v>
                </c:pt>
                <c:pt idx="8">
                  <c:v>0.45263461538461947</c:v>
                </c:pt>
                <c:pt idx="9">
                  <c:v>0.41035939902166341</c:v>
                </c:pt>
                <c:pt idx="10">
                  <c:v>0.49025479876161349</c:v>
                </c:pt>
                <c:pt idx="11">
                  <c:v>0.3546246575342486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55</c:v>
                </c:pt>
                <c:pt idx="1">
                  <c:v>Av Price/Unit 11.80</c:v>
                </c:pt>
                <c:pt idx="2">
                  <c:v>Av Price/Unit 12.90</c:v>
                </c:pt>
                <c:pt idx="3">
                  <c:v>Av Price/Unit 9.14</c:v>
                </c:pt>
                <c:pt idx="4">
                  <c:v>Av Price/Unit 11.32</c:v>
                </c:pt>
                <c:pt idx="5">
                  <c:v>Av Price/Unit 17.45</c:v>
                </c:pt>
                <c:pt idx="6">
                  <c:v>Av Price/Unit 11.54</c:v>
                </c:pt>
                <c:pt idx="7">
                  <c:v>Av Price/Unit 13.96</c:v>
                </c:pt>
                <c:pt idx="8">
                  <c:v>Av Price/Unit 13.39</c:v>
                </c:pt>
                <c:pt idx="9">
                  <c:v>Av Price/Unit 9.91</c:v>
                </c:pt>
                <c:pt idx="10">
                  <c:v>Av Price/Unit 12.65</c:v>
                </c:pt>
                <c:pt idx="11">
                  <c:v>Av Price/Unit 9.93</c:v>
                </c:pt>
              </c:strCache>
            </c:strRef>
          </c:cat>
          <c:val>
            <c:numRef>
              <c:f>Sheet1!$E$2:$E$13</c:f>
              <c:numCache>
                <c:formatCode>General</c:formatCode>
                <c:ptCount val="12"/>
                <c:pt idx="0">
                  <c:v>1.2587359792924919</c:v>
                </c:pt>
                <c:pt idx="1">
                  <c:v>1.9667065390749601</c:v>
                </c:pt>
                <c:pt idx="2">
                  <c:v>2.1500754147812957</c:v>
                </c:pt>
                <c:pt idx="3">
                  <c:v>1.5239208352812839</c:v>
                </c:pt>
                <c:pt idx="4">
                  <c:v>1.8865782599959808</c:v>
                </c:pt>
                <c:pt idx="5">
                  <c:v>2.9089968976215097</c:v>
                </c:pt>
                <c:pt idx="6">
                  <c:v>1.9234202490016434</c:v>
                </c:pt>
                <c:pt idx="7">
                  <c:v>2.3258762117822509</c:v>
                </c:pt>
                <c:pt idx="8">
                  <c:v>2.2319711538461515</c:v>
                </c:pt>
                <c:pt idx="9">
                  <c:v>1.6523410202655473</c:v>
                </c:pt>
                <c:pt idx="10">
                  <c:v>2.1083591331269336</c:v>
                </c:pt>
                <c:pt idx="11">
                  <c:v>1.650684931506847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7</c:v>
                </c:pt>
                <c:pt idx="1">
                  <c:v>Av Price/Unit 11.77</c:v>
                </c:pt>
                <c:pt idx="2">
                  <c:v>Av Price/Unit 12.84</c:v>
                </c:pt>
                <c:pt idx="3">
                  <c:v>Av Price/Unit 17.39</c:v>
                </c:pt>
                <c:pt idx="4">
                  <c:v>Av Price/Unit 9.09</c:v>
                </c:pt>
                <c:pt idx="5">
                  <c:v>Av Price/Unit 11.40</c:v>
                </c:pt>
                <c:pt idx="6">
                  <c:v>Av Price/Unit 11.22</c:v>
                </c:pt>
                <c:pt idx="7">
                  <c:v>Av Price/Unit 13.45</c:v>
                </c:pt>
                <c:pt idx="8">
                  <c:v>Av Price/Unit 13.80</c:v>
                </c:pt>
                <c:pt idx="9">
                  <c:v>Av Price/Unit 12.58</c:v>
                </c:pt>
                <c:pt idx="10">
                  <c:v>Av Price/Unit 5.74</c:v>
                </c:pt>
                <c:pt idx="11">
                  <c:v>Av Price/Unit 9.80</c:v>
                </c:pt>
              </c:strCache>
            </c:strRef>
          </c:cat>
          <c:val>
            <c:numRef>
              <c:f>Sheet1!$B$2:$B$13</c:f>
              <c:numCache>
                <c:formatCode>General</c:formatCode>
                <c:ptCount val="12"/>
                <c:pt idx="0">
                  <c:v>3.361576254977424</c:v>
                </c:pt>
                <c:pt idx="1">
                  <c:v>4.9013940047961633</c:v>
                </c:pt>
                <c:pt idx="2">
                  <c:v>5.1193865172806676</c:v>
                </c:pt>
                <c:pt idx="3">
                  <c:v>6.4754151169590637</c:v>
                </c:pt>
                <c:pt idx="4">
                  <c:v>3.9857341560631614</c:v>
                </c:pt>
                <c:pt idx="5">
                  <c:v>4.7596838390501324</c:v>
                </c:pt>
                <c:pt idx="6">
                  <c:v>4.6508969874575081</c:v>
                </c:pt>
                <c:pt idx="7">
                  <c:v>5.4029870289219986</c:v>
                </c:pt>
                <c:pt idx="8">
                  <c:v>5.6566354934678573</c:v>
                </c:pt>
                <c:pt idx="9">
                  <c:v>5.2261657983450807</c:v>
                </c:pt>
                <c:pt idx="10">
                  <c:v>2.5481452739977932</c:v>
                </c:pt>
                <c:pt idx="11">
                  <c:v>4.024758530223994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7</c:v>
                </c:pt>
                <c:pt idx="1">
                  <c:v>Av Price/Unit 11.77</c:v>
                </c:pt>
                <c:pt idx="2">
                  <c:v>Av Price/Unit 12.84</c:v>
                </c:pt>
                <c:pt idx="3">
                  <c:v>Av Price/Unit 17.39</c:v>
                </c:pt>
                <c:pt idx="4">
                  <c:v>Av Price/Unit 9.09</c:v>
                </c:pt>
                <c:pt idx="5">
                  <c:v>Av Price/Unit 11.40</c:v>
                </c:pt>
                <c:pt idx="6">
                  <c:v>Av Price/Unit 11.22</c:v>
                </c:pt>
                <c:pt idx="7">
                  <c:v>Av Price/Unit 13.45</c:v>
                </c:pt>
                <c:pt idx="8">
                  <c:v>Av Price/Unit 13.80</c:v>
                </c:pt>
                <c:pt idx="9">
                  <c:v>Av Price/Unit 12.58</c:v>
                </c:pt>
                <c:pt idx="10">
                  <c:v>Av Price/Unit 5.74</c:v>
                </c:pt>
                <c:pt idx="11">
                  <c:v>Av Price/Unit 9.80</c:v>
                </c:pt>
              </c:strCache>
            </c:strRef>
          </c:cat>
          <c:val>
            <c:numRef>
              <c:f>Sheet1!$C$2:$C$13</c:f>
              <c:numCache>
                <c:formatCode>General</c:formatCode>
                <c:ptCount val="12"/>
                <c:pt idx="0">
                  <c:v>2.5831369254094398</c:v>
                </c:pt>
                <c:pt idx="1">
                  <c:v>4.57860107913669</c:v>
                </c:pt>
                <c:pt idx="2">
                  <c:v>4.9714673376376766</c:v>
                </c:pt>
                <c:pt idx="3">
                  <c:v>7.6419898245614037</c:v>
                </c:pt>
                <c:pt idx="4">
                  <c:v>3.2001052889774648</c:v>
                </c:pt>
                <c:pt idx="5">
                  <c:v>4.4706111477572561</c:v>
                </c:pt>
                <c:pt idx="6">
                  <c:v>4.4572322470988173</c:v>
                </c:pt>
                <c:pt idx="7">
                  <c:v>5.3329938650306747</c:v>
                </c:pt>
                <c:pt idx="8">
                  <c:v>5.3043953563575208</c:v>
                </c:pt>
                <c:pt idx="9">
                  <c:v>4.8156477627949741</c:v>
                </c:pt>
                <c:pt idx="10">
                  <c:v>2.4518547260022063</c:v>
                </c:pt>
                <c:pt idx="11">
                  <c:v>3.817830500153420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7</c:v>
                </c:pt>
                <c:pt idx="1">
                  <c:v>Av Price/Unit 11.77</c:v>
                </c:pt>
                <c:pt idx="2">
                  <c:v>Av Price/Unit 12.84</c:v>
                </c:pt>
                <c:pt idx="3">
                  <c:v>Av Price/Unit 17.39</c:v>
                </c:pt>
                <c:pt idx="4">
                  <c:v>Av Price/Unit 9.09</c:v>
                </c:pt>
                <c:pt idx="5">
                  <c:v>Av Price/Unit 11.40</c:v>
                </c:pt>
                <c:pt idx="6">
                  <c:v>Av Price/Unit 11.22</c:v>
                </c:pt>
                <c:pt idx="7">
                  <c:v>Av Price/Unit 13.45</c:v>
                </c:pt>
                <c:pt idx="8">
                  <c:v>Av Price/Unit 13.80</c:v>
                </c:pt>
                <c:pt idx="9">
                  <c:v>Av Price/Unit 12.58</c:v>
                </c:pt>
                <c:pt idx="10">
                  <c:v>Av Price/Unit 5.74</c:v>
                </c:pt>
                <c:pt idx="11">
                  <c:v>Av Price/Unit 9.80</c:v>
                </c:pt>
              </c:strCache>
            </c:strRef>
          </c:cat>
          <c:val>
            <c:numRef>
              <c:f>Sheet1!$D$2:$D$13</c:f>
              <c:numCache>
                <c:formatCode>General</c:formatCode>
                <c:ptCount val="12"/>
                <c:pt idx="0">
                  <c:v>0.27960830709251905</c:v>
                </c:pt>
                <c:pt idx="1">
                  <c:v>0.3270521301877416</c:v>
                </c:pt>
                <c:pt idx="2">
                  <c:v>0.60816164071401602</c:v>
                </c:pt>
                <c:pt idx="3">
                  <c:v>0.37418862573099609</c:v>
                </c:pt>
                <c:pt idx="4">
                  <c:v>0.38956680975011615</c:v>
                </c:pt>
                <c:pt idx="5">
                  <c:v>0.26614469927609896</c:v>
                </c:pt>
                <c:pt idx="6">
                  <c:v>0.23954377368811564</c:v>
                </c:pt>
                <c:pt idx="7">
                  <c:v>0.47335483494010866</c:v>
                </c:pt>
                <c:pt idx="8">
                  <c:v>0.53597255637476948</c:v>
                </c:pt>
                <c:pt idx="9">
                  <c:v>0.43933875268158218</c:v>
                </c:pt>
                <c:pt idx="10">
                  <c:v>-0.21944342282702056</c:v>
                </c:pt>
                <c:pt idx="11">
                  <c:v>0.3209580699601124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7</c:v>
                </c:pt>
                <c:pt idx="1">
                  <c:v>Av Price/Unit 11.77</c:v>
                </c:pt>
                <c:pt idx="2">
                  <c:v>Av Price/Unit 12.84</c:v>
                </c:pt>
                <c:pt idx="3">
                  <c:v>Av Price/Unit 17.39</c:v>
                </c:pt>
                <c:pt idx="4">
                  <c:v>Av Price/Unit 9.09</c:v>
                </c:pt>
                <c:pt idx="5">
                  <c:v>Av Price/Unit 11.40</c:v>
                </c:pt>
                <c:pt idx="6">
                  <c:v>Av Price/Unit 11.22</c:v>
                </c:pt>
                <c:pt idx="7">
                  <c:v>Av Price/Unit 13.45</c:v>
                </c:pt>
                <c:pt idx="8">
                  <c:v>Av Price/Unit 13.80</c:v>
                </c:pt>
                <c:pt idx="9">
                  <c:v>Av Price/Unit 12.58</c:v>
                </c:pt>
                <c:pt idx="10">
                  <c:v>Av Price/Unit 5.74</c:v>
                </c:pt>
                <c:pt idx="11">
                  <c:v>Av Price/Unit 9.80</c:v>
                </c:pt>
              </c:strCache>
            </c:strRef>
          </c:cat>
          <c:val>
            <c:numRef>
              <c:f>Sheet1!$E$2:$E$13</c:f>
              <c:numCache>
                <c:formatCode>General</c:formatCode>
                <c:ptCount val="12"/>
                <c:pt idx="0">
                  <c:v>1.2448642974958746</c:v>
                </c:pt>
                <c:pt idx="1">
                  <c:v>1.9614092509775951</c:v>
                </c:pt>
                <c:pt idx="2">
                  <c:v>2.1398120015191795</c:v>
                </c:pt>
                <c:pt idx="3">
                  <c:v>2.8983187134502901</c:v>
                </c:pt>
                <c:pt idx="4">
                  <c:v>1.5150812509581471</c:v>
                </c:pt>
                <c:pt idx="5">
                  <c:v>1.8992879372166966</c:v>
                </c:pt>
                <c:pt idx="6">
                  <c:v>1.8695248700816636</c:v>
                </c:pt>
                <c:pt idx="7">
                  <c:v>2.2418565585743506</c:v>
                </c:pt>
                <c:pt idx="8">
                  <c:v>2.2994006812400283</c:v>
                </c:pt>
                <c:pt idx="9">
                  <c:v>2.0962304627643271</c:v>
                </c:pt>
                <c:pt idx="10">
                  <c:v>0.95611131543459649</c:v>
                </c:pt>
                <c:pt idx="11">
                  <c:v>1.632709420067504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32</c:v>
                </c:pt>
                <c:pt idx="1">
                  <c:v>Av Price/Unit 11.79</c:v>
                </c:pt>
                <c:pt idx="2">
                  <c:v>Av Price/Unit 9.16</c:v>
                </c:pt>
                <c:pt idx="3">
                  <c:v>Av Price/Unit 12.87</c:v>
                </c:pt>
                <c:pt idx="4">
                  <c:v>Av Price/Unit 17.52</c:v>
                </c:pt>
                <c:pt idx="5">
                  <c:v>Av Price/Unit 13.08</c:v>
                </c:pt>
                <c:pt idx="6">
                  <c:v>Av Price/Unit 11.20</c:v>
                </c:pt>
                <c:pt idx="7">
                  <c:v>Av Price/Unit 12.74</c:v>
                </c:pt>
                <c:pt idx="8">
                  <c:v>Av Price/Unit 9.87</c:v>
                </c:pt>
                <c:pt idx="9">
                  <c:v>Av Price/Unit 11.44</c:v>
                </c:pt>
                <c:pt idx="10">
                  <c:v>Av Price/Unit 13.55</c:v>
                </c:pt>
                <c:pt idx="11">
                  <c:v>Av Price/Unit 5.71</c:v>
                </c:pt>
              </c:strCache>
            </c:strRef>
          </c:cat>
          <c:val>
            <c:numRef>
              <c:f>Sheet1!$B$2:$B$13</c:f>
              <c:numCache>
                <c:formatCode>General</c:formatCode>
                <c:ptCount val="12"/>
                <c:pt idx="0">
                  <c:v>3.3536259305568912</c:v>
                </c:pt>
                <c:pt idx="1">
                  <c:v>4.8967329118497114</c:v>
                </c:pt>
                <c:pt idx="2">
                  <c:v>4.0293718937446448</c:v>
                </c:pt>
                <c:pt idx="3">
                  <c:v>5.1023536736641217</c:v>
                </c:pt>
                <c:pt idx="4">
                  <c:v>6.4784924170616129</c:v>
                </c:pt>
                <c:pt idx="5">
                  <c:v>3.5679234567901235</c:v>
                </c:pt>
                <c:pt idx="6">
                  <c:v>4.632890410958904</c:v>
                </c:pt>
                <c:pt idx="7">
                  <c:v>5.2138838643371024</c:v>
                </c:pt>
                <c:pt idx="8">
                  <c:v>4.0207254237288126</c:v>
                </c:pt>
                <c:pt idx="9">
                  <c:v>4.7378941232227492</c:v>
                </c:pt>
                <c:pt idx="10">
                  <c:v>5.4099705047318611</c:v>
                </c:pt>
                <c:pt idx="11">
                  <c:v>2.55036813778256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32</c:v>
                </c:pt>
                <c:pt idx="1">
                  <c:v>Av Price/Unit 11.79</c:v>
                </c:pt>
                <c:pt idx="2">
                  <c:v>Av Price/Unit 9.16</c:v>
                </c:pt>
                <c:pt idx="3">
                  <c:v>Av Price/Unit 12.87</c:v>
                </c:pt>
                <c:pt idx="4">
                  <c:v>Av Price/Unit 17.52</c:v>
                </c:pt>
                <c:pt idx="5">
                  <c:v>Av Price/Unit 13.08</c:v>
                </c:pt>
                <c:pt idx="6">
                  <c:v>Av Price/Unit 11.20</c:v>
                </c:pt>
                <c:pt idx="7">
                  <c:v>Av Price/Unit 12.74</c:v>
                </c:pt>
                <c:pt idx="8">
                  <c:v>Av Price/Unit 9.87</c:v>
                </c:pt>
                <c:pt idx="9">
                  <c:v>Av Price/Unit 11.44</c:v>
                </c:pt>
                <c:pt idx="10">
                  <c:v>Av Price/Unit 13.55</c:v>
                </c:pt>
                <c:pt idx="11">
                  <c:v>Av Price/Unit 5.71</c:v>
                </c:pt>
              </c:strCache>
            </c:strRef>
          </c:cat>
          <c:val>
            <c:numRef>
              <c:f>Sheet1!$C$2:$C$13</c:f>
              <c:numCache>
                <c:formatCode>General</c:formatCode>
                <c:ptCount val="12"/>
                <c:pt idx="0">
                  <c:v>2.5772744253149944</c:v>
                </c:pt>
                <c:pt idx="1">
                  <c:v>4.5748093749999992</c:v>
                </c:pt>
                <c:pt idx="2">
                  <c:v>3.2357990574121676</c:v>
                </c:pt>
                <c:pt idx="3">
                  <c:v>4.9474688931297708</c:v>
                </c:pt>
                <c:pt idx="4">
                  <c:v>7.6048701421800953</c:v>
                </c:pt>
                <c:pt idx="5">
                  <c:v>7.7537918871252218</c:v>
                </c:pt>
                <c:pt idx="6">
                  <c:v>4.4555356164383566</c:v>
                </c:pt>
                <c:pt idx="7">
                  <c:v>4.8070420349434739</c:v>
                </c:pt>
                <c:pt idx="8">
                  <c:v>3.8140882163034702</c:v>
                </c:pt>
                <c:pt idx="9">
                  <c:v>4.4488990521327016</c:v>
                </c:pt>
                <c:pt idx="10">
                  <c:v>5.3359432176656165</c:v>
                </c:pt>
                <c:pt idx="11">
                  <c:v>2.44963186221743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32</c:v>
                </c:pt>
                <c:pt idx="1">
                  <c:v>Av Price/Unit 11.79</c:v>
                </c:pt>
                <c:pt idx="2">
                  <c:v>Av Price/Unit 9.16</c:v>
                </c:pt>
                <c:pt idx="3">
                  <c:v>Av Price/Unit 12.87</c:v>
                </c:pt>
                <c:pt idx="4">
                  <c:v>Av Price/Unit 17.52</c:v>
                </c:pt>
                <c:pt idx="5">
                  <c:v>Av Price/Unit 13.08</c:v>
                </c:pt>
                <c:pt idx="6">
                  <c:v>Av Price/Unit 11.20</c:v>
                </c:pt>
                <c:pt idx="7">
                  <c:v>Av Price/Unit 12.74</c:v>
                </c:pt>
                <c:pt idx="8">
                  <c:v>Av Price/Unit 9.87</c:v>
                </c:pt>
                <c:pt idx="9">
                  <c:v>Av Price/Unit 11.44</c:v>
                </c:pt>
                <c:pt idx="10">
                  <c:v>Av Price/Unit 13.55</c:v>
                </c:pt>
                <c:pt idx="11">
                  <c:v>Av Price/Unit 5.71</c:v>
                </c:pt>
              </c:strCache>
            </c:strRef>
          </c:cat>
          <c:val>
            <c:numRef>
              <c:f>Sheet1!$D$2:$D$13</c:f>
              <c:numCache>
                <c:formatCode>General</c:formatCode>
                <c:ptCount val="12"/>
                <c:pt idx="0">
                  <c:v>0.16973764868070962</c:v>
                </c:pt>
                <c:pt idx="1">
                  <c:v>0.35596605852601293</c:v>
                </c:pt>
                <c:pt idx="2">
                  <c:v>0.36622007997715134</c:v>
                </c:pt>
                <c:pt idx="3">
                  <c:v>0.67413683206106967</c:v>
                </c:pt>
                <c:pt idx="4">
                  <c:v>0.51576856240126645</c:v>
                </c:pt>
                <c:pt idx="5">
                  <c:v>-0.42371416813639051</c:v>
                </c:pt>
                <c:pt idx="6">
                  <c:v>0.24888178589548637</c:v>
                </c:pt>
                <c:pt idx="7">
                  <c:v>0.59914946899623267</c:v>
                </c:pt>
                <c:pt idx="8">
                  <c:v>0.388215684691958</c:v>
                </c:pt>
                <c:pt idx="9">
                  <c:v>0.34875184834123552</c:v>
                </c:pt>
                <c:pt idx="10">
                  <c:v>0.54357223974763613</c:v>
                </c:pt>
                <c:pt idx="11">
                  <c:v>-0.2466810190168642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32</c:v>
                </c:pt>
                <c:pt idx="1">
                  <c:v>Av Price/Unit 11.79</c:v>
                </c:pt>
                <c:pt idx="2">
                  <c:v>Av Price/Unit 9.16</c:v>
                </c:pt>
                <c:pt idx="3">
                  <c:v>Av Price/Unit 12.87</c:v>
                </c:pt>
                <c:pt idx="4">
                  <c:v>Av Price/Unit 17.52</c:v>
                </c:pt>
                <c:pt idx="5">
                  <c:v>Av Price/Unit 13.08</c:v>
                </c:pt>
                <c:pt idx="6">
                  <c:v>Av Price/Unit 11.20</c:v>
                </c:pt>
                <c:pt idx="7">
                  <c:v>Av Price/Unit 12.74</c:v>
                </c:pt>
                <c:pt idx="8">
                  <c:v>Av Price/Unit 9.87</c:v>
                </c:pt>
                <c:pt idx="9">
                  <c:v>Av Price/Unit 11.44</c:v>
                </c:pt>
                <c:pt idx="10">
                  <c:v>Av Price/Unit 13.55</c:v>
                </c:pt>
                <c:pt idx="11">
                  <c:v>Av Price/Unit 5.71</c:v>
                </c:pt>
              </c:strCache>
            </c:strRef>
          </c:cat>
          <c:val>
            <c:numRef>
              <c:f>Sheet1!$E$2:$E$13</c:f>
              <c:numCache>
                <c:formatCode>General</c:formatCode>
                <c:ptCount val="12"/>
                <c:pt idx="0">
                  <c:v>1.2201276009105189</c:v>
                </c:pt>
                <c:pt idx="1">
                  <c:v>1.9654985549132948</c:v>
                </c:pt>
                <c:pt idx="2">
                  <c:v>1.5262782062267923</c:v>
                </c:pt>
                <c:pt idx="3">
                  <c:v>2.1447996183206106</c:v>
                </c:pt>
                <c:pt idx="4">
                  <c:v>2.919826224328594</c:v>
                </c:pt>
                <c:pt idx="5">
                  <c:v>2.1796002351557902</c:v>
                </c:pt>
                <c:pt idx="6">
                  <c:v>1.8674530695078631</c:v>
                </c:pt>
                <c:pt idx="7">
                  <c:v>2.1240150736553609</c:v>
                </c:pt>
                <c:pt idx="8">
                  <c:v>1.6446058649448474</c:v>
                </c:pt>
                <c:pt idx="9">
                  <c:v>1.9071090047393349</c:v>
                </c:pt>
                <c:pt idx="10">
                  <c:v>2.2578864353312289</c:v>
                </c:pt>
                <c:pt idx="11">
                  <c:v>0.9506637961966275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rgbClr val="FF808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41779B8C-8856-40DA-92C9-F59B5C2813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412C7F5A-7E9A-4822-B98D-EBF6C7B20B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3F2E49C-8824-4214-84DD-30CF72DA7B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C66D62E9-8301-4503-94F5-D3EBAAD3F5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C65491E-07E6-4194-A396-0EC7282A11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5E01B088-A784-4F3E-AB11-B38562453D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B3CCF856-8456-477D-9E09-FFE5171DD9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62984763-3090-40CB-8784-8DC70A886E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3.4879</c:v>
                </c:pt>
                <c:pt idx="1">
                  <c:v>13.2141</c:v>
                </c:pt>
                <c:pt idx="2">
                  <c:v>13.4406</c:v>
                </c:pt>
                <c:pt idx="3">
                  <c:v>13.487299999999999</c:v>
                </c:pt>
                <c:pt idx="4">
                  <c:v>13.5966</c:v>
                </c:pt>
              </c:numCache>
            </c:numRef>
          </c:xVal>
          <c:yVal>
            <c:numRef>
              <c:f>Sheet1!$B$2:$B$6</c:f>
              <c:numCache>
                <c:formatCode>General</c:formatCode>
                <c:ptCount val="5"/>
                <c:pt idx="0">
                  <c:v>0.50960000000000005</c:v>
                </c:pt>
                <c:pt idx="1">
                  <c:v>0.5121</c:v>
                </c:pt>
                <c:pt idx="2">
                  <c:v>0.51049999999999995</c:v>
                </c:pt>
                <c:pt idx="3">
                  <c:v>0.51090000000000002</c:v>
                </c:pt>
                <c:pt idx="4">
                  <c:v>0.49919999999999998</c:v>
                </c:pt>
              </c:numCache>
            </c:numRef>
          </c:yVal>
          <c:bubbleSize>
            <c:numRef>
              <c:f>Sheet1!$C$2:$C$6</c:f>
              <c:numCache>
                <c:formatCode>General</c:formatCode>
                <c:ptCount val="5"/>
                <c:pt idx="0">
                  <c:v>18856.1391</c:v>
                </c:pt>
                <c:pt idx="1">
                  <c:v>16504.390500000001</c:v>
                </c:pt>
                <c:pt idx="2">
                  <c:v>183020.3786</c:v>
                </c:pt>
                <c:pt idx="3">
                  <c:v>43955.18529999999</c:v>
                </c:pt>
                <c:pt idx="4">
                  <c:v>100628.1164000001</c:v>
                </c:pt>
              </c:numCache>
            </c:numRef>
          </c:bubbleSize>
          <c:bubble3D val="0"/>
          <c:extLst>
            <c:ext xmlns:c15="http://schemas.microsoft.com/office/drawing/2012/chart" uri="{02D57815-91ED-43cb-92C2-25804820EDAC}">
              <c15:datalabelsRange>
                <c15:f>Sheet1!$E$2:$E$29</c15:f>
                <c15:dlblRangeCache>
                  <c:ptCount val="28"/>
                  <c:pt idx="0">
                    <c:v>NICOLAS QCA</c:v>
                  </c:pt>
                  <c:pt idx="1">
                    <c:v>NICOLAS CCP</c:v>
                  </c:pt>
                  <c:pt idx="2">
                    <c:v>NICOLAS QCN</c:v>
                  </c:pt>
                  <c:pt idx="3">
                    <c:v>NICOLAS QCT</c:v>
                  </c:pt>
                  <c:pt idx="4">
                    <c:v>NICOLAS VCN</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6.315919999999998"/>
          <c:min val="10.57128000000000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50744162919838343"/>
        <c:crossBetween val="midCat"/>
      </c:valAx>
      <c:valAx>
        <c:axId val="1011451359"/>
        <c:scaling>
          <c:orientation val="minMax"/>
          <c:max val="0.97452000000000005"/>
          <c:min val="0.1593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3.48166284817226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1</c:v>
                </c:pt>
                <c:pt idx="1">
                  <c:v>Av Price/Unit 11.76</c:v>
                </c:pt>
                <c:pt idx="2">
                  <c:v>Av Price/Unit 17.39</c:v>
                </c:pt>
                <c:pt idx="3">
                  <c:v>Av Price/Unit 13.07</c:v>
                </c:pt>
                <c:pt idx="4">
                  <c:v>Av Price/Unit 9.11</c:v>
                </c:pt>
                <c:pt idx="5">
                  <c:v>Av Price/Unit 11.37</c:v>
                </c:pt>
                <c:pt idx="6">
                  <c:v>Av Price/Unit 11.26</c:v>
                </c:pt>
                <c:pt idx="7">
                  <c:v>Av Price/Unit 13.42</c:v>
                </c:pt>
                <c:pt idx="8">
                  <c:v>Av Price/Unit 13.90</c:v>
                </c:pt>
                <c:pt idx="9">
                  <c:v>Av Price/Unit 12.90</c:v>
                </c:pt>
                <c:pt idx="10">
                  <c:v>Av Price/Unit 9.24</c:v>
                </c:pt>
                <c:pt idx="11">
                  <c:v>Av Price/Unit 9.86</c:v>
                </c:pt>
              </c:strCache>
            </c:strRef>
          </c:cat>
          <c:val>
            <c:numRef>
              <c:f>Sheet1!$B$2:$B$13</c:f>
              <c:numCache>
                <c:formatCode>General</c:formatCode>
                <c:ptCount val="12"/>
                <c:pt idx="0">
                  <c:v>3.3558954429843153</c:v>
                </c:pt>
                <c:pt idx="1">
                  <c:v>4.8999862171174504</c:v>
                </c:pt>
                <c:pt idx="2">
                  <c:v>6.4753900556881465</c:v>
                </c:pt>
                <c:pt idx="3">
                  <c:v>5.1243916218779635</c:v>
                </c:pt>
                <c:pt idx="4">
                  <c:v>3.9909211238997968</c:v>
                </c:pt>
                <c:pt idx="5">
                  <c:v>4.7536651849084794</c:v>
                </c:pt>
                <c:pt idx="6">
                  <c:v>4.6453867308721248</c:v>
                </c:pt>
                <c:pt idx="7">
                  <c:v>5.3975340909090912</c:v>
                </c:pt>
                <c:pt idx="8">
                  <c:v>5.6488645333333345</c:v>
                </c:pt>
                <c:pt idx="9">
                  <c:v>5.2358499580888518</c:v>
                </c:pt>
                <c:pt idx="10">
                  <c:v>2.6524196428571427</c:v>
                </c:pt>
                <c:pt idx="11">
                  <c:v>4.022803053435115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1</c:v>
                </c:pt>
                <c:pt idx="1">
                  <c:v>Av Price/Unit 11.76</c:v>
                </c:pt>
                <c:pt idx="2">
                  <c:v>Av Price/Unit 17.39</c:v>
                </c:pt>
                <c:pt idx="3">
                  <c:v>Av Price/Unit 13.07</c:v>
                </c:pt>
                <c:pt idx="4">
                  <c:v>Av Price/Unit 9.11</c:v>
                </c:pt>
                <c:pt idx="5">
                  <c:v>Av Price/Unit 11.37</c:v>
                </c:pt>
                <c:pt idx="6">
                  <c:v>Av Price/Unit 11.26</c:v>
                </c:pt>
                <c:pt idx="7">
                  <c:v>Av Price/Unit 13.42</c:v>
                </c:pt>
                <c:pt idx="8">
                  <c:v>Av Price/Unit 13.90</c:v>
                </c:pt>
                <c:pt idx="9">
                  <c:v>Av Price/Unit 12.90</c:v>
                </c:pt>
                <c:pt idx="10">
                  <c:v>Av Price/Unit 9.24</c:v>
                </c:pt>
                <c:pt idx="11">
                  <c:v>Av Price/Unit 9.86</c:v>
                </c:pt>
              </c:strCache>
            </c:strRef>
          </c:cat>
          <c:val>
            <c:numRef>
              <c:f>Sheet1!$C$2:$C$13</c:f>
              <c:numCache>
                <c:formatCode>General</c:formatCode>
                <c:ptCount val="12"/>
                <c:pt idx="0">
                  <c:v>2.5789479440440863</c:v>
                </c:pt>
                <c:pt idx="1">
                  <c:v>4.5774558725453875</c:v>
                </c:pt>
                <c:pt idx="2">
                  <c:v>7.642292124105011</c:v>
                </c:pt>
                <c:pt idx="3">
                  <c:v>4.9785192854884608</c:v>
                </c:pt>
                <c:pt idx="4">
                  <c:v>3.2043480027081923</c:v>
                </c:pt>
                <c:pt idx="5">
                  <c:v>4.4646139335076578</c:v>
                </c:pt>
                <c:pt idx="6">
                  <c:v>4.4567130551096845</c:v>
                </c:pt>
                <c:pt idx="7">
                  <c:v>5.3306909090909098</c:v>
                </c:pt>
                <c:pt idx="8">
                  <c:v>5.3274370666666675</c:v>
                </c:pt>
                <c:pt idx="9">
                  <c:v>4.8224332774518022</c:v>
                </c:pt>
                <c:pt idx="10">
                  <c:v>4.952792207792208</c:v>
                </c:pt>
                <c:pt idx="11">
                  <c:v>3.816016030534351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1</c:v>
                </c:pt>
                <c:pt idx="1">
                  <c:v>Av Price/Unit 11.76</c:v>
                </c:pt>
                <c:pt idx="2">
                  <c:v>Av Price/Unit 17.39</c:v>
                </c:pt>
                <c:pt idx="3">
                  <c:v>Av Price/Unit 13.07</c:v>
                </c:pt>
                <c:pt idx="4">
                  <c:v>Av Price/Unit 9.11</c:v>
                </c:pt>
                <c:pt idx="5">
                  <c:v>Av Price/Unit 11.37</c:v>
                </c:pt>
                <c:pt idx="6">
                  <c:v>Av Price/Unit 11.26</c:v>
                </c:pt>
                <c:pt idx="7">
                  <c:v>Av Price/Unit 13.42</c:v>
                </c:pt>
                <c:pt idx="8">
                  <c:v>Av Price/Unit 13.90</c:v>
                </c:pt>
                <c:pt idx="9">
                  <c:v>Av Price/Unit 12.90</c:v>
                </c:pt>
                <c:pt idx="10">
                  <c:v>Av Price/Unit 9.24</c:v>
                </c:pt>
                <c:pt idx="11">
                  <c:v>Av Price/Unit 9.86</c:v>
                </c:pt>
              </c:strCache>
            </c:strRef>
          </c:cat>
          <c:val>
            <c:numRef>
              <c:f>Sheet1!$D$2:$D$13</c:f>
              <c:numCache>
                <c:formatCode>General</c:formatCode>
                <c:ptCount val="12"/>
                <c:pt idx="0">
                  <c:v>0.23849983750176662</c:v>
                </c:pt>
                <c:pt idx="1">
                  <c:v>0.32557674447326335</c:v>
                </c:pt>
                <c:pt idx="2">
                  <c:v>0.37250609917793653</c:v>
                </c:pt>
                <c:pt idx="3">
                  <c:v>0.78596688797555281</c:v>
                </c:pt>
                <c:pt idx="4">
                  <c:v>0.39293519145414724</c:v>
                </c:pt>
                <c:pt idx="5">
                  <c:v>0.25345541028514873</c:v>
                </c:pt>
                <c:pt idx="6">
                  <c:v>0.28086119136793464</c:v>
                </c:pt>
                <c:pt idx="7">
                  <c:v>0.45494753787878928</c:v>
                </c:pt>
                <c:pt idx="8">
                  <c:v>0.60888358518518793</c:v>
                </c:pt>
                <c:pt idx="9">
                  <c:v>0.69332335848002202</c:v>
                </c:pt>
                <c:pt idx="10">
                  <c:v>9.2975378787880203E-2</c:v>
                </c:pt>
                <c:pt idx="11">
                  <c:v>0.3800104325699731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1</c:v>
                </c:pt>
                <c:pt idx="1">
                  <c:v>Av Price/Unit 11.76</c:v>
                </c:pt>
                <c:pt idx="2">
                  <c:v>Av Price/Unit 17.39</c:v>
                </c:pt>
                <c:pt idx="3">
                  <c:v>Av Price/Unit 13.07</c:v>
                </c:pt>
                <c:pt idx="4">
                  <c:v>Av Price/Unit 9.11</c:v>
                </c:pt>
                <c:pt idx="5">
                  <c:v>Av Price/Unit 11.37</c:v>
                </c:pt>
                <c:pt idx="6">
                  <c:v>Av Price/Unit 11.26</c:v>
                </c:pt>
                <c:pt idx="7">
                  <c:v>Av Price/Unit 13.42</c:v>
                </c:pt>
                <c:pt idx="8">
                  <c:v>Av Price/Unit 13.90</c:v>
                </c:pt>
                <c:pt idx="9">
                  <c:v>Av Price/Unit 12.90</c:v>
                </c:pt>
                <c:pt idx="10">
                  <c:v>Av Price/Unit 9.24</c:v>
                </c:pt>
                <c:pt idx="11">
                  <c:v>Av Price/Unit 9.86</c:v>
                </c:pt>
              </c:strCache>
            </c:strRef>
          </c:cat>
          <c:val>
            <c:numRef>
              <c:f>Sheet1!$E$2:$E$13</c:f>
              <c:numCache>
                <c:formatCode>General</c:formatCode>
                <c:ptCount val="12"/>
                <c:pt idx="0">
                  <c:v>1.2346686449060331</c:v>
                </c:pt>
                <c:pt idx="1">
                  <c:v>1.9606026923551911</c:v>
                </c:pt>
                <c:pt idx="2">
                  <c:v>2.898037655794218</c:v>
                </c:pt>
                <c:pt idx="3">
                  <c:v>2.1777848034566323</c:v>
                </c:pt>
                <c:pt idx="4">
                  <c:v>1.5176408636124288</c:v>
                </c:pt>
                <c:pt idx="5">
                  <c:v>1.8943469057402542</c:v>
                </c:pt>
                <c:pt idx="6">
                  <c:v>1.8765828428749751</c:v>
                </c:pt>
                <c:pt idx="7">
                  <c:v>2.2366240530303028</c:v>
                </c:pt>
                <c:pt idx="8">
                  <c:v>2.3170370370370348</c:v>
                </c:pt>
                <c:pt idx="9">
                  <c:v>2.1503213188041341</c:v>
                </c:pt>
                <c:pt idx="10">
                  <c:v>1.5396374458874449</c:v>
                </c:pt>
                <c:pt idx="11">
                  <c:v>1.643765903307889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18</c:v>
                </c:pt>
                <c:pt idx="1">
                  <c:v>Av Price/Unit 11.83</c:v>
                </c:pt>
                <c:pt idx="2">
                  <c:v>Av Price/Unit 12.72</c:v>
                </c:pt>
                <c:pt idx="3">
                  <c:v>Av Price/Unit 11.40</c:v>
                </c:pt>
                <c:pt idx="4">
                  <c:v>Av Price/Unit 9.18</c:v>
                </c:pt>
                <c:pt idx="5">
                  <c:v>Av Price/Unit 17.56</c:v>
                </c:pt>
                <c:pt idx="6">
                  <c:v>Av Price/Unit 11.37</c:v>
                </c:pt>
                <c:pt idx="7">
                  <c:v>Av Price/Unit 10.95</c:v>
                </c:pt>
                <c:pt idx="8">
                  <c:v>Av Price/Unit 10.77</c:v>
                </c:pt>
                <c:pt idx="9">
                  <c:v>Av Price/Unit 15.91</c:v>
                </c:pt>
                <c:pt idx="10">
                  <c:v>Av Price/Unit 12.22</c:v>
                </c:pt>
                <c:pt idx="11">
                  <c:v>Av Price/Unit 9.94</c:v>
                </c:pt>
              </c:strCache>
            </c:strRef>
          </c:cat>
          <c:val>
            <c:numRef>
              <c:f>Sheet1!$B$2:$B$13</c:f>
              <c:numCache>
                <c:formatCode>General</c:formatCode>
                <c:ptCount val="12"/>
                <c:pt idx="0">
                  <c:v>3.3437369659982559</c:v>
                </c:pt>
                <c:pt idx="1">
                  <c:v>4.8927943545611008</c:v>
                </c:pt>
                <c:pt idx="2">
                  <c:v>5.0957501417769375</c:v>
                </c:pt>
                <c:pt idx="3">
                  <c:v>3.9</c:v>
                </c:pt>
                <c:pt idx="4">
                  <c:v>4.0926038662907773</c:v>
                </c:pt>
                <c:pt idx="5">
                  <c:v>6.4795171894604779</c:v>
                </c:pt>
                <c:pt idx="6">
                  <c:v>4.7260462845010611</c:v>
                </c:pt>
                <c:pt idx="7">
                  <c:v>4.5328439560439557</c:v>
                </c:pt>
                <c:pt idx="8">
                  <c:v>3.0848286549707602</c:v>
                </c:pt>
                <c:pt idx="9">
                  <c:v>4.7722206060606061</c:v>
                </c:pt>
                <c:pt idx="10">
                  <c:v>5.1615304659498209</c:v>
                </c:pt>
                <c:pt idx="11">
                  <c:v>4.015375412293852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18</c:v>
                </c:pt>
                <c:pt idx="1">
                  <c:v>Av Price/Unit 11.83</c:v>
                </c:pt>
                <c:pt idx="2">
                  <c:v>Av Price/Unit 12.72</c:v>
                </c:pt>
                <c:pt idx="3">
                  <c:v>Av Price/Unit 11.40</c:v>
                </c:pt>
                <c:pt idx="4">
                  <c:v>Av Price/Unit 9.18</c:v>
                </c:pt>
                <c:pt idx="5">
                  <c:v>Av Price/Unit 17.56</c:v>
                </c:pt>
                <c:pt idx="6">
                  <c:v>Av Price/Unit 11.37</c:v>
                </c:pt>
                <c:pt idx="7">
                  <c:v>Av Price/Unit 10.95</c:v>
                </c:pt>
                <c:pt idx="8">
                  <c:v>Av Price/Unit 10.77</c:v>
                </c:pt>
                <c:pt idx="9">
                  <c:v>Av Price/Unit 15.91</c:v>
                </c:pt>
                <c:pt idx="10">
                  <c:v>Av Price/Unit 12.22</c:v>
                </c:pt>
                <c:pt idx="11">
                  <c:v>Av Price/Unit 9.94</c:v>
                </c:pt>
              </c:strCache>
            </c:strRef>
          </c:cat>
          <c:val>
            <c:numRef>
              <c:f>Sheet1!$C$2:$C$13</c:f>
              <c:numCache>
                <c:formatCode>General</c:formatCode>
                <c:ptCount val="12"/>
                <c:pt idx="0">
                  <c:v>2.5699823888404536</c:v>
                </c:pt>
                <c:pt idx="1">
                  <c:v>4.5716054388984508</c:v>
                </c:pt>
                <c:pt idx="2">
                  <c:v>4.9381648393194713</c:v>
                </c:pt>
                <c:pt idx="3">
                  <c:v>5.5999999999999988</c:v>
                </c:pt>
                <c:pt idx="4">
                  <c:v>3.2875200563834066</c:v>
                </c:pt>
                <c:pt idx="5">
                  <c:v>7.5925089084065265</c:v>
                </c:pt>
                <c:pt idx="6">
                  <c:v>4.4370934182590229</c:v>
                </c:pt>
                <c:pt idx="7">
                  <c:v>4.2930901098901098</c:v>
                </c:pt>
                <c:pt idx="8">
                  <c:v>5.8318713450292412</c:v>
                </c:pt>
                <c:pt idx="9">
                  <c:v>8.4025454545454554</c:v>
                </c:pt>
                <c:pt idx="10">
                  <c:v>4.7703589605734766</c:v>
                </c:pt>
                <c:pt idx="11">
                  <c:v>3.809123988005997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18</c:v>
                </c:pt>
                <c:pt idx="1">
                  <c:v>Av Price/Unit 11.83</c:v>
                </c:pt>
                <c:pt idx="2">
                  <c:v>Av Price/Unit 12.72</c:v>
                </c:pt>
                <c:pt idx="3">
                  <c:v>Av Price/Unit 11.40</c:v>
                </c:pt>
                <c:pt idx="4">
                  <c:v>Av Price/Unit 9.18</c:v>
                </c:pt>
                <c:pt idx="5">
                  <c:v>Av Price/Unit 17.56</c:v>
                </c:pt>
                <c:pt idx="6">
                  <c:v>Av Price/Unit 11.37</c:v>
                </c:pt>
                <c:pt idx="7">
                  <c:v>Av Price/Unit 10.95</c:v>
                </c:pt>
                <c:pt idx="8">
                  <c:v>Av Price/Unit 10.77</c:v>
                </c:pt>
                <c:pt idx="9">
                  <c:v>Av Price/Unit 15.91</c:v>
                </c:pt>
                <c:pt idx="10">
                  <c:v>Av Price/Unit 12.22</c:v>
                </c:pt>
                <c:pt idx="11">
                  <c:v>Av Price/Unit 9.94</c:v>
                </c:pt>
              </c:strCache>
            </c:strRef>
          </c:cat>
          <c:val>
            <c:numRef>
              <c:f>Sheet1!$D$2:$D$13</c:f>
              <c:numCache>
                <c:formatCode>General</c:formatCode>
                <c:ptCount val="12"/>
                <c:pt idx="0">
                  <c:v>6.7826707352512727E-2</c:v>
                </c:pt>
                <c:pt idx="1">
                  <c:v>0.39506587492828693</c:v>
                </c:pt>
                <c:pt idx="2">
                  <c:v>0.56505614366729517</c:v>
                </c:pt>
                <c:pt idx="3">
                  <c:v>1.8861454046650294E-3</c:v>
                </c:pt>
                <c:pt idx="4">
                  <c:v>0.2678825211437772</c:v>
                </c:pt>
                <c:pt idx="5">
                  <c:v>0.56306382266834198</c:v>
                </c:pt>
                <c:pt idx="6">
                  <c:v>0.30872866242038377</c:v>
                </c:pt>
                <c:pt idx="7">
                  <c:v>0.30043956043956044</c:v>
                </c:pt>
                <c:pt idx="8">
                  <c:v>5.5034892787521272E-2</c:v>
                </c:pt>
                <c:pt idx="9">
                  <c:v>8.4493198653202484E-2</c:v>
                </c:pt>
                <c:pt idx="10">
                  <c:v>0.25030890083631974</c:v>
                </c:pt>
                <c:pt idx="11">
                  <c:v>0.4588589205397299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18</c:v>
                </c:pt>
                <c:pt idx="1">
                  <c:v>Av Price/Unit 11.83</c:v>
                </c:pt>
                <c:pt idx="2">
                  <c:v>Av Price/Unit 12.72</c:v>
                </c:pt>
                <c:pt idx="3">
                  <c:v>Av Price/Unit 11.40</c:v>
                </c:pt>
                <c:pt idx="4">
                  <c:v>Av Price/Unit 9.18</c:v>
                </c:pt>
                <c:pt idx="5">
                  <c:v>Av Price/Unit 17.56</c:v>
                </c:pt>
                <c:pt idx="6">
                  <c:v>Av Price/Unit 11.37</c:v>
                </c:pt>
                <c:pt idx="7">
                  <c:v>Av Price/Unit 10.95</c:v>
                </c:pt>
                <c:pt idx="8">
                  <c:v>Av Price/Unit 10.77</c:v>
                </c:pt>
                <c:pt idx="9">
                  <c:v>Av Price/Unit 15.91</c:v>
                </c:pt>
                <c:pt idx="10">
                  <c:v>Av Price/Unit 12.22</c:v>
                </c:pt>
                <c:pt idx="11">
                  <c:v>Av Price/Unit 9.94</c:v>
                </c:pt>
              </c:strCache>
            </c:strRef>
          </c:cat>
          <c:val>
            <c:numRef>
              <c:f>Sheet1!$E$2:$E$13</c:f>
              <c:numCache>
                <c:formatCode>General</c:formatCode>
                <c:ptCount val="12"/>
                <c:pt idx="0">
                  <c:v>1.1963092124382446</c:v>
                </c:pt>
                <c:pt idx="1">
                  <c:v>1.9718875502008015</c:v>
                </c:pt>
                <c:pt idx="2">
                  <c:v>2.1198015122873346</c:v>
                </c:pt>
                <c:pt idx="3">
                  <c:v>1.9003772290809322</c:v>
                </c:pt>
                <c:pt idx="4">
                  <c:v>1.5296012887635924</c:v>
                </c:pt>
                <c:pt idx="5">
                  <c:v>2.9270179841070667</c:v>
                </c:pt>
                <c:pt idx="6">
                  <c:v>1.8943736730360934</c:v>
                </c:pt>
                <c:pt idx="7">
                  <c:v>1.8252747252747252</c:v>
                </c:pt>
                <c:pt idx="8">
                  <c:v>1.7943469785575052</c:v>
                </c:pt>
                <c:pt idx="9">
                  <c:v>2.6518518518518506</c:v>
                </c:pt>
                <c:pt idx="10">
                  <c:v>2.036439665471923</c:v>
                </c:pt>
                <c:pt idx="11">
                  <c:v>1.65667166416791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20</c:v>
                </c:pt>
                <c:pt idx="1">
                  <c:v>Av Price/Unit 17.34</c:v>
                </c:pt>
                <c:pt idx="2">
                  <c:v>Av Price/Unit 10.34</c:v>
                </c:pt>
                <c:pt idx="3">
                  <c:v>Av Price/Unit 23.81</c:v>
                </c:pt>
                <c:pt idx="4">
                  <c:v>Av Price/Unit 12.06</c:v>
                </c:pt>
                <c:pt idx="5">
                  <c:v>Av Price/Unit 7.27</c:v>
                </c:pt>
                <c:pt idx="6">
                  <c:v>Av Price/Unit 13.61</c:v>
                </c:pt>
                <c:pt idx="7">
                  <c:v>Av Price/Unit 8.90</c:v>
                </c:pt>
                <c:pt idx="8">
                  <c:v>Av Price/Unit 10.16</c:v>
                </c:pt>
                <c:pt idx="9">
                  <c:v>Av Price/Unit 20.66</c:v>
                </c:pt>
                <c:pt idx="10">
                  <c:v>Av Price/Unit 9.03</c:v>
                </c:pt>
                <c:pt idx="11">
                  <c:v>Av Price/Unit 12.89</c:v>
                </c:pt>
              </c:strCache>
            </c:strRef>
          </c:cat>
          <c:val>
            <c:numRef>
              <c:f>Sheet1!$B$2:$B$13</c:f>
              <c:numCache>
                <c:formatCode>General</c:formatCode>
                <c:ptCount val="12"/>
                <c:pt idx="0">
                  <c:v>2.6535080733944953</c:v>
                </c:pt>
                <c:pt idx="1">
                  <c:v>6.4793720163209807</c:v>
                </c:pt>
                <c:pt idx="2">
                  <c:v>3.034594842186296</c:v>
                </c:pt>
                <c:pt idx="3">
                  <c:v>6.9416069943289225</c:v>
                </c:pt>
                <c:pt idx="4">
                  <c:v>3.3999999999999995</c:v>
                </c:pt>
                <c:pt idx="5">
                  <c:v>3.3495121908127206</c:v>
                </c:pt>
                <c:pt idx="6">
                  <c:v>4.4778000000000002</c:v>
                </c:pt>
                <c:pt idx="7">
                  <c:v>2.6827000000000001</c:v>
                </c:pt>
                <c:pt idx="8">
                  <c:v>3.0520827442827443</c:v>
                </c:pt>
                <c:pt idx="9">
                  <c:v>5.8930068181818189</c:v>
                </c:pt>
                <c:pt idx="10">
                  <c:v>3.917382988505747</c:v>
                </c:pt>
                <c:pt idx="11">
                  <c:v>5.125779295154184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20</c:v>
                </c:pt>
                <c:pt idx="1">
                  <c:v>Av Price/Unit 17.34</c:v>
                </c:pt>
                <c:pt idx="2">
                  <c:v>Av Price/Unit 10.34</c:v>
                </c:pt>
                <c:pt idx="3">
                  <c:v>Av Price/Unit 23.81</c:v>
                </c:pt>
                <c:pt idx="4">
                  <c:v>Av Price/Unit 12.06</c:v>
                </c:pt>
                <c:pt idx="5">
                  <c:v>Av Price/Unit 7.27</c:v>
                </c:pt>
                <c:pt idx="6">
                  <c:v>Av Price/Unit 13.61</c:v>
                </c:pt>
                <c:pt idx="7">
                  <c:v>Av Price/Unit 8.90</c:v>
                </c:pt>
                <c:pt idx="8">
                  <c:v>Av Price/Unit 10.16</c:v>
                </c:pt>
                <c:pt idx="9">
                  <c:v>Av Price/Unit 20.66</c:v>
                </c:pt>
                <c:pt idx="10">
                  <c:v>Av Price/Unit 9.03</c:v>
                </c:pt>
                <c:pt idx="11">
                  <c:v>Av Price/Unit 12.89</c:v>
                </c:pt>
              </c:strCache>
            </c:strRef>
          </c:cat>
          <c:val>
            <c:numRef>
              <c:f>Sheet1!$C$2:$C$13</c:f>
              <c:numCache>
                <c:formatCode>General</c:formatCode>
                <c:ptCount val="12"/>
                <c:pt idx="0">
                  <c:v>4.9563903252710588</c:v>
                </c:pt>
                <c:pt idx="1">
                  <c:v>7.5942600476028561</c:v>
                </c:pt>
                <c:pt idx="2">
                  <c:v>5.4895919938414162</c:v>
                </c:pt>
                <c:pt idx="3">
                  <c:v>12.716937618147446</c:v>
                </c:pt>
                <c:pt idx="4">
                  <c:v>6.6000000000000005</c:v>
                </c:pt>
                <c:pt idx="5">
                  <c:v>2.5742409893992932</c:v>
                </c:pt>
                <c:pt idx="6">
                  <c:v>6.6332999999999993</c:v>
                </c:pt>
                <c:pt idx="7">
                  <c:v>4.4340000000000002</c:v>
                </c:pt>
                <c:pt idx="8">
                  <c:v>5.3898960498960502</c:v>
                </c:pt>
                <c:pt idx="9">
                  <c:v>10.964488636363637</c:v>
                </c:pt>
                <c:pt idx="10">
                  <c:v>3.1441970114942528</c:v>
                </c:pt>
                <c:pt idx="11">
                  <c:v>4.980474449339207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20</c:v>
                </c:pt>
                <c:pt idx="1">
                  <c:v>Av Price/Unit 17.34</c:v>
                </c:pt>
                <c:pt idx="2">
                  <c:v>Av Price/Unit 10.34</c:v>
                </c:pt>
                <c:pt idx="3">
                  <c:v>Av Price/Unit 23.81</c:v>
                </c:pt>
                <c:pt idx="4">
                  <c:v>Av Price/Unit 12.06</c:v>
                </c:pt>
                <c:pt idx="5">
                  <c:v>Av Price/Unit 7.27</c:v>
                </c:pt>
                <c:pt idx="6">
                  <c:v>Av Price/Unit 13.61</c:v>
                </c:pt>
                <c:pt idx="7">
                  <c:v>Av Price/Unit 8.90</c:v>
                </c:pt>
                <c:pt idx="8">
                  <c:v>Av Price/Unit 10.16</c:v>
                </c:pt>
                <c:pt idx="9">
                  <c:v>Av Price/Unit 20.66</c:v>
                </c:pt>
                <c:pt idx="10">
                  <c:v>Av Price/Unit 9.03</c:v>
                </c:pt>
                <c:pt idx="11">
                  <c:v>Av Price/Unit 12.89</c:v>
                </c:pt>
              </c:strCache>
            </c:strRef>
          </c:cat>
          <c:val>
            <c:numRef>
              <c:f>Sheet1!$D$2:$D$13</c:f>
              <c:numCache>
                <c:formatCode>General</c:formatCode>
                <c:ptCount val="12"/>
                <c:pt idx="0">
                  <c:v>5.9409357798166695E-2</c:v>
                </c:pt>
                <c:pt idx="1">
                  <c:v>0.37723498809928913</c:v>
                </c:pt>
                <c:pt idx="2">
                  <c:v>9.3339466256093573E-2</c:v>
                </c:pt>
                <c:pt idx="3">
                  <c:v>0.18707605545053951</c:v>
                </c:pt>
                <c:pt idx="4">
                  <c:v>3.3767486734202379E-2</c:v>
                </c:pt>
                <c:pt idx="5">
                  <c:v>0.13190053003533553</c:v>
                </c:pt>
                <c:pt idx="6">
                  <c:v>0.22869015334947562</c:v>
                </c:pt>
                <c:pt idx="7">
                  <c:v>0.27559940764674362</c:v>
                </c:pt>
                <c:pt idx="8">
                  <c:v>2.1292169092170354E-2</c:v>
                </c:pt>
                <c:pt idx="9">
                  <c:v>0.36220151515151855</c:v>
                </c:pt>
                <c:pt idx="10">
                  <c:v>0.46715563218390699</c:v>
                </c:pt>
                <c:pt idx="11">
                  <c:v>0.6352560939794429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20</c:v>
                </c:pt>
                <c:pt idx="1">
                  <c:v>Av Price/Unit 17.34</c:v>
                </c:pt>
                <c:pt idx="2">
                  <c:v>Av Price/Unit 10.34</c:v>
                </c:pt>
                <c:pt idx="3">
                  <c:v>Av Price/Unit 23.81</c:v>
                </c:pt>
                <c:pt idx="4">
                  <c:v>Av Price/Unit 12.06</c:v>
                </c:pt>
                <c:pt idx="5">
                  <c:v>Av Price/Unit 7.27</c:v>
                </c:pt>
                <c:pt idx="6">
                  <c:v>Av Price/Unit 13.61</c:v>
                </c:pt>
                <c:pt idx="7">
                  <c:v>Av Price/Unit 8.90</c:v>
                </c:pt>
                <c:pt idx="8">
                  <c:v>Av Price/Unit 10.16</c:v>
                </c:pt>
                <c:pt idx="9">
                  <c:v>Av Price/Unit 20.66</c:v>
                </c:pt>
                <c:pt idx="10">
                  <c:v>Av Price/Unit 9.03</c:v>
                </c:pt>
                <c:pt idx="11">
                  <c:v>Av Price/Unit 12.89</c:v>
                </c:pt>
              </c:strCache>
            </c:strRef>
          </c:cat>
          <c:val>
            <c:numRef>
              <c:f>Sheet1!$E$2:$E$13</c:f>
              <c:numCache>
                <c:formatCode>General</c:formatCode>
                <c:ptCount val="12"/>
                <c:pt idx="0">
                  <c:v>1.5338615512927427</c:v>
                </c:pt>
                <c:pt idx="1">
                  <c:v>2.8901734104046217</c:v>
                </c:pt>
                <c:pt idx="2">
                  <c:v>1.7235052604567607</c:v>
                </c:pt>
                <c:pt idx="3">
                  <c:v>3.96912413358538</c:v>
                </c:pt>
                <c:pt idx="4">
                  <c:v>2.0067534973468395</c:v>
                </c:pt>
                <c:pt idx="5">
                  <c:v>1.2111307420494692</c:v>
                </c:pt>
                <c:pt idx="6">
                  <c:v>2.2679580306698957</c:v>
                </c:pt>
                <c:pt idx="7">
                  <c:v>1.4784598815293475</c:v>
                </c:pt>
                <c:pt idx="8">
                  <c:v>1.6926541926541914</c:v>
                </c:pt>
                <c:pt idx="9">
                  <c:v>3.4439393939393934</c:v>
                </c:pt>
                <c:pt idx="10">
                  <c:v>1.5057471264367817</c:v>
                </c:pt>
                <c:pt idx="11">
                  <c:v>2.148311306901614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24</c:v>
                </c:pt>
                <c:pt idx="1">
                  <c:v>Av Price/Unit 11.88</c:v>
                </c:pt>
                <c:pt idx="2">
                  <c:v>Av Price/Unit 11.06</c:v>
                </c:pt>
                <c:pt idx="3">
                  <c:v>Av Price/Unit 17.49</c:v>
                </c:pt>
                <c:pt idx="4">
                  <c:v>Av Price/Unit 12.67</c:v>
                </c:pt>
                <c:pt idx="5">
                  <c:v>Av Price/Unit 5.81</c:v>
                </c:pt>
                <c:pt idx="6">
                  <c:v>Av Price/Unit 9.70</c:v>
                </c:pt>
                <c:pt idx="7">
                  <c:v>Av Price/Unit 11.53</c:v>
                </c:pt>
                <c:pt idx="8">
                  <c:v>Av Price/Unit 12.64</c:v>
                </c:pt>
                <c:pt idx="9">
                  <c:v>Av Price/Unit 9.17</c:v>
                </c:pt>
                <c:pt idx="10">
                  <c:v>Av Price/Unit 14.08</c:v>
                </c:pt>
                <c:pt idx="11">
                  <c:v>Av Price/Unit 10.79</c:v>
                </c:pt>
              </c:strCache>
            </c:strRef>
          </c:cat>
          <c:val>
            <c:numRef>
              <c:f>Sheet1!$B$2:$B$13</c:f>
              <c:numCache>
                <c:formatCode>General</c:formatCode>
                <c:ptCount val="12"/>
                <c:pt idx="0">
                  <c:v>3.3487875530410181</c:v>
                </c:pt>
                <c:pt idx="1">
                  <c:v>4.896087305122494</c:v>
                </c:pt>
                <c:pt idx="2">
                  <c:v>4.6158901408450701</c:v>
                </c:pt>
                <c:pt idx="3">
                  <c:v>6.4779832422586514</c:v>
                </c:pt>
                <c:pt idx="4">
                  <c:v>5.0888561009817668</c:v>
                </c:pt>
                <c:pt idx="5">
                  <c:v>2.5493538241601144</c:v>
                </c:pt>
                <c:pt idx="6">
                  <c:v>2.8755597402597401</c:v>
                </c:pt>
                <c:pt idx="7">
                  <c:v>4.7088937254901957</c:v>
                </c:pt>
                <c:pt idx="8">
                  <c:v>5.2172082429501092</c:v>
                </c:pt>
                <c:pt idx="9">
                  <c:v>4.0083442244224425</c:v>
                </c:pt>
                <c:pt idx="10">
                  <c:v>5.6476023411371239</c:v>
                </c:pt>
                <c:pt idx="11">
                  <c:v>3.141381818181818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24</c:v>
                </c:pt>
                <c:pt idx="1">
                  <c:v>Av Price/Unit 11.88</c:v>
                </c:pt>
                <c:pt idx="2">
                  <c:v>Av Price/Unit 11.06</c:v>
                </c:pt>
                <c:pt idx="3">
                  <c:v>Av Price/Unit 17.49</c:v>
                </c:pt>
                <c:pt idx="4">
                  <c:v>Av Price/Unit 12.67</c:v>
                </c:pt>
                <c:pt idx="5">
                  <c:v>Av Price/Unit 5.81</c:v>
                </c:pt>
                <c:pt idx="6">
                  <c:v>Av Price/Unit 9.70</c:v>
                </c:pt>
                <c:pt idx="7">
                  <c:v>Av Price/Unit 11.53</c:v>
                </c:pt>
                <c:pt idx="8">
                  <c:v>Av Price/Unit 12.64</c:v>
                </c:pt>
                <c:pt idx="9">
                  <c:v>Av Price/Unit 9.17</c:v>
                </c:pt>
                <c:pt idx="10">
                  <c:v>Av Price/Unit 14.08</c:v>
                </c:pt>
                <c:pt idx="11">
                  <c:v>Av Price/Unit 10.79</c:v>
                </c:pt>
              </c:strCache>
            </c:strRef>
          </c:cat>
          <c:val>
            <c:numRef>
              <c:f>Sheet1!$C$2:$C$13</c:f>
              <c:numCache>
                <c:formatCode>General</c:formatCode>
                <c:ptCount val="12"/>
                <c:pt idx="0">
                  <c:v>2.5737066478076374</c:v>
                </c:pt>
                <c:pt idx="1">
                  <c:v>4.5742841870824051</c:v>
                </c:pt>
                <c:pt idx="2">
                  <c:v>4.453933802816902</c:v>
                </c:pt>
                <c:pt idx="3">
                  <c:v>7.6110120218579231</c:v>
                </c:pt>
                <c:pt idx="4">
                  <c:v>4.9284514726507709</c:v>
                </c:pt>
                <c:pt idx="5">
                  <c:v>2.4506461758398856</c:v>
                </c:pt>
                <c:pt idx="6">
                  <c:v>5.1883116883116873</c:v>
                </c:pt>
                <c:pt idx="7">
                  <c:v>4.4200019607843135</c:v>
                </c:pt>
                <c:pt idx="8">
                  <c:v>4.8093713665943598</c:v>
                </c:pt>
                <c:pt idx="9">
                  <c:v>3.2185993399339932</c:v>
                </c:pt>
                <c:pt idx="10">
                  <c:v>5.3311795986622075</c:v>
                </c:pt>
                <c:pt idx="11">
                  <c:v>5.792148760330578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24</c:v>
                </c:pt>
                <c:pt idx="1">
                  <c:v>Av Price/Unit 11.88</c:v>
                </c:pt>
                <c:pt idx="2">
                  <c:v>Av Price/Unit 11.06</c:v>
                </c:pt>
                <c:pt idx="3">
                  <c:v>Av Price/Unit 17.49</c:v>
                </c:pt>
                <c:pt idx="4">
                  <c:v>Av Price/Unit 12.67</c:v>
                </c:pt>
                <c:pt idx="5">
                  <c:v>Av Price/Unit 5.81</c:v>
                </c:pt>
                <c:pt idx="6">
                  <c:v>Av Price/Unit 9.70</c:v>
                </c:pt>
                <c:pt idx="7">
                  <c:v>Av Price/Unit 11.53</c:v>
                </c:pt>
                <c:pt idx="8">
                  <c:v>Av Price/Unit 12.64</c:v>
                </c:pt>
                <c:pt idx="9">
                  <c:v>Av Price/Unit 9.17</c:v>
                </c:pt>
                <c:pt idx="10">
                  <c:v>Av Price/Unit 14.08</c:v>
                </c:pt>
                <c:pt idx="11">
                  <c:v>Av Price/Unit 10.79</c:v>
                </c:pt>
              </c:strCache>
            </c:strRef>
          </c:cat>
          <c:val>
            <c:numRef>
              <c:f>Sheet1!$D$2:$D$13</c:f>
              <c:numCache>
                <c:formatCode>General</c:formatCode>
                <c:ptCount val="12"/>
                <c:pt idx="0">
                  <c:v>0.10679622819424761</c:v>
                </c:pt>
                <c:pt idx="1">
                  <c:v>0.42663942093541074</c:v>
                </c:pt>
                <c:pt idx="2">
                  <c:v>0.14563340556157556</c:v>
                </c:pt>
                <c:pt idx="3">
                  <c:v>0.48295373406192965</c:v>
                </c:pt>
                <c:pt idx="4">
                  <c:v>0.54016185133240135</c:v>
                </c:pt>
                <c:pt idx="5">
                  <c:v>-0.16142482725756491</c:v>
                </c:pt>
                <c:pt idx="6">
                  <c:v>1.6215151515151405E-2</c:v>
                </c:pt>
                <c:pt idx="7">
                  <c:v>0.47567947712418501</c:v>
                </c:pt>
                <c:pt idx="8">
                  <c:v>0.50668141720896642</c:v>
                </c:pt>
                <c:pt idx="9">
                  <c:v>0.41194532453245181</c:v>
                </c:pt>
                <c:pt idx="10">
                  <c:v>0.75756142697881934</c:v>
                </c:pt>
                <c:pt idx="11">
                  <c:v>6.0959779614329079E-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24</c:v>
                </c:pt>
                <c:pt idx="1">
                  <c:v>Av Price/Unit 11.88</c:v>
                </c:pt>
                <c:pt idx="2">
                  <c:v>Av Price/Unit 11.06</c:v>
                </c:pt>
                <c:pt idx="3">
                  <c:v>Av Price/Unit 17.49</c:v>
                </c:pt>
                <c:pt idx="4">
                  <c:v>Av Price/Unit 12.67</c:v>
                </c:pt>
                <c:pt idx="5">
                  <c:v>Av Price/Unit 5.81</c:v>
                </c:pt>
                <c:pt idx="6">
                  <c:v>Av Price/Unit 9.70</c:v>
                </c:pt>
                <c:pt idx="7">
                  <c:v>Av Price/Unit 11.53</c:v>
                </c:pt>
                <c:pt idx="8">
                  <c:v>Av Price/Unit 12.64</c:v>
                </c:pt>
                <c:pt idx="9">
                  <c:v>Av Price/Unit 9.17</c:v>
                </c:pt>
                <c:pt idx="10">
                  <c:v>Av Price/Unit 14.08</c:v>
                </c:pt>
                <c:pt idx="11">
                  <c:v>Av Price/Unit 10.79</c:v>
                </c:pt>
              </c:strCache>
            </c:strRef>
          </c:cat>
          <c:val>
            <c:numRef>
              <c:f>Sheet1!$E$2:$E$13</c:f>
              <c:numCache>
                <c:formatCode>General</c:formatCode>
                <c:ptCount val="12"/>
                <c:pt idx="0">
                  <c:v>1.2058580858085799</c:v>
                </c:pt>
                <c:pt idx="1">
                  <c:v>1.9793986636971046</c:v>
                </c:pt>
                <c:pt idx="2">
                  <c:v>1.8430841459010467</c:v>
                </c:pt>
                <c:pt idx="3">
                  <c:v>2.9143897996357011</c:v>
                </c:pt>
                <c:pt idx="4">
                  <c:v>2.1115007012622709</c:v>
                </c:pt>
                <c:pt idx="5">
                  <c:v>0.96771503454848684</c:v>
                </c:pt>
                <c:pt idx="6">
                  <c:v>1.6160173160173168</c:v>
                </c:pt>
                <c:pt idx="7">
                  <c:v>1.9209150326797373</c:v>
                </c:pt>
                <c:pt idx="8">
                  <c:v>2.1066522053506858</c:v>
                </c:pt>
                <c:pt idx="9">
                  <c:v>1.5277777777777788</c:v>
                </c:pt>
                <c:pt idx="10">
                  <c:v>2.3472686733556287</c:v>
                </c:pt>
                <c:pt idx="11">
                  <c:v>1.798898071625343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34</c:v>
                </c:pt>
                <c:pt idx="1">
                  <c:v>Av Price/Unit 11.78</c:v>
                </c:pt>
                <c:pt idx="2">
                  <c:v>Av Price/Unit 9.13</c:v>
                </c:pt>
                <c:pt idx="3">
                  <c:v>Av Price/Unit 12.84</c:v>
                </c:pt>
                <c:pt idx="4">
                  <c:v>Av Price/Unit 17.38</c:v>
                </c:pt>
                <c:pt idx="5">
                  <c:v>Av Price/Unit 11.31</c:v>
                </c:pt>
                <c:pt idx="6">
                  <c:v>Av Price/Unit 11.17</c:v>
                </c:pt>
                <c:pt idx="7">
                  <c:v>Av Price/Unit 13.27</c:v>
                </c:pt>
                <c:pt idx="8">
                  <c:v>Av Price/Unit 12.58</c:v>
                </c:pt>
                <c:pt idx="9">
                  <c:v>Av Price/Unit 13.82</c:v>
                </c:pt>
                <c:pt idx="10">
                  <c:v>Av Price/Unit 9.83</c:v>
                </c:pt>
                <c:pt idx="11">
                  <c:v>Av Price/Unit 5.75</c:v>
                </c:pt>
              </c:strCache>
            </c:strRef>
          </c:cat>
          <c:val>
            <c:numRef>
              <c:f>Sheet1!$B$2:$B$13</c:f>
              <c:numCache>
                <c:formatCode>General</c:formatCode>
                <c:ptCount val="12"/>
                <c:pt idx="0">
                  <c:v>3.3528350139040026</c:v>
                </c:pt>
                <c:pt idx="1">
                  <c:v>4.8988453319948375</c:v>
                </c:pt>
                <c:pt idx="2">
                  <c:v>4.0279393596986814</c:v>
                </c:pt>
                <c:pt idx="3">
                  <c:v>5.1094206813342806</c:v>
                </c:pt>
                <c:pt idx="4">
                  <c:v>6.4761583886675522</c:v>
                </c:pt>
                <c:pt idx="5">
                  <c:v>4.7515923867595813</c:v>
                </c:pt>
                <c:pt idx="6">
                  <c:v>4.6454500577589526</c:v>
                </c:pt>
                <c:pt idx="7">
                  <c:v>5.3890029640084691</c:v>
                </c:pt>
                <c:pt idx="8">
                  <c:v>5.2214282460136676</c:v>
                </c:pt>
                <c:pt idx="9">
                  <c:v>5.6570683060109301</c:v>
                </c:pt>
                <c:pt idx="10">
                  <c:v>4.0223374430709171</c:v>
                </c:pt>
                <c:pt idx="11">
                  <c:v>2.548558759913482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34</c:v>
                </c:pt>
                <c:pt idx="1">
                  <c:v>Av Price/Unit 11.78</c:v>
                </c:pt>
                <c:pt idx="2">
                  <c:v>Av Price/Unit 9.13</c:v>
                </c:pt>
                <c:pt idx="3">
                  <c:v>Av Price/Unit 12.84</c:v>
                </c:pt>
                <c:pt idx="4">
                  <c:v>Av Price/Unit 17.38</c:v>
                </c:pt>
                <c:pt idx="5">
                  <c:v>Av Price/Unit 11.31</c:v>
                </c:pt>
                <c:pt idx="6">
                  <c:v>Av Price/Unit 11.17</c:v>
                </c:pt>
                <c:pt idx="7">
                  <c:v>Av Price/Unit 13.27</c:v>
                </c:pt>
                <c:pt idx="8">
                  <c:v>Av Price/Unit 12.58</c:v>
                </c:pt>
                <c:pt idx="9">
                  <c:v>Av Price/Unit 13.82</c:v>
                </c:pt>
                <c:pt idx="10">
                  <c:v>Av Price/Unit 9.83</c:v>
                </c:pt>
                <c:pt idx="11">
                  <c:v>Av Price/Unit 5.75</c:v>
                </c:pt>
              </c:strCache>
            </c:strRef>
          </c:cat>
          <c:val>
            <c:numRef>
              <c:f>Sheet1!$C$2:$C$13</c:f>
              <c:numCache>
                <c:formatCode>General</c:formatCode>
                <c:ptCount val="12"/>
                <c:pt idx="0">
                  <c:v>2.5766912102526902</c:v>
                </c:pt>
                <c:pt idx="1">
                  <c:v>4.5765277857450171</c:v>
                </c:pt>
                <c:pt idx="2">
                  <c:v>3.2346273069679849</c:v>
                </c:pt>
                <c:pt idx="3">
                  <c:v>4.9574259616749465</c:v>
                </c:pt>
                <c:pt idx="4">
                  <c:v>7.6330241699867178</c:v>
                </c:pt>
                <c:pt idx="5">
                  <c:v>4.4625485191637626</c:v>
                </c:pt>
                <c:pt idx="6">
                  <c:v>4.4567190219484027</c:v>
                </c:pt>
                <c:pt idx="7">
                  <c:v>5.327087932251235</c:v>
                </c:pt>
                <c:pt idx="8">
                  <c:v>4.8123282460136672</c:v>
                </c:pt>
                <c:pt idx="9">
                  <c:v>5.3031120218579222</c:v>
                </c:pt>
                <c:pt idx="10">
                  <c:v>3.8155839947950554</c:v>
                </c:pt>
                <c:pt idx="11">
                  <c:v>2.451441240086517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34</c:v>
                </c:pt>
                <c:pt idx="1">
                  <c:v>Av Price/Unit 11.78</c:v>
                </c:pt>
                <c:pt idx="2">
                  <c:v>Av Price/Unit 9.13</c:v>
                </c:pt>
                <c:pt idx="3">
                  <c:v>Av Price/Unit 12.84</c:v>
                </c:pt>
                <c:pt idx="4">
                  <c:v>Av Price/Unit 17.38</c:v>
                </c:pt>
                <c:pt idx="5">
                  <c:v>Av Price/Unit 11.31</c:v>
                </c:pt>
                <c:pt idx="6">
                  <c:v>Av Price/Unit 11.17</c:v>
                </c:pt>
                <c:pt idx="7">
                  <c:v>Av Price/Unit 13.27</c:v>
                </c:pt>
                <c:pt idx="8">
                  <c:v>Av Price/Unit 12.58</c:v>
                </c:pt>
                <c:pt idx="9">
                  <c:v>Av Price/Unit 13.82</c:v>
                </c:pt>
                <c:pt idx="10">
                  <c:v>Av Price/Unit 9.83</c:v>
                </c:pt>
                <c:pt idx="11">
                  <c:v>Av Price/Unit 5.75</c:v>
                </c:pt>
              </c:strCache>
            </c:strRef>
          </c:cat>
          <c:val>
            <c:numRef>
              <c:f>Sheet1!$D$2:$D$13</c:f>
              <c:numCache>
                <c:formatCode>General</c:formatCode>
                <c:ptCount val="12"/>
                <c:pt idx="0">
                  <c:v>0.18390222061016459</c:v>
                </c:pt>
                <c:pt idx="1">
                  <c:v>0.34405836560065239</c:v>
                </c:pt>
                <c:pt idx="2">
                  <c:v>0.34234544883867013</c:v>
                </c:pt>
                <c:pt idx="3">
                  <c:v>0.63159817364561377</c:v>
                </c:pt>
                <c:pt idx="4">
                  <c:v>0.37215136491072798</c:v>
                </c:pt>
                <c:pt idx="5">
                  <c:v>0.21152692218350921</c:v>
                </c:pt>
                <c:pt idx="6">
                  <c:v>0.20557248106789849</c:v>
                </c:pt>
                <c:pt idx="7">
                  <c:v>0.3393002587626448</c:v>
                </c:pt>
                <c:pt idx="8">
                  <c:v>0.44839992406985552</c:v>
                </c:pt>
                <c:pt idx="9">
                  <c:v>0.56006627434496181</c:v>
                </c:pt>
                <c:pt idx="10">
                  <c:v>0.35227591628713917</c:v>
                </c:pt>
                <c:pt idx="11">
                  <c:v>-0.2126892573900498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34</c:v>
                </c:pt>
                <c:pt idx="1">
                  <c:v>Av Price/Unit 11.78</c:v>
                </c:pt>
                <c:pt idx="2">
                  <c:v>Av Price/Unit 9.13</c:v>
                </c:pt>
                <c:pt idx="3">
                  <c:v>Av Price/Unit 12.84</c:v>
                </c:pt>
                <c:pt idx="4">
                  <c:v>Av Price/Unit 17.38</c:v>
                </c:pt>
                <c:pt idx="5">
                  <c:v>Av Price/Unit 11.31</c:v>
                </c:pt>
                <c:pt idx="6">
                  <c:v>Av Price/Unit 11.17</c:v>
                </c:pt>
                <c:pt idx="7">
                  <c:v>Av Price/Unit 13.27</c:v>
                </c:pt>
                <c:pt idx="8">
                  <c:v>Av Price/Unit 12.58</c:v>
                </c:pt>
                <c:pt idx="9">
                  <c:v>Av Price/Unit 13.82</c:v>
                </c:pt>
                <c:pt idx="10">
                  <c:v>Av Price/Unit 9.83</c:v>
                </c:pt>
                <c:pt idx="11">
                  <c:v>Av Price/Unit 5.75</c:v>
                </c:pt>
              </c:strCache>
            </c:strRef>
          </c:cat>
          <c:val>
            <c:numRef>
              <c:f>Sheet1!$E$2:$E$13</c:f>
              <c:numCache>
                <c:formatCode>General</c:formatCode>
                <c:ptCount val="12"/>
                <c:pt idx="0">
                  <c:v>1.2226856889533702</c:v>
                </c:pt>
                <c:pt idx="1">
                  <c:v>1.9638845069075945</c:v>
                </c:pt>
                <c:pt idx="2">
                  <c:v>1.5209824231010667</c:v>
                </c:pt>
                <c:pt idx="3">
                  <c:v>2.1396971847646071</c:v>
                </c:pt>
                <c:pt idx="4">
                  <c:v>2.8962667847129988</c:v>
                </c:pt>
                <c:pt idx="5">
                  <c:v>1.8851335656213688</c:v>
                </c:pt>
                <c:pt idx="6">
                  <c:v>1.8615389552047239</c:v>
                </c:pt>
                <c:pt idx="7">
                  <c:v>2.2110679840037628</c:v>
                </c:pt>
                <c:pt idx="8">
                  <c:v>2.0964312832194367</c:v>
                </c:pt>
                <c:pt idx="9">
                  <c:v>2.3040493204427626</c:v>
                </c:pt>
                <c:pt idx="10">
                  <c:v>1.6380394708306221</c:v>
                </c:pt>
                <c:pt idx="11">
                  <c:v>0.957462148521989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3</c:v>
                </c:pt>
                <c:pt idx="1">
                  <c:v>Av Price/Unit 11.78</c:v>
                </c:pt>
                <c:pt idx="2">
                  <c:v>Av Price/Unit 17.42</c:v>
                </c:pt>
                <c:pt idx="3">
                  <c:v>Av Price/Unit 12.83</c:v>
                </c:pt>
                <c:pt idx="4">
                  <c:v>Av Price/Unit 9.12</c:v>
                </c:pt>
                <c:pt idx="5">
                  <c:v>Av Price/Unit 11.43</c:v>
                </c:pt>
                <c:pt idx="6">
                  <c:v>Av Price/Unit 11.18</c:v>
                </c:pt>
                <c:pt idx="7">
                  <c:v>Av Price/Unit 13.46</c:v>
                </c:pt>
                <c:pt idx="8">
                  <c:v>Av Price/Unit 13.86</c:v>
                </c:pt>
                <c:pt idx="9">
                  <c:v>Av Price/Unit 12.50</c:v>
                </c:pt>
                <c:pt idx="10">
                  <c:v>Av Price/Unit 9.22</c:v>
                </c:pt>
                <c:pt idx="11">
                  <c:v>Av Price/Unit 5.71</c:v>
                </c:pt>
              </c:strCache>
            </c:strRef>
          </c:cat>
          <c:val>
            <c:numRef>
              <c:f>Sheet1!$B$2:$B$13</c:f>
              <c:numCache>
                <c:formatCode>General</c:formatCode>
                <c:ptCount val="12"/>
                <c:pt idx="0">
                  <c:v>3.3595733821733824</c:v>
                </c:pt>
                <c:pt idx="1">
                  <c:v>4.8998508541024934</c:v>
                </c:pt>
                <c:pt idx="2">
                  <c:v>6.4778886197977901</c:v>
                </c:pt>
                <c:pt idx="3">
                  <c:v>5.112365545224006</c:v>
                </c:pt>
                <c:pt idx="4">
                  <c:v>3.9871078947368424</c:v>
                </c:pt>
                <c:pt idx="5">
                  <c:v>4.7433165127764649</c:v>
                </c:pt>
                <c:pt idx="6">
                  <c:v>4.6354265575261486</c:v>
                </c:pt>
                <c:pt idx="7">
                  <c:v>5.3705098550724637</c:v>
                </c:pt>
                <c:pt idx="8">
                  <c:v>5.6543565739225317</c:v>
                </c:pt>
                <c:pt idx="9">
                  <c:v>5.2158602150537634</c:v>
                </c:pt>
                <c:pt idx="10">
                  <c:v>2.6536329434697854</c:v>
                </c:pt>
                <c:pt idx="11">
                  <c:v>2.549710656316161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3</c:v>
                </c:pt>
                <c:pt idx="1">
                  <c:v>Av Price/Unit 11.78</c:v>
                </c:pt>
                <c:pt idx="2">
                  <c:v>Av Price/Unit 17.42</c:v>
                </c:pt>
                <c:pt idx="3">
                  <c:v>Av Price/Unit 12.83</c:v>
                </c:pt>
                <c:pt idx="4">
                  <c:v>Av Price/Unit 9.12</c:v>
                </c:pt>
                <c:pt idx="5">
                  <c:v>Av Price/Unit 11.43</c:v>
                </c:pt>
                <c:pt idx="6">
                  <c:v>Av Price/Unit 11.18</c:v>
                </c:pt>
                <c:pt idx="7">
                  <c:v>Av Price/Unit 13.46</c:v>
                </c:pt>
                <c:pt idx="8">
                  <c:v>Av Price/Unit 13.86</c:v>
                </c:pt>
                <c:pt idx="9">
                  <c:v>Av Price/Unit 12.50</c:v>
                </c:pt>
                <c:pt idx="10">
                  <c:v>Av Price/Unit 9.22</c:v>
                </c:pt>
                <c:pt idx="11">
                  <c:v>Av Price/Unit 5.71</c:v>
                </c:pt>
              </c:strCache>
            </c:strRef>
          </c:cat>
          <c:val>
            <c:numRef>
              <c:f>Sheet1!$C$2:$C$13</c:f>
              <c:numCache>
                <c:formatCode>General</c:formatCode>
                <c:ptCount val="12"/>
                <c:pt idx="0">
                  <c:v>2.5816600244200241</c:v>
                </c:pt>
                <c:pt idx="1">
                  <c:v>4.5773457574908987</c:v>
                </c:pt>
                <c:pt idx="2">
                  <c:v>7.6121533976016931</c:v>
                </c:pt>
                <c:pt idx="3">
                  <c:v>4.9615751310228235</c:v>
                </c:pt>
                <c:pt idx="4">
                  <c:v>3.2012289473684206</c:v>
                </c:pt>
                <c:pt idx="5">
                  <c:v>4.4543021258320801</c:v>
                </c:pt>
                <c:pt idx="6">
                  <c:v>4.4557745793542525</c:v>
                </c:pt>
                <c:pt idx="7">
                  <c:v>5.31927768115942</c:v>
                </c:pt>
                <c:pt idx="8">
                  <c:v>5.3111525913802504</c:v>
                </c:pt>
                <c:pt idx="9">
                  <c:v>4.8084268279569891</c:v>
                </c:pt>
                <c:pt idx="10">
                  <c:v>4.9568031189083825</c:v>
                </c:pt>
                <c:pt idx="11">
                  <c:v>2.450289343683838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3</c:v>
                </c:pt>
                <c:pt idx="1">
                  <c:v>Av Price/Unit 11.78</c:v>
                </c:pt>
                <c:pt idx="2">
                  <c:v>Av Price/Unit 17.42</c:v>
                </c:pt>
                <c:pt idx="3">
                  <c:v>Av Price/Unit 12.83</c:v>
                </c:pt>
                <c:pt idx="4">
                  <c:v>Av Price/Unit 9.12</c:v>
                </c:pt>
                <c:pt idx="5">
                  <c:v>Av Price/Unit 11.43</c:v>
                </c:pt>
                <c:pt idx="6">
                  <c:v>Av Price/Unit 11.18</c:v>
                </c:pt>
                <c:pt idx="7">
                  <c:v>Av Price/Unit 13.46</c:v>
                </c:pt>
                <c:pt idx="8">
                  <c:v>Av Price/Unit 13.86</c:v>
                </c:pt>
                <c:pt idx="9">
                  <c:v>Av Price/Unit 12.50</c:v>
                </c:pt>
                <c:pt idx="10">
                  <c:v>Av Price/Unit 9.22</c:v>
                </c:pt>
                <c:pt idx="11">
                  <c:v>Av Price/Unit 5.71</c:v>
                </c:pt>
              </c:strCache>
            </c:strRef>
          </c:cat>
          <c:val>
            <c:numRef>
              <c:f>Sheet1!$D$2:$D$13</c:f>
              <c:numCache>
                <c:formatCode>General</c:formatCode>
                <c:ptCount val="12"/>
                <c:pt idx="0">
                  <c:v>0.2471060317460303</c:v>
                </c:pt>
                <c:pt idx="1">
                  <c:v>0.33763696443573288</c:v>
                </c:pt>
                <c:pt idx="2">
                  <c:v>0.4273574653186003</c:v>
                </c:pt>
                <c:pt idx="3">
                  <c:v>0.61705693998309563</c:v>
                </c:pt>
                <c:pt idx="4">
                  <c:v>0.41323995264234181</c:v>
                </c:pt>
                <c:pt idx="5">
                  <c:v>0.32567962207429879</c:v>
                </c:pt>
                <c:pt idx="6">
                  <c:v>0.22879824162498075</c:v>
                </c:pt>
                <c:pt idx="7">
                  <c:v>0.53047078904991984</c:v>
                </c:pt>
                <c:pt idx="8">
                  <c:v>0.58659121658483393</c:v>
                </c:pt>
                <c:pt idx="9">
                  <c:v>0.39461976702508927</c:v>
                </c:pt>
                <c:pt idx="10">
                  <c:v>7.1906367771279456E-2</c:v>
                </c:pt>
                <c:pt idx="11">
                  <c:v>-0.2464126087979279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3</c:v>
                </c:pt>
                <c:pt idx="1">
                  <c:v>Av Price/Unit 11.78</c:v>
                </c:pt>
                <c:pt idx="2">
                  <c:v>Av Price/Unit 17.42</c:v>
                </c:pt>
                <c:pt idx="3">
                  <c:v>Av Price/Unit 12.83</c:v>
                </c:pt>
                <c:pt idx="4">
                  <c:v>Av Price/Unit 9.12</c:v>
                </c:pt>
                <c:pt idx="5">
                  <c:v>Av Price/Unit 11.43</c:v>
                </c:pt>
                <c:pt idx="6">
                  <c:v>Av Price/Unit 11.18</c:v>
                </c:pt>
                <c:pt idx="7">
                  <c:v>Av Price/Unit 13.46</c:v>
                </c:pt>
                <c:pt idx="8">
                  <c:v>Av Price/Unit 13.86</c:v>
                </c:pt>
                <c:pt idx="9">
                  <c:v>Av Price/Unit 12.50</c:v>
                </c:pt>
                <c:pt idx="10">
                  <c:v>Av Price/Unit 9.22</c:v>
                </c:pt>
                <c:pt idx="11">
                  <c:v>Av Price/Unit 5.71</c:v>
                </c:pt>
              </c:strCache>
            </c:strRef>
          </c:cat>
          <c:val>
            <c:numRef>
              <c:f>Sheet1!$E$2:$E$13</c:f>
              <c:numCache>
                <c:formatCode>General</c:formatCode>
                <c:ptCount val="12"/>
                <c:pt idx="0">
                  <c:v>1.2376678876678886</c:v>
                </c:pt>
                <c:pt idx="1">
                  <c:v>1.9629655558667041</c:v>
                </c:pt>
                <c:pt idx="2">
                  <c:v>2.9034798965436162</c:v>
                </c:pt>
                <c:pt idx="3">
                  <c:v>2.1382079459002523</c:v>
                </c:pt>
                <c:pt idx="4">
                  <c:v>1.5203153589495215</c:v>
                </c:pt>
                <c:pt idx="5">
                  <c:v>1.9046596521365671</c:v>
                </c:pt>
                <c:pt idx="6">
                  <c:v>1.8639912081249057</c:v>
                </c:pt>
                <c:pt idx="7">
                  <c:v>2.2440418679549103</c:v>
                </c:pt>
                <c:pt idx="8">
                  <c:v>2.3104200763775231</c:v>
                </c:pt>
                <c:pt idx="9">
                  <c:v>2.0837813620071679</c:v>
                </c:pt>
                <c:pt idx="10">
                  <c:v>1.5364684860298898</c:v>
                </c:pt>
                <c:pt idx="11">
                  <c:v>0.9507174782404123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6</c:v>
                </c:pt>
                <c:pt idx="1">
                  <c:v>Av Price/Unit 11.79</c:v>
                </c:pt>
                <c:pt idx="2">
                  <c:v>Av Price/Unit 17.37</c:v>
                </c:pt>
                <c:pt idx="3">
                  <c:v>Av Price/Unit 12.81</c:v>
                </c:pt>
                <c:pt idx="4">
                  <c:v>Av Price/Unit 11.17</c:v>
                </c:pt>
                <c:pt idx="5">
                  <c:v>Av Price/Unit 11.38</c:v>
                </c:pt>
                <c:pt idx="6">
                  <c:v>Av Price/Unit 9.05</c:v>
                </c:pt>
                <c:pt idx="7">
                  <c:v>Av Price/Unit 5.76</c:v>
                </c:pt>
                <c:pt idx="8">
                  <c:v>Av Price/Unit 13.57</c:v>
                </c:pt>
                <c:pt idx="9">
                  <c:v>Av Price/Unit 9.22</c:v>
                </c:pt>
                <c:pt idx="10">
                  <c:v>Av Price/Unit 9.67</c:v>
                </c:pt>
                <c:pt idx="11">
                  <c:v>Av Price/Unit 13.77</c:v>
                </c:pt>
              </c:strCache>
            </c:strRef>
          </c:cat>
          <c:val>
            <c:numRef>
              <c:f>Sheet1!$B$2:$B$13</c:f>
              <c:numCache>
                <c:formatCode>General</c:formatCode>
                <c:ptCount val="12"/>
                <c:pt idx="0">
                  <c:v>3.3613558288458734</c:v>
                </c:pt>
                <c:pt idx="1">
                  <c:v>4.9004981244813273</c:v>
                </c:pt>
                <c:pt idx="2">
                  <c:v>6.4767125709860611</c:v>
                </c:pt>
                <c:pt idx="3">
                  <c:v>5.1166167560321716</c:v>
                </c:pt>
                <c:pt idx="4">
                  <c:v>4.6457298095238109</c:v>
                </c:pt>
                <c:pt idx="5">
                  <c:v>4.7604145098039208</c:v>
                </c:pt>
                <c:pt idx="6">
                  <c:v>3.9766575452255553</c:v>
                </c:pt>
                <c:pt idx="7">
                  <c:v>2.5512164502164505</c:v>
                </c:pt>
                <c:pt idx="8">
                  <c:v>5.4058991186839016</c:v>
                </c:pt>
                <c:pt idx="9">
                  <c:v>2.6533671698113208</c:v>
                </c:pt>
                <c:pt idx="10">
                  <c:v>2.8750830674215133</c:v>
                </c:pt>
                <c:pt idx="11">
                  <c:v>5.659556790123456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6</c:v>
                </c:pt>
                <c:pt idx="1">
                  <c:v>Av Price/Unit 11.79</c:v>
                </c:pt>
                <c:pt idx="2">
                  <c:v>Av Price/Unit 17.37</c:v>
                </c:pt>
                <c:pt idx="3">
                  <c:v>Av Price/Unit 12.81</c:v>
                </c:pt>
                <c:pt idx="4">
                  <c:v>Av Price/Unit 11.17</c:v>
                </c:pt>
                <c:pt idx="5">
                  <c:v>Av Price/Unit 11.38</c:v>
                </c:pt>
                <c:pt idx="6">
                  <c:v>Av Price/Unit 9.05</c:v>
                </c:pt>
                <c:pt idx="7">
                  <c:v>Av Price/Unit 5.76</c:v>
                </c:pt>
                <c:pt idx="8">
                  <c:v>Av Price/Unit 13.57</c:v>
                </c:pt>
                <c:pt idx="9">
                  <c:v>Av Price/Unit 9.22</c:v>
                </c:pt>
                <c:pt idx="10">
                  <c:v>Av Price/Unit 9.67</c:v>
                </c:pt>
                <c:pt idx="11">
                  <c:v>Av Price/Unit 13.77</c:v>
                </c:pt>
              </c:strCache>
            </c:strRef>
          </c:cat>
          <c:val>
            <c:numRef>
              <c:f>Sheet1!$C$2:$C$13</c:f>
              <c:numCache>
                <c:formatCode>General</c:formatCode>
                <c:ptCount val="12"/>
                <c:pt idx="0">
                  <c:v>2.5829743850967835</c:v>
                </c:pt>
                <c:pt idx="1">
                  <c:v>4.577872298755187</c:v>
                </c:pt>
                <c:pt idx="2">
                  <c:v>7.626339390810533</c:v>
                </c:pt>
                <c:pt idx="3">
                  <c:v>4.9675648793565683</c:v>
                </c:pt>
                <c:pt idx="4">
                  <c:v>4.4567453809523823</c:v>
                </c:pt>
                <c:pt idx="5">
                  <c:v>4.4713392156862737</c:v>
                </c:pt>
                <c:pt idx="6">
                  <c:v>3.1926810167162807</c:v>
                </c:pt>
                <c:pt idx="7">
                  <c:v>2.4487835497835504</c:v>
                </c:pt>
                <c:pt idx="8">
                  <c:v>5.3342237367802587</c:v>
                </c:pt>
                <c:pt idx="9">
                  <c:v>4.9559245283018871</c:v>
                </c:pt>
                <c:pt idx="10">
                  <c:v>5.1875965002573343</c:v>
                </c:pt>
                <c:pt idx="11">
                  <c:v>5.295733405954975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6</c:v>
                </c:pt>
                <c:pt idx="1">
                  <c:v>Av Price/Unit 11.79</c:v>
                </c:pt>
                <c:pt idx="2">
                  <c:v>Av Price/Unit 17.37</c:v>
                </c:pt>
                <c:pt idx="3">
                  <c:v>Av Price/Unit 12.81</c:v>
                </c:pt>
                <c:pt idx="4">
                  <c:v>Av Price/Unit 11.17</c:v>
                </c:pt>
                <c:pt idx="5">
                  <c:v>Av Price/Unit 11.38</c:v>
                </c:pt>
                <c:pt idx="6">
                  <c:v>Av Price/Unit 9.05</c:v>
                </c:pt>
                <c:pt idx="7">
                  <c:v>Av Price/Unit 5.76</c:v>
                </c:pt>
                <c:pt idx="8">
                  <c:v>Av Price/Unit 13.57</c:v>
                </c:pt>
                <c:pt idx="9">
                  <c:v>Av Price/Unit 9.22</c:v>
                </c:pt>
                <c:pt idx="10">
                  <c:v>Av Price/Unit 9.67</c:v>
                </c:pt>
                <c:pt idx="11">
                  <c:v>Av Price/Unit 13.77</c:v>
                </c:pt>
              </c:strCache>
            </c:strRef>
          </c:cat>
          <c:val>
            <c:numRef>
              <c:f>Sheet1!$D$2:$D$13</c:f>
              <c:numCache>
                <c:formatCode>General</c:formatCode>
                <c:ptCount val="12"/>
                <c:pt idx="0">
                  <c:v>0.26934562169504783</c:v>
                </c:pt>
                <c:pt idx="1">
                  <c:v>0.3491575491009673</c:v>
                </c:pt>
                <c:pt idx="2">
                  <c:v>0.37165118740320757</c:v>
                </c:pt>
                <c:pt idx="3">
                  <c:v>0.5934632112004774</c:v>
                </c:pt>
                <c:pt idx="4">
                  <c:v>0.20233359523809469</c:v>
                </c:pt>
                <c:pt idx="5">
                  <c:v>0.251470675381265</c:v>
                </c:pt>
                <c:pt idx="6">
                  <c:v>0.37550534310357975</c:v>
                </c:pt>
                <c:pt idx="7">
                  <c:v>-0.20021645021645007</c:v>
                </c:pt>
                <c:pt idx="8">
                  <c:v>0.56427826086956578</c:v>
                </c:pt>
                <c:pt idx="9">
                  <c:v>7.7815220125787121E-2</c:v>
                </c:pt>
                <c:pt idx="10">
                  <c:v>-7.69586550008583E-3</c:v>
                </c:pt>
                <c:pt idx="11">
                  <c:v>0.5225602033405980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6</c:v>
                </c:pt>
                <c:pt idx="1">
                  <c:v>Av Price/Unit 11.79</c:v>
                </c:pt>
                <c:pt idx="2">
                  <c:v>Av Price/Unit 17.37</c:v>
                </c:pt>
                <c:pt idx="3">
                  <c:v>Av Price/Unit 12.81</c:v>
                </c:pt>
                <c:pt idx="4">
                  <c:v>Av Price/Unit 11.17</c:v>
                </c:pt>
                <c:pt idx="5">
                  <c:v>Av Price/Unit 11.38</c:v>
                </c:pt>
                <c:pt idx="6">
                  <c:v>Av Price/Unit 9.05</c:v>
                </c:pt>
                <c:pt idx="7">
                  <c:v>Av Price/Unit 5.76</c:v>
                </c:pt>
                <c:pt idx="8">
                  <c:v>Av Price/Unit 13.57</c:v>
                </c:pt>
                <c:pt idx="9">
                  <c:v>Av Price/Unit 9.22</c:v>
                </c:pt>
                <c:pt idx="10">
                  <c:v>Av Price/Unit 9.67</c:v>
                </c:pt>
                <c:pt idx="11">
                  <c:v>Av Price/Unit 13.77</c:v>
                </c:pt>
              </c:strCache>
            </c:strRef>
          </c:cat>
          <c:val>
            <c:numRef>
              <c:f>Sheet1!$E$2:$E$13</c:f>
              <c:numCache>
                <c:formatCode>General</c:formatCode>
                <c:ptCount val="12"/>
                <c:pt idx="0">
                  <c:v>1.2427351671275402</c:v>
                </c:pt>
                <c:pt idx="1">
                  <c:v>1.9655048409405251</c:v>
                </c:pt>
                <c:pt idx="2">
                  <c:v>2.8949406298399549</c:v>
                </c:pt>
                <c:pt idx="3">
                  <c:v>2.1355376824545722</c:v>
                </c:pt>
                <c:pt idx="4">
                  <c:v>1.8609523809523809</c:v>
                </c:pt>
                <c:pt idx="5">
                  <c:v>1.8966448801742912</c:v>
                </c:pt>
                <c:pt idx="6">
                  <c:v>1.5089687810090828</c:v>
                </c:pt>
                <c:pt idx="7">
                  <c:v>0.95995670995671001</c:v>
                </c:pt>
                <c:pt idx="8">
                  <c:v>2.2608695652173911</c:v>
                </c:pt>
                <c:pt idx="9">
                  <c:v>1.5374213836477981</c:v>
                </c:pt>
                <c:pt idx="10">
                  <c:v>1.6109967404357519</c:v>
                </c:pt>
                <c:pt idx="11">
                  <c:v>2.295570079883805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0</c:v>
                </c:pt>
                <c:pt idx="1">
                  <c:v>Av Price/Unit 11.76</c:v>
                </c:pt>
                <c:pt idx="2">
                  <c:v>Av Price/Unit 9.08</c:v>
                </c:pt>
                <c:pt idx="3">
                  <c:v>Av Price/Unit 12.76</c:v>
                </c:pt>
                <c:pt idx="4">
                  <c:v>Av Price/Unit 17.41</c:v>
                </c:pt>
                <c:pt idx="5">
                  <c:v>Av Price/Unit 11.41</c:v>
                </c:pt>
                <c:pt idx="6">
                  <c:v>Av Price/Unit 11.26</c:v>
                </c:pt>
                <c:pt idx="7">
                  <c:v>Av Price/Unit 13.51</c:v>
                </c:pt>
                <c:pt idx="8">
                  <c:v>Av Price/Unit 13.82</c:v>
                </c:pt>
                <c:pt idx="9">
                  <c:v>Av Price/Unit 12.49</c:v>
                </c:pt>
                <c:pt idx="10">
                  <c:v>Av Price/Unit 9.81</c:v>
                </c:pt>
                <c:pt idx="11">
                  <c:v>Av Price/Unit 5.73</c:v>
                </c:pt>
              </c:strCache>
            </c:strRef>
          </c:cat>
          <c:val>
            <c:numRef>
              <c:f>Sheet1!$B$2:$B$13</c:f>
              <c:numCache>
                <c:formatCode>General</c:formatCode>
                <c:ptCount val="12"/>
                <c:pt idx="0">
                  <c:v>3.3581887054319215</c:v>
                </c:pt>
                <c:pt idx="1">
                  <c:v>4.9007731958762886</c:v>
                </c:pt>
                <c:pt idx="2">
                  <c:v>3.9834686460307429</c:v>
                </c:pt>
                <c:pt idx="3">
                  <c:v>5.1216126317374275</c:v>
                </c:pt>
                <c:pt idx="4">
                  <c:v>6.4759222528102773</c:v>
                </c:pt>
                <c:pt idx="5">
                  <c:v>4.7612739194020159</c:v>
                </c:pt>
                <c:pt idx="6">
                  <c:v>4.6530143441951859</c:v>
                </c:pt>
                <c:pt idx="7">
                  <c:v>5.4100457589285718</c:v>
                </c:pt>
                <c:pt idx="8">
                  <c:v>5.6520716771387152</c:v>
                </c:pt>
                <c:pt idx="9">
                  <c:v>5.2310713954566532</c:v>
                </c:pt>
                <c:pt idx="10">
                  <c:v>4.0251807463279077</c:v>
                </c:pt>
                <c:pt idx="11">
                  <c:v>2.549540572792362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0</c:v>
                </c:pt>
                <c:pt idx="1">
                  <c:v>Av Price/Unit 11.76</c:v>
                </c:pt>
                <c:pt idx="2">
                  <c:v>Av Price/Unit 9.08</c:v>
                </c:pt>
                <c:pt idx="3">
                  <c:v>Av Price/Unit 12.76</c:v>
                </c:pt>
                <c:pt idx="4">
                  <c:v>Av Price/Unit 17.41</c:v>
                </c:pt>
                <c:pt idx="5">
                  <c:v>Av Price/Unit 11.41</c:v>
                </c:pt>
                <c:pt idx="6">
                  <c:v>Av Price/Unit 11.26</c:v>
                </c:pt>
                <c:pt idx="7">
                  <c:v>Av Price/Unit 13.51</c:v>
                </c:pt>
                <c:pt idx="8">
                  <c:v>Av Price/Unit 13.82</c:v>
                </c:pt>
                <c:pt idx="9">
                  <c:v>Av Price/Unit 12.49</c:v>
                </c:pt>
                <c:pt idx="10">
                  <c:v>Av Price/Unit 9.81</c:v>
                </c:pt>
                <c:pt idx="11">
                  <c:v>Av Price/Unit 5.73</c:v>
                </c:pt>
              </c:strCache>
            </c:strRef>
          </c:cat>
          <c:val>
            <c:numRef>
              <c:f>Sheet1!$C$2:$C$13</c:f>
              <c:numCache>
                <c:formatCode>General</c:formatCode>
                <c:ptCount val="12"/>
                <c:pt idx="0">
                  <c:v>2.5806389758315387</c:v>
                </c:pt>
                <c:pt idx="1">
                  <c:v>4.5780960637300847</c:v>
                </c:pt>
                <c:pt idx="2">
                  <c:v>3.1982522004632554</c:v>
                </c:pt>
                <c:pt idx="3">
                  <c:v>4.9746038241493524</c:v>
                </c:pt>
                <c:pt idx="4">
                  <c:v>7.6358725395732971</c:v>
                </c:pt>
                <c:pt idx="5">
                  <c:v>4.472195563860903</c:v>
                </c:pt>
                <c:pt idx="6">
                  <c:v>4.4574317504503034</c:v>
                </c:pt>
                <c:pt idx="7">
                  <c:v>5.3359750000000004</c:v>
                </c:pt>
                <c:pt idx="8">
                  <c:v>5.3179275495408405</c:v>
                </c:pt>
                <c:pt idx="9">
                  <c:v>4.8190850254983779</c:v>
                </c:pt>
                <c:pt idx="10">
                  <c:v>3.8182222707423579</c:v>
                </c:pt>
                <c:pt idx="11">
                  <c:v>2.450459427207637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0</c:v>
                </c:pt>
                <c:pt idx="1">
                  <c:v>Av Price/Unit 11.76</c:v>
                </c:pt>
                <c:pt idx="2">
                  <c:v>Av Price/Unit 9.08</c:v>
                </c:pt>
                <c:pt idx="3">
                  <c:v>Av Price/Unit 12.76</c:v>
                </c:pt>
                <c:pt idx="4">
                  <c:v>Av Price/Unit 17.41</c:v>
                </c:pt>
                <c:pt idx="5">
                  <c:v>Av Price/Unit 11.41</c:v>
                </c:pt>
                <c:pt idx="6">
                  <c:v>Av Price/Unit 11.26</c:v>
                </c:pt>
                <c:pt idx="7">
                  <c:v>Av Price/Unit 13.51</c:v>
                </c:pt>
                <c:pt idx="8">
                  <c:v>Av Price/Unit 13.82</c:v>
                </c:pt>
                <c:pt idx="9">
                  <c:v>Av Price/Unit 12.49</c:v>
                </c:pt>
                <c:pt idx="10">
                  <c:v>Av Price/Unit 9.81</c:v>
                </c:pt>
                <c:pt idx="11">
                  <c:v>Av Price/Unit 5.73</c:v>
                </c:pt>
              </c:strCache>
            </c:strRef>
          </c:cat>
          <c:val>
            <c:numRef>
              <c:f>Sheet1!$D$2:$D$13</c:f>
              <c:numCache>
                <c:formatCode>General</c:formatCode>
                <c:ptCount val="12"/>
                <c:pt idx="0">
                  <c:v>0.23019202041956</c:v>
                </c:pt>
                <c:pt idx="1">
                  <c:v>0.32392964698532012</c:v>
                </c:pt>
                <c:pt idx="2">
                  <c:v>0.38838163122060987</c:v>
                </c:pt>
                <c:pt idx="3">
                  <c:v>0.54009278329820454</c:v>
                </c:pt>
                <c:pt idx="4">
                  <c:v>0.39879632178634417</c:v>
                </c:pt>
                <c:pt idx="5">
                  <c:v>0.27728233127505142</c:v>
                </c:pt>
                <c:pt idx="6">
                  <c:v>0.27023207794334425</c:v>
                </c:pt>
                <c:pt idx="7">
                  <c:v>0.50908193027210835</c:v>
                </c:pt>
                <c:pt idx="8">
                  <c:v>0.54482274850974832</c:v>
                </c:pt>
                <c:pt idx="9">
                  <c:v>0.35665859990727711</c:v>
                </c:pt>
                <c:pt idx="10">
                  <c:v>0.3317987825856834</c:v>
                </c:pt>
                <c:pt idx="11">
                  <c:v>-0.2215095465393792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0</c:v>
                </c:pt>
                <c:pt idx="1">
                  <c:v>Av Price/Unit 11.76</c:v>
                </c:pt>
                <c:pt idx="2">
                  <c:v>Av Price/Unit 9.08</c:v>
                </c:pt>
                <c:pt idx="3">
                  <c:v>Av Price/Unit 12.76</c:v>
                </c:pt>
                <c:pt idx="4">
                  <c:v>Av Price/Unit 17.41</c:v>
                </c:pt>
                <c:pt idx="5">
                  <c:v>Av Price/Unit 11.41</c:v>
                </c:pt>
                <c:pt idx="6">
                  <c:v>Av Price/Unit 11.26</c:v>
                </c:pt>
                <c:pt idx="7">
                  <c:v>Av Price/Unit 13.51</c:v>
                </c:pt>
                <c:pt idx="8">
                  <c:v>Av Price/Unit 13.82</c:v>
                </c:pt>
                <c:pt idx="9">
                  <c:v>Av Price/Unit 12.49</c:v>
                </c:pt>
                <c:pt idx="10">
                  <c:v>Av Price/Unit 9.81</c:v>
                </c:pt>
                <c:pt idx="11">
                  <c:v>Av Price/Unit 5.73</c:v>
                </c:pt>
              </c:strCache>
            </c:strRef>
          </c:cat>
          <c:val>
            <c:numRef>
              <c:f>Sheet1!$E$2:$E$13</c:f>
              <c:numCache>
                <c:formatCode>General</c:formatCode>
                <c:ptCount val="12"/>
                <c:pt idx="0">
                  <c:v>1.2338039403366021</c:v>
                </c:pt>
                <c:pt idx="1">
                  <c:v>1.9605592002499197</c:v>
                </c:pt>
                <c:pt idx="2">
                  <c:v>1.5140204955429204</c:v>
                </c:pt>
                <c:pt idx="3">
                  <c:v>2.1272709023386525</c:v>
                </c:pt>
                <c:pt idx="4">
                  <c:v>2.9021182228339839</c:v>
                </c:pt>
                <c:pt idx="5">
                  <c:v>1.9021503629075931</c:v>
                </c:pt>
                <c:pt idx="6">
                  <c:v>1.8761257573276555</c:v>
                </c:pt>
                <c:pt idx="7">
                  <c:v>2.251009778911564</c:v>
                </c:pt>
                <c:pt idx="8">
                  <c:v>2.30296439503786</c:v>
                </c:pt>
                <c:pt idx="9">
                  <c:v>2.0813630041724616</c:v>
                </c:pt>
                <c:pt idx="10">
                  <c:v>1.6350403599311887</c:v>
                </c:pt>
                <c:pt idx="11">
                  <c:v>0.9556980906921240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0</c:v>
                </c:pt>
                <c:pt idx="1">
                  <c:v>Av Price/Unit 17.40</c:v>
                </c:pt>
                <c:pt idx="2">
                  <c:v>Av Price/Unit 12.80</c:v>
                </c:pt>
                <c:pt idx="3">
                  <c:v>Av Price/Unit 11.79</c:v>
                </c:pt>
                <c:pt idx="4">
                  <c:v>Av Price/Unit 11.10</c:v>
                </c:pt>
                <c:pt idx="5">
                  <c:v>Av Price/Unit 11.45</c:v>
                </c:pt>
                <c:pt idx="6">
                  <c:v>Av Price/Unit 9.13</c:v>
                </c:pt>
                <c:pt idx="7">
                  <c:v>Av Price/Unit 9.64</c:v>
                </c:pt>
                <c:pt idx="8">
                  <c:v>Av Price/Unit 5.70</c:v>
                </c:pt>
                <c:pt idx="9">
                  <c:v>Av Price/Unit 13.46</c:v>
                </c:pt>
                <c:pt idx="10">
                  <c:v>Av Price/Unit 13.87</c:v>
                </c:pt>
                <c:pt idx="11">
                  <c:v>Av Price/Unit 12.69</c:v>
                </c:pt>
              </c:strCache>
            </c:strRef>
          </c:cat>
          <c:val>
            <c:numRef>
              <c:f>Sheet1!$B$2:$B$13</c:f>
              <c:numCache>
                <c:formatCode>General</c:formatCode>
                <c:ptCount val="12"/>
                <c:pt idx="0">
                  <c:v>3.3595064651667124</c:v>
                </c:pt>
                <c:pt idx="1">
                  <c:v>6.4768171925754059</c:v>
                </c:pt>
                <c:pt idx="2">
                  <c:v>5.1136365788596194</c:v>
                </c:pt>
                <c:pt idx="3">
                  <c:v>4.899590288095669</c:v>
                </c:pt>
                <c:pt idx="4">
                  <c:v>4.627658666666667</c:v>
                </c:pt>
                <c:pt idx="5">
                  <c:v>4.7500028552005444</c:v>
                </c:pt>
                <c:pt idx="6">
                  <c:v>3.9934357991803271</c:v>
                </c:pt>
                <c:pt idx="7">
                  <c:v>2.8762188118811873</c:v>
                </c:pt>
                <c:pt idx="8">
                  <c:v>2.5466896833503574</c:v>
                </c:pt>
                <c:pt idx="9">
                  <c:v>5.3617229166666682</c:v>
                </c:pt>
                <c:pt idx="10">
                  <c:v>5.6543345528455289</c:v>
                </c:pt>
                <c:pt idx="11">
                  <c:v>5.208112692763938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0</c:v>
                </c:pt>
                <c:pt idx="1">
                  <c:v>Av Price/Unit 17.40</c:v>
                </c:pt>
                <c:pt idx="2">
                  <c:v>Av Price/Unit 12.80</c:v>
                </c:pt>
                <c:pt idx="3">
                  <c:v>Av Price/Unit 11.79</c:v>
                </c:pt>
                <c:pt idx="4">
                  <c:v>Av Price/Unit 11.10</c:v>
                </c:pt>
                <c:pt idx="5">
                  <c:v>Av Price/Unit 11.45</c:v>
                </c:pt>
                <c:pt idx="6">
                  <c:v>Av Price/Unit 9.13</c:v>
                </c:pt>
                <c:pt idx="7">
                  <c:v>Av Price/Unit 9.64</c:v>
                </c:pt>
                <c:pt idx="8">
                  <c:v>Av Price/Unit 5.70</c:v>
                </c:pt>
                <c:pt idx="9">
                  <c:v>Av Price/Unit 13.46</c:v>
                </c:pt>
                <c:pt idx="10">
                  <c:v>Av Price/Unit 13.87</c:v>
                </c:pt>
                <c:pt idx="11">
                  <c:v>Av Price/Unit 12.69</c:v>
                </c:pt>
              </c:strCache>
            </c:strRef>
          </c:cat>
          <c:val>
            <c:numRef>
              <c:f>Sheet1!$C$2:$C$13</c:f>
              <c:numCache>
                <c:formatCode>General</c:formatCode>
                <c:ptCount val="12"/>
                <c:pt idx="0">
                  <c:v>2.5816106804011927</c:v>
                </c:pt>
                <c:pt idx="1">
                  <c:v>7.6250774013921108</c:v>
                </c:pt>
                <c:pt idx="2">
                  <c:v>4.9633659553184399</c:v>
                </c:pt>
                <c:pt idx="3">
                  <c:v>4.5771337923536866</c:v>
                </c:pt>
                <c:pt idx="4">
                  <c:v>4.4550426666666665</c:v>
                </c:pt>
                <c:pt idx="5">
                  <c:v>4.4609646498980284</c:v>
                </c:pt>
                <c:pt idx="6">
                  <c:v>3.2064048975409838</c:v>
                </c:pt>
                <c:pt idx="7">
                  <c:v>5.1893005429575219</c:v>
                </c:pt>
                <c:pt idx="8">
                  <c:v>2.4533103166496426</c:v>
                </c:pt>
                <c:pt idx="9">
                  <c:v>5.3155666666666672</c:v>
                </c:pt>
                <c:pt idx="10">
                  <c:v>5.3112178861788619</c:v>
                </c:pt>
                <c:pt idx="11">
                  <c:v>4.802998279952550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0</c:v>
                </c:pt>
                <c:pt idx="1">
                  <c:v>Av Price/Unit 17.40</c:v>
                </c:pt>
                <c:pt idx="2">
                  <c:v>Av Price/Unit 12.80</c:v>
                </c:pt>
                <c:pt idx="3">
                  <c:v>Av Price/Unit 11.79</c:v>
                </c:pt>
                <c:pt idx="4">
                  <c:v>Av Price/Unit 11.10</c:v>
                </c:pt>
                <c:pt idx="5">
                  <c:v>Av Price/Unit 11.45</c:v>
                </c:pt>
                <c:pt idx="6">
                  <c:v>Av Price/Unit 9.13</c:v>
                </c:pt>
                <c:pt idx="7">
                  <c:v>Av Price/Unit 9.64</c:v>
                </c:pt>
                <c:pt idx="8">
                  <c:v>Av Price/Unit 5.70</c:v>
                </c:pt>
                <c:pt idx="9">
                  <c:v>Av Price/Unit 13.46</c:v>
                </c:pt>
                <c:pt idx="10">
                  <c:v>Av Price/Unit 13.87</c:v>
                </c:pt>
                <c:pt idx="11">
                  <c:v>Av Price/Unit 12.69</c:v>
                </c:pt>
              </c:strCache>
            </c:strRef>
          </c:cat>
          <c:val>
            <c:numRef>
              <c:f>Sheet1!$D$2:$D$13</c:f>
              <c:numCache>
                <c:formatCode>General</c:formatCode>
                <c:ptCount val="12"/>
                <c:pt idx="0">
                  <c:v>0.22722115749525429</c:v>
                </c:pt>
                <c:pt idx="1">
                  <c:v>0.40100563805104805</c:v>
                </c:pt>
                <c:pt idx="2">
                  <c:v>0.59290045570745953</c:v>
                </c:pt>
                <c:pt idx="3">
                  <c:v>0.34782804251978128</c:v>
                </c:pt>
                <c:pt idx="4">
                  <c:v>0.16456155555555441</c:v>
                </c:pt>
                <c:pt idx="5">
                  <c:v>0.33204933907394896</c:v>
                </c:pt>
                <c:pt idx="6">
                  <c:v>0.40859509562841634</c:v>
                </c:pt>
                <c:pt idx="7">
                  <c:v>-2.9481880123494619E-2</c:v>
                </c:pt>
                <c:pt idx="8">
                  <c:v>-0.24821246169560851</c:v>
                </c:pt>
                <c:pt idx="9">
                  <c:v>0.54258306878307039</c:v>
                </c:pt>
                <c:pt idx="10">
                  <c:v>0.58932560975609682</c:v>
                </c:pt>
                <c:pt idx="11">
                  <c:v>0.5632267101621231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0</c:v>
                </c:pt>
                <c:pt idx="1">
                  <c:v>Av Price/Unit 17.40</c:v>
                </c:pt>
                <c:pt idx="2">
                  <c:v>Av Price/Unit 12.80</c:v>
                </c:pt>
                <c:pt idx="3">
                  <c:v>Av Price/Unit 11.79</c:v>
                </c:pt>
                <c:pt idx="4">
                  <c:v>Av Price/Unit 11.10</c:v>
                </c:pt>
                <c:pt idx="5">
                  <c:v>Av Price/Unit 11.45</c:v>
                </c:pt>
                <c:pt idx="6">
                  <c:v>Av Price/Unit 9.13</c:v>
                </c:pt>
                <c:pt idx="7">
                  <c:v>Av Price/Unit 9.64</c:v>
                </c:pt>
                <c:pt idx="8">
                  <c:v>Av Price/Unit 5.70</c:v>
                </c:pt>
                <c:pt idx="9">
                  <c:v>Av Price/Unit 13.46</c:v>
                </c:pt>
                <c:pt idx="10">
                  <c:v>Av Price/Unit 13.87</c:v>
                </c:pt>
                <c:pt idx="11">
                  <c:v>Av Price/Unit 12.69</c:v>
                </c:pt>
              </c:strCache>
            </c:strRef>
          </c:cat>
          <c:val>
            <c:numRef>
              <c:f>Sheet1!$E$2:$E$13</c:f>
              <c:numCache>
                <c:formatCode>General</c:formatCode>
                <c:ptCount val="12"/>
                <c:pt idx="0">
                  <c:v>1.2336676606126331</c:v>
                </c:pt>
                <c:pt idx="1">
                  <c:v>2.900580046403709</c:v>
                </c:pt>
                <c:pt idx="2">
                  <c:v>2.1339891074802697</c:v>
                </c:pt>
                <c:pt idx="3">
                  <c:v>1.9649091018904381</c:v>
                </c:pt>
                <c:pt idx="4">
                  <c:v>1.8494444444444433</c:v>
                </c:pt>
                <c:pt idx="5">
                  <c:v>1.9086033688345052</c:v>
                </c:pt>
                <c:pt idx="6">
                  <c:v>1.5216871584699443</c:v>
                </c:pt>
                <c:pt idx="7">
                  <c:v>1.6072074949430419</c:v>
                </c:pt>
                <c:pt idx="8">
                  <c:v>0.95035750766087923</c:v>
                </c:pt>
                <c:pt idx="9">
                  <c:v>2.2439649470899465</c:v>
                </c:pt>
                <c:pt idx="10">
                  <c:v>2.3109756097560976</c:v>
                </c:pt>
                <c:pt idx="11">
                  <c:v>2.114867536575720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03</c:v>
                </c:pt>
                <c:pt idx="1">
                  <c:v>Av Price/Unit 11.38</c:v>
                </c:pt>
                <c:pt idx="2">
                  <c:v>Av Price/Unit 34.19</c:v>
                </c:pt>
                <c:pt idx="3">
                  <c:v>Av Price/Unit 9.33</c:v>
                </c:pt>
                <c:pt idx="4">
                  <c:v>Av Price/Unit 18.02</c:v>
                </c:pt>
              </c:strCache>
            </c:strRef>
          </c:cat>
          <c:val>
            <c:numRef>
              <c:f>Sheet1!$B$2:$B$6</c:f>
              <c:numCache>
                <c:formatCode>General</c:formatCode>
                <c:ptCount val="5"/>
                <c:pt idx="0">
                  <c:v>15.338200000000001</c:v>
                </c:pt>
                <c:pt idx="1">
                  <c:v>4.1383000000000001</c:v>
                </c:pt>
                <c:pt idx="2">
                  <c:v>18.077500000000001</c:v>
                </c:pt>
                <c:pt idx="3">
                  <c:v>4.998366389099167</c:v>
                </c:pt>
                <c:pt idx="4">
                  <c:v>9.861599999999999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03</c:v>
                </c:pt>
                <c:pt idx="1">
                  <c:v>Av Price/Unit 11.38</c:v>
                </c:pt>
                <c:pt idx="2">
                  <c:v>Av Price/Unit 34.19</c:v>
                </c:pt>
                <c:pt idx="3">
                  <c:v>Av Price/Unit 9.33</c:v>
                </c:pt>
                <c:pt idx="4">
                  <c:v>Av Price/Unit 18.02</c:v>
                </c:pt>
              </c:strCache>
            </c:strRef>
          </c:cat>
          <c:val>
            <c:numRef>
              <c:f>Sheet1!$C$2:$C$6</c:f>
              <c:numCache>
                <c:formatCode>General</c:formatCode>
                <c:ptCount val="5"/>
                <c:pt idx="0">
                  <c:v>12.150000000000002</c:v>
                </c:pt>
                <c:pt idx="1">
                  <c:v>6.8570000000000002</c:v>
                </c:pt>
                <c:pt idx="2">
                  <c:v>14.149999999999997</c:v>
                </c:pt>
                <c:pt idx="3">
                  <c:v>3.0376398940196818</c:v>
                </c:pt>
                <c:pt idx="4">
                  <c:v>7.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03</c:v>
                </c:pt>
                <c:pt idx="1">
                  <c:v>Av Price/Unit 11.38</c:v>
                </c:pt>
                <c:pt idx="2">
                  <c:v>Av Price/Unit 34.19</c:v>
                </c:pt>
                <c:pt idx="3">
                  <c:v>Av Price/Unit 9.33</c:v>
                </c:pt>
                <c:pt idx="4">
                  <c:v>Av Price/Unit 18.02</c:v>
                </c:pt>
              </c:strCache>
            </c:strRef>
          </c:cat>
          <c:val>
            <c:numRef>
              <c:f>Sheet1!$D$2:$D$6</c:f>
              <c:numCache>
                <c:formatCode>General</c:formatCode>
                <c:ptCount val="5"/>
                <c:pt idx="0">
                  <c:v>-3.2995476467734051</c:v>
                </c:pt>
                <c:pt idx="1">
                  <c:v>-1.5238724846603091</c:v>
                </c:pt>
                <c:pt idx="2">
                  <c:v>-3.7321948356807475</c:v>
                </c:pt>
                <c:pt idx="3">
                  <c:v>-0.26411630078223514</c:v>
                </c:pt>
                <c:pt idx="4">
                  <c:v>-2.043390916880891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03</c:v>
                </c:pt>
                <c:pt idx="1">
                  <c:v>Av Price/Unit 11.38</c:v>
                </c:pt>
                <c:pt idx="2">
                  <c:v>Av Price/Unit 34.19</c:v>
                </c:pt>
                <c:pt idx="3">
                  <c:v>Av Price/Unit 9.33</c:v>
                </c:pt>
                <c:pt idx="4">
                  <c:v>Av Price/Unit 18.02</c:v>
                </c:pt>
              </c:strCache>
            </c:strRef>
          </c:cat>
          <c:val>
            <c:numRef>
              <c:f>Sheet1!$E$2:$E$6</c:f>
              <c:numCache>
                <c:formatCode>General</c:formatCode>
                <c:ptCount val="5"/>
                <c:pt idx="0">
                  <c:v>4.8377304706453161</c:v>
                </c:pt>
                <c:pt idx="1">
                  <c:v>1.8942855030679386</c:v>
                </c:pt>
                <c:pt idx="2">
                  <c:v>5.699061032863848</c:v>
                </c:pt>
                <c:pt idx="3">
                  <c:v>1.5543779964673219</c:v>
                </c:pt>
                <c:pt idx="4">
                  <c:v>3.003641816623820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E6E5E5"/>
              </a:solidFill>
            </c:spPr>
            <c:extLst>
              <c:ext xmlns:c16="http://schemas.microsoft.com/office/drawing/2014/chart" uri="{C3380CC4-5D6E-409C-BE32-E72D297353CC}">
                <c16:uniqueId val="{00000005-CFF5-4D9B-9947-2A90D7752FBB}"/>
              </c:ext>
            </c:extLst>
          </c:dPt>
          <c:dPt>
            <c:idx val="3"/>
            <c:invertIfNegative val="0"/>
            <c:bubble3D val="0"/>
            <c:spPr>
              <a:solidFill>
                <a:srgbClr val="E6E5E5"/>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7ECAC4"/>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0878F5F8-E423-4652-BC0F-53D7EDFFC2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56AE5876-ED1F-4F96-AF99-D4A8DB2A31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738FD1C-0ABD-47D3-A2B6-439F1C6E92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35CC9C78-BC50-4AFD-A3C4-D79E9A8D49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3A4A806D-8C03-4F09-8FF4-B5BED20D9F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085F8A0-F136-4954-A692-1A879CDDEE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6449F974-A43B-48A4-85C5-2D8AC0C8B4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8161F09B-44B6-421E-92BB-832B285378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9.6928999999999998</c:v>
                </c:pt>
                <c:pt idx="1">
                  <c:v>9.2988</c:v>
                </c:pt>
                <c:pt idx="2">
                  <c:v>9.5680999999999994</c:v>
                </c:pt>
                <c:pt idx="3">
                  <c:v>9.6983999999999995</c:v>
                </c:pt>
                <c:pt idx="4">
                  <c:v>9.5434000000000001</c:v>
                </c:pt>
              </c:numCache>
            </c:numRef>
          </c:xVal>
          <c:yVal>
            <c:numRef>
              <c:f>Sheet1!$B$2:$B$6</c:f>
              <c:numCache>
                <c:formatCode>General</c:formatCode>
                <c:ptCount val="5"/>
                <c:pt idx="0">
                  <c:v>0.54390000000000005</c:v>
                </c:pt>
                <c:pt idx="1">
                  <c:v>0.53820000000000001</c:v>
                </c:pt>
                <c:pt idx="2">
                  <c:v>0.54500000000000004</c:v>
                </c:pt>
                <c:pt idx="3">
                  <c:v>0.54330000000000001</c:v>
                </c:pt>
                <c:pt idx="4">
                  <c:v>0.5444</c:v>
                </c:pt>
              </c:numCache>
            </c:numRef>
          </c:yVal>
          <c:bubbleSize>
            <c:numRef>
              <c:f>Sheet1!$C$2:$C$6</c:f>
              <c:numCache>
                <c:formatCode>General</c:formatCode>
                <c:ptCount val="5"/>
                <c:pt idx="0">
                  <c:v>74092.636299999984</c:v>
                </c:pt>
                <c:pt idx="1">
                  <c:v>70335.78250000003</c:v>
                </c:pt>
                <c:pt idx="2">
                  <c:v>666941.9177999997</c:v>
                </c:pt>
                <c:pt idx="3">
                  <c:v>155533.24069999999</c:v>
                </c:pt>
                <c:pt idx="4">
                  <c:v>241667.2035</c:v>
                </c:pt>
              </c:numCache>
            </c:numRef>
          </c:bubbleSize>
          <c:bubble3D val="0"/>
          <c:extLst>
            <c:ext xmlns:c15="http://schemas.microsoft.com/office/drawing/2012/chart" uri="{02D57815-91ED-43cb-92C2-25804820EDAC}">
              <c15:datalabelsRange>
                <c15:f>Sheet1!$E$2:$E$29</c15:f>
                <c15:dlblRangeCache>
                  <c:ptCount val="28"/>
                  <c:pt idx="0">
                    <c:v>NICOLAS QCA</c:v>
                  </c:pt>
                  <c:pt idx="1">
                    <c:v>NICOLAS CCP</c:v>
                  </c:pt>
                  <c:pt idx="2">
                    <c:v>NICOLAS QCN</c:v>
                  </c:pt>
                  <c:pt idx="3">
                    <c:v>NICOLAS QCT</c:v>
                  </c:pt>
                  <c:pt idx="4">
                    <c:v>NICOLAS VCN</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1.638079999999999"/>
          <c:min val="7.4390400000000003"/>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54419806761207778"/>
        <c:crossBetween val="midCat"/>
      </c:valAx>
      <c:valAx>
        <c:axId val="1011451359"/>
        <c:scaling>
          <c:orientation val="minMax"/>
          <c:max val="1.014"/>
          <c:min val="0.19056000000000003"/>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9.571907916088045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1</c:v>
                </c:pt>
                <c:pt idx="1">
                  <c:v>Av Price/Unit 11.39</c:v>
                </c:pt>
                <c:pt idx="2">
                  <c:v>Av Price/Unit 34.59</c:v>
                </c:pt>
                <c:pt idx="3">
                  <c:v>Av Price/Unit 9.36</c:v>
                </c:pt>
                <c:pt idx="4">
                  <c:v>Av Price/Unit 18.19</c:v>
                </c:pt>
              </c:strCache>
            </c:strRef>
          </c:cat>
          <c:val>
            <c:numRef>
              <c:f>Sheet1!$B$2:$B$6</c:f>
              <c:numCache>
                <c:formatCode>General</c:formatCode>
                <c:ptCount val="5"/>
                <c:pt idx="0">
                  <c:v>15.338199999999992</c:v>
                </c:pt>
                <c:pt idx="1">
                  <c:v>4.1382999999999983</c:v>
                </c:pt>
                <c:pt idx="2">
                  <c:v>18.077499999999997</c:v>
                </c:pt>
                <c:pt idx="3">
                  <c:v>5.0284444681228928</c:v>
                </c:pt>
                <c:pt idx="4">
                  <c:v>9.861599999999999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1</c:v>
                </c:pt>
                <c:pt idx="1">
                  <c:v>Av Price/Unit 11.39</c:v>
                </c:pt>
                <c:pt idx="2">
                  <c:v>Av Price/Unit 34.59</c:v>
                </c:pt>
                <c:pt idx="3">
                  <c:v>Av Price/Unit 9.36</c:v>
                </c:pt>
                <c:pt idx="4">
                  <c:v>Av Price/Unit 18.19</c:v>
                </c:pt>
              </c:strCache>
            </c:strRef>
          </c:cat>
          <c:val>
            <c:numRef>
              <c:f>Sheet1!$C$2:$C$6</c:f>
              <c:numCache>
                <c:formatCode>General</c:formatCode>
                <c:ptCount val="5"/>
                <c:pt idx="0">
                  <c:v>12.150000000000006</c:v>
                </c:pt>
                <c:pt idx="1">
                  <c:v>6.8570000000000011</c:v>
                </c:pt>
                <c:pt idx="2">
                  <c:v>14.150000000000002</c:v>
                </c:pt>
                <c:pt idx="3">
                  <c:v>3.0521788847451607</c:v>
                </c:pt>
                <c:pt idx="4">
                  <c:v>7.20000000000000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1</c:v>
                </c:pt>
                <c:pt idx="1">
                  <c:v>Av Price/Unit 11.39</c:v>
                </c:pt>
                <c:pt idx="2">
                  <c:v>Av Price/Unit 34.59</c:v>
                </c:pt>
                <c:pt idx="3">
                  <c:v>Av Price/Unit 9.36</c:v>
                </c:pt>
                <c:pt idx="4">
                  <c:v>Av Price/Unit 18.19</c:v>
                </c:pt>
              </c:strCache>
            </c:strRef>
          </c:cat>
          <c:val>
            <c:numRef>
              <c:f>Sheet1!$D$2:$D$6</c:f>
              <c:numCache>
                <c:formatCode>General</c:formatCode>
                <c:ptCount val="5"/>
                <c:pt idx="0">
                  <c:v>-3.232290581017697</c:v>
                </c:pt>
                <c:pt idx="1">
                  <c:v>-1.5129862033379595</c:v>
                </c:pt>
                <c:pt idx="2">
                  <c:v>-3.4043728956229025</c:v>
                </c:pt>
                <c:pt idx="3">
                  <c:v>-0.27946310898005589</c:v>
                </c:pt>
                <c:pt idx="4">
                  <c:v>-1.899630925817186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1</c:v>
                </c:pt>
                <c:pt idx="1">
                  <c:v>Av Price/Unit 11.39</c:v>
                </c:pt>
                <c:pt idx="2">
                  <c:v>Av Price/Unit 34.59</c:v>
                </c:pt>
                <c:pt idx="3">
                  <c:v>Av Price/Unit 9.36</c:v>
                </c:pt>
                <c:pt idx="4">
                  <c:v>Av Price/Unit 18.19</c:v>
                </c:pt>
              </c:strCache>
            </c:strRef>
          </c:cat>
          <c:val>
            <c:numRef>
              <c:f>Sheet1!$E$2:$E$6</c:f>
              <c:numCache>
                <c:formatCode>General</c:formatCode>
                <c:ptCount val="5"/>
                <c:pt idx="0">
                  <c:v>4.8511818837964631</c:v>
                </c:pt>
                <c:pt idx="1">
                  <c:v>1.8964627593324055</c:v>
                </c:pt>
                <c:pt idx="2">
                  <c:v>5.7646254208754151</c:v>
                </c:pt>
                <c:pt idx="3">
                  <c:v>1.5602320487776011</c:v>
                </c:pt>
                <c:pt idx="4">
                  <c:v>3.032393814836565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07</c:v>
                </c:pt>
                <c:pt idx="1">
                  <c:v>Av Price/Unit 11.32</c:v>
                </c:pt>
                <c:pt idx="2">
                  <c:v>Av Price/Unit 9.31</c:v>
                </c:pt>
                <c:pt idx="3">
                  <c:v>Av Price/Unit 34.41</c:v>
                </c:pt>
                <c:pt idx="4">
                  <c:v>Av Price/Unit 18.13</c:v>
                </c:pt>
              </c:strCache>
            </c:strRef>
          </c:cat>
          <c:val>
            <c:numRef>
              <c:f>Sheet1!$B$2:$B$6</c:f>
              <c:numCache>
                <c:formatCode>General</c:formatCode>
                <c:ptCount val="5"/>
                <c:pt idx="0">
                  <c:v>15.338200000000002</c:v>
                </c:pt>
                <c:pt idx="1">
                  <c:v>4.1383000000000001</c:v>
                </c:pt>
                <c:pt idx="2">
                  <c:v>5.0616434852118308</c:v>
                </c:pt>
                <c:pt idx="3">
                  <c:v>18.077500000000001</c:v>
                </c:pt>
                <c:pt idx="4">
                  <c:v>9.861599999999999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07</c:v>
                </c:pt>
                <c:pt idx="1">
                  <c:v>Av Price/Unit 11.32</c:v>
                </c:pt>
                <c:pt idx="2">
                  <c:v>Av Price/Unit 9.31</c:v>
                </c:pt>
                <c:pt idx="3">
                  <c:v>Av Price/Unit 34.41</c:v>
                </c:pt>
                <c:pt idx="4">
                  <c:v>Av Price/Unit 18.13</c:v>
                </c:pt>
              </c:strCache>
            </c:strRef>
          </c:cat>
          <c:val>
            <c:numRef>
              <c:f>Sheet1!$C$2:$C$6</c:f>
              <c:numCache>
                <c:formatCode>General</c:formatCode>
                <c:ptCount val="5"/>
                <c:pt idx="0">
                  <c:v>12.15</c:v>
                </c:pt>
                <c:pt idx="1">
                  <c:v>6.8569999999999993</c:v>
                </c:pt>
                <c:pt idx="2">
                  <c:v>3.0682264588329335</c:v>
                </c:pt>
                <c:pt idx="3">
                  <c:v>14.150000000000002</c:v>
                </c:pt>
                <c:pt idx="4">
                  <c:v>7.199999999999999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07</c:v>
                </c:pt>
                <c:pt idx="1">
                  <c:v>Av Price/Unit 11.32</c:v>
                </c:pt>
                <c:pt idx="2">
                  <c:v>Av Price/Unit 9.31</c:v>
                </c:pt>
                <c:pt idx="3">
                  <c:v>Av Price/Unit 34.41</c:v>
                </c:pt>
                <c:pt idx="4">
                  <c:v>Av Price/Unit 18.13</c:v>
                </c:pt>
              </c:strCache>
            </c:strRef>
          </c:cat>
          <c:val>
            <c:numRef>
              <c:f>Sheet1!$D$2:$D$6</c:f>
              <c:numCache>
                <c:formatCode>General</c:formatCode>
                <c:ptCount val="5"/>
                <c:pt idx="0">
                  <c:v>-3.2601002063402724</c:v>
                </c:pt>
                <c:pt idx="1">
                  <c:v>-1.527674100719425</c:v>
                </c:pt>
                <c:pt idx="2">
                  <c:v>-0.37074391153743669</c:v>
                </c:pt>
                <c:pt idx="3">
                  <c:v>-3.5522011952191157</c:v>
                </c:pt>
                <c:pt idx="4">
                  <c:v>-1.955637356321837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07</c:v>
                </c:pt>
                <c:pt idx="1">
                  <c:v>Av Price/Unit 11.32</c:v>
                </c:pt>
                <c:pt idx="2">
                  <c:v>Av Price/Unit 9.31</c:v>
                </c:pt>
                <c:pt idx="3">
                  <c:v>Av Price/Unit 34.41</c:v>
                </c:pt>
                <c:pt idx="4">
                  <c:v>Av Price/Unit 18.13</c:v>
                </c:pt>
              </c:strCache>
            </c:strRef>
          </c:cat>
          <c:val>
            <c:numRef>
              <c:f>Sheet1!$E$2:$E$6</c:f>
              <c:numCache>
                <c:formatCode>General</c:formatCode>
                <c:ptCount val="5"/>
                <c:pt idx="0">
                  <c:v>4.8456199587319482</c:v>
                </c:pt>
                <c:pt idx="1">
                  <c:v>1.8935251798561135</c:v>
                </c:pt>
                <c:pt idx="2">
                  <c:v>1.5518252065014646</c:v>
                </c:pt>
                <c:pt idx="3">
                  <c:v>5.7350597609561751</c:v>
                </c:pt>
                <c:pt idx="4">
                  <c:v>3.02119252873563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3</c:v>
                </c:pt>
                <c:pt idx="1">
                  <c:v>Av Price/Unit 11.43</c:v>
                </c:pt>
                <c:pt idx="2">
                  <c:v>Av Price/Unit 34.79</c:v>
                </c:pt>
                <c:pt idx="3">
                  <c:v>Av Price/Unit 9.39</c:v>
                </c:pt>
                <c:pt idx="4">
                  <c:v>Av Price/Unit 18.37</c:v>
                </c:pt>
              </c:strCache>
            </c:strRef>
          </c:cat>
          <c:val>
            <c:numRef>
              <c:f>Sheet1!$B$2:$B$6</c:f>
              <c:numCache>
                <c:formatCode>General</c:formatCode>
                <c:ptCount val="5"/>
                <c:pt idx="0">
                  <c:v>15.338199999999999</c:v>
                </c:pt>
                <c:pt idx="1">
                  <c:v>4.1383000000000001</c:v>
                </c:pt>
                <c:pt idx="2">
                  <c:v>18.077500000000001</c:v>
                </c:pt>
                <c:pt idx="3">
                  <c:v>5.0509795918367342</c:v>
                </c:pt>
                <c:pt idx="4">
                  <c:v>9.861599999999999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3</c:v>
                </c:pt>
                <c:pt idx="1">
                  <c:v>Av Price/Unit 11.43</c:v>
                </c:pt>
                <c:pt idx="2">
                  <c:v>Av Price/Unit 34.79</c:v>
                </c:pt>
                <c:pt idx="3">
                  <c:v>Av Price/Unit 9.39</c:v>
                </c:pt>
                <c:pt idx="4">
                  <c:v>Av Price/Unit 18.37</c:v>
                </c:pt>
              </c:strCache>
            </c:strRef>
          </c:cat>
          <c:val>
            <c:numRef>
              <c:f>Sheet1!$C$2:$C$6</c:f>
              <c:numCache>
                <c:formatCode>General</c:formatCode>
                <c:ptCount val="5"/>
                <c:pt idx="0">
                  <c:v>12.15</c:v>
                </c:pt>
                <c:pt idx="1">
                  <c:v>6.8570000000000002</c:v>
                </c:pt>
                <c:pt idx="2">
                  <c:v>14.150000000000002</c:v>
                </c:pt>
                <c:pt idx="3">
                  <c:v>3.0630717996289425</c:v>
                </c:pt>
                <c:pt idx="4">
                  <c:v>7.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3</c:v>
                </c:pt>
                <c:pt idx="1">
                  <c:v>Av Price/Unit 11.43</c:v>
                </c:pt>
                <c:pt idx="2">
                  <c:v>Av Price/Unit 34.79</c:v>
                </c:pt>
                <c:pt idx="3">
                  <c:v>Av Price/Unit 9.39</c:v>
                </c:pt>
                <c:pt idx="4">
                  <c:v>Av Price/Unit 18.37</c:v>
                </c:pt>
              </c:strCache>
            </c:strRef>
          </c:cat>
          <c:val>
            <c:numRef>
              <c:f>Sheet1!$D$2:$D$6</c:f>
              <c:numCache>
                <c:formatCode>General</c:formatCode>
                <c:ptCount val="5"/>
                <c:pt idx="0">
                  <c:v>-3.2120762405137206</c:v>
                </c:pt>
                <c:pt idx="1">
                  <c:v>-1.5786333333333307</c:v>
                </c:pt>
                <c:pt idx="2">
                  <c:v>-3.2370238095238051</c:v>
                </c:pt>
                <c:pt idx="3">
                  <c:v>-0.28937606679035088</c:v>
                </c:pt>
                <c:pt idx="4">
                  <c:v>-1.754308333333330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3</c:v>
                </c:pt>
                <c:pt idx="1">
                  <c:v>Av Price/Unit 11.43</c:v>
                </c:pt>
                <c:pt idx="2">
                  <c:v>Av Price/Unit 34.79</c:v>
                </c:pt>
                <c:pt idx="3">
                  <c:v>Av Price/Unit 9.39</c:v>
                </c:pt>
                <c:pt idx="4">
                  <c:v>Av Price/Unit 18.37</c:v>
                </c:pt>
              </c:strCache>
            </c:strRef>
          </c:cat>
          <c:val>
            <c:numRef>
              <c:f>Sheet1!$E$2:$E$6</c:f>
              <c:numCache>
                <c:formatCode>General</c:formatCode>
                <c:ptCount val="5"/>
                <c:pt idx="0">
                  <c:v>4.8552247518972544</c:v>
                </c:pt>
                <c:pt idx="1">
                  <c:v>1.8833333333333326</c:v>
                </c:pt>
                <c:pt idx="2">
                  <c:v>5.7980952380952342</c:v>
                </c:pt>
                <c:pt idx="3">
                  <c:v>1.5649350649350648</c:v>
                </c:pt>
                <c:pt idx="4">
                  <c:v>3.061458333333331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1</c:v>
                </c:pt>
                <c:pt idx="1">
                  <c:v>Av Price/Unit 34.46</c:v>
                </c:pt>
                <c:pt idx="2">
                  <c:v>Av Price/Unit 11.43</c:v>
                </c:pt>
                <c:pt idx="3">
                  <c:v>Av Price/Unit 9.47</c:v>
                </c:pt>
                <c:pt idx="4">
                  <c:v>Av Price/Unit 18.42</c:v>
                </c:pt>
              </c:strCache>
            </c:strRef>
          </c:cat>
          <c:val>
            <c:numRef>
              <c:f>Sheet1!$B$2:$B$6</c:f>
              <c:numCache>
                <c:formatCode>General</c:formatCode>
                <c:ptCount val="5"/>
                <c:pt idx="0">
                  <c:v>15.338200000000001</c:v>
                </c:pt>
                <c:pt idx="1">
                  <c:v>18.077499999999997</c:v>
                </c:pt>
                <c:pt idx="2">
                  <c:v>4.1383000000000001</c:v>
                </c:pt>
                <c:pt idx="3">
                  <c:v>5.0479965277777783</c:v>
                </c:pt>
                <c:pt idx="4">
                  <c:v>9.861599999999999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1</c:v>
                </c:pt>
                <c:pt idx="1">
                  <c:v>Av Price/Unit 34.46</c:v>
                </c:pt>
                <c:pt idx="2">
                  <c:v>Av Price/Unit 11.43</c:v>
                </c:pt>
                <c:pt idx="3">
                  <c:v>Av Price/Unit 9.47</c:v>
                </c:pt>
                <c:pt idx="4">
                  <c:v>Av Price/Unit 18.42</c:v>
                </c:pt>
              </c:strCache>
            </c:strRef>
          </c:cat>
          <c:val>
            <c:numRef>
              <c:f>Sheet1!$C$2:$C$6</c:f>
              <c:numCache>
                <c:formatCode>General</c:formatCode>
                <c:ptCount val="5"/>
                <c:pt idx="0">
                  <c:v>12.150000000000002</c:v>
                </c:pt>
                <c:pt idx="1">
                  <c:v>14.150000000000002</c:v>
                </c:pt>
                <c:pt idx="2">
                  <c:v>6.8570000000000011</c:v>
                </c:pt>
                <c:pt idx="3">
                  <c:v>3.0616298611111112</c:v>
                </c:pt>
                <c:pt idx="4">
                  <c:v>7.199999999999999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1</c:v>
                </c:pt>
                <c:pt idx="1">
                  <c:v>Av Price/Unit 34.46</c:v>
                </c:pt>
                <c:pt idx="2">
                  <c:v>Av Price/Unit 11.43</c:v>
                </c:pt>
                <c:pt idx="3">
                  <c:v>Av Price/Unit 9.47</c:v>
                </c:pt>
                <c:pt idx="4">
                  <c:v>Av Price/Unit 18.42</c:v>
                </c:pt>
              </c:strCache>
            </c:strRef>
          </c:cat>
          <c:val>
            <c:numRef>
              <c:f>Sheet1!$D$2:$D$6</c:f>
              <c:numCache>
                <c:formatCode>General</c:formatCode>
                <c:ptCount val="5"/>
                <c:pt idx="0">
                  <c:v>-3.2294744156260045</c:v>
                </c:pt>
                <c:pt idx="1">
                  <c:v>-3.5147340425531794</c:v>
                </c:pt>
                <c:pt idx="2">
                  <c:v>-1.4148940671350516</c:v>
                </c:pt>
                <c:pt idx="3">
                  <c:v>-0.21900138888888776</c:v>
                </c:pt>
                <c:pt idx="4">
                  <c:v>-1.712137634408598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1</c:v>
                </c:pt>
                <c:pt idx="1">
                  <c:v>Av Price/Unit 34.46</c:v>
                </c:pt>
                <c:pt idx="2">
                  <c:v>Av Price/Unit 11.43</c:v>
                </c:pt>
                <c:pt idx="3">
                  <c:v>Av Price/Unit 9.47</c:v>
                </c:pt>
                <c:pt idx="4">
                  <c:v>Av Price/Unit 18.42</c:v>
                </c:pt>
              </c:strCache>
            </c:strRef>
          </c:cat>
          <c:val>
            <c:numRef>
              <c:f>Sheet1!$E$2:$E$6</c:f>
              <c:numCache>
                <c:formatCode>General</c:formatCode>
                <c:ptCount val="5"/>
                <c:pt idx="0">
                  <c:v>4.8517451168748007</c:v>
                </c:pt>
                <c:pt idx="1">
                  <c:v>5.7425531914893577</c:v>
                </c:pt>
                <c:pt idx="2">
                  <c:v>1.9160811865729885</c:v>
                </c:pt>
                <c:pt idx="3">
                  <c:v>1.5781249999999984</c:v>
                </c:pt>
                <c:pt idx="4">
                  <c:v>3.069892473118278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9</c:v>
                </c:pt>
                <c:pt idx="1">
                  <c:v>Av Price/Unit 11.36</c:v>
                </c:pt>
                <c:pt idx="2">
                  <c:v>Av Price/Unit 9.38</c:v>
                </c:pt>
                <c:pt idx="3">
                  <c:v>Av Price/Unit 36.17</c:v>
                </c:pt>
                <c:pt idx="4">
                  <c:v>Av Price/Unit 18.41</c:v>
                </c:pt>
              </c:strCache>
            </c:strRef>
          </c:cat>
          <c:val>
            <c:numRef>
              <c:f>Sheet1!$B$2:$B$6</c:f>
              <c:numCache>
                <c:formatCode>General</c:formatCode>
                <c:ptCount val="5"/>
                <c:pt idx="0">
                  <c:v>15.338200000000001</c:v>
                </c:pt>
                <c:pt idx="1">
                  <c:v>4.1383000000000001</c:v>
                </c:pt>
                <c:pt idx="2">
                  <c:v>5.0882078853046604</c:v>
                </c:pt>
                <c:pt idx="3">
                  <c:v>18.077500000000001</c:v>
                </c:pt>
                <c:pt idx="4">
                  <c:v>9.861599999999997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9</c:v>
                </c:pt>
                <c:pt idx="1">
                  <c:v>Av Price/Unit 11.36</c:v>
                </c:pt>
                <c:pt idx="2">
                  <c:v>Av Price/Unit 9.38</c:v>
                </c:pt>
                <c:pt idx="3">
                  <c:v>Av Price/Unit 36.17</c:v>
                </c:pt>
                <c:pt idx="4">
                  <c:v>Av Price/Unit 18.41</c:v>
                </c:pt>
              </c:strCache>
            </c:strRef>
          </c:cat>
          <c:val>
            <c:numRef>
              <c:f>Sheet1!$C$2:$C$6</c:f>
              <c:numCache>
                <c:formatCode>General</c:formatCode>
                <c:ptCount val="5"/>
                <c:pt idx="0">
                  <c:v>12.15</c:v>
                </c:pt>
                <c:pt idx="1">
                  <c:v>6.8570000000000002</c:v>
                </c:pt>
                <c:pt idx="2">
                  <c:v>3.0810670250896059</c:v>
                </c:pt>
                <c:pt idx="3">
                  <c:v>14.149999999999999</c:v>
                </c:pt>
                <c:pt idx="4">
                  <c:v>7.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9</c:v>
                </c:pt>
                <c:pt idx="1">
                  <c:v>Av Price/Unit 11.36</c:v>
                </c:pt>
                <c:pt idx="2">
                  <c:v>Av Price/Unit 9.38</c:v>
                </c:pt>
                <c:pt idx="3">
                  <c:v>Av Price/Unit 36.17</c:v>
                </c:pt>
                <c:pt idx="4">
                  <c:v>Av Price/Unit 18.41</c:v>
                </c:pt>
              </c:strCache>
            </c:strRef>
          </c:cat>
          <c:val>
            <c:numRef>
              <c:f>Sheet1!$D$2:$D$6</c:f>
              <c:numCache>
                <c:formatCode>General</c:formatCode>
                <c:ptCount val="5"/>
                <c:pt idx="0">
                  <c:v>-3.162241297935104</c:v>
                </c:pt>
                <c:pt idx="1">
                  <c:v>-1.4423672389127304</c:v>
                </c:pt>
                <c:pt idx="2">
                  <c:v>-0.352667980884112</c:v>
                </c:pt>
                <c:pt idx="3">
                  <c:v>-2.0832692307692291</c:v>
                </c:pt>
                <c:pt idx="4">
                  <c:v>-1.722616949152538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9</c:v>
                </c:pt>
                <c:pt idx="1">
                  <c:v>Av Price/Unit 11.36</c:v>
                </c:pt>
                <c:pt idx="2">
                  <c:v>Av Price/Unit 9.38</c:v>
                </c:pt>
                <c:pt idx="3">
                  <c:v>Av Price/Unit 36.17</c:v>
                </c:pt>
                <c:pt idx="4">
                  <c:v>Av Price/Unit 18.41</c:v>
                </c:pt>
              </c:strCache>
            </c:strRef>
          </c:cat>
          <c:val>
            <c:numRef>
              <c:f>Sheet1!$E$2:$E$6</c:f>
              <c:numCache>
                <c:formatCode>General</c:formatCode>
                <c:ptCount val="5"/>
                <c:pt idx="0">
                  <c:v>4.8651917404129774</c:v>
                </c:pt>
                <c:pt idx="1">
                  <c:v>1.9105865522174528</c:v>
                </c:pt>
                <c:pt idx="2">
                  <c:v>1.5633213859020321</c:v>
                </c:pt>
                <c:pt idx="3">
                  <c:v>6.0288461538461542</c:v>
                </c:pt>
                <c:pt idx="4">
                  <c:v>3.067796610169489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01</c:v>
                </c:pt>
                <c:pt idx="1">
                  <c:v>Av Price/Unit 11.38</c:v>
                </c:pt>
                <c:pt idx="2">
                  <c:v>Av Price/Unit 34.13</c:v>
                </c:pt>
                <c:pt idx="3">
                  <c:v>Av Price/Unit 9.29</c:v>
                </c:pt>
                <c:pt idx="4">
                  <c:v>Av Price/Unit 18.05</c:v>
                </c:pt>
              </c:strCache>
            </c:strRef>
          </c:cat>
          <c:val>
            <c:numRef>
              <c:f>Sheet1!$B$2:$B$6</c:f>
              <c:numCache>
                <c:formatCode>General</c:formatCode>
                <c:ptCount val="5"/>
                <c:pt idx="0">
                  <c:v>15.338200000000002</c:v>
                </c:pt>
                <c:pt idx="1">
                  <c:v>4.1383000000000001</c:v>
                </c:pt>
                <c:pt idx="2">
                  <c:v>18.077500000000001</c:v>
                </c:pt>
                <c:pt idx="3">
                  <c:v>5.0330017708333337</c:v>
                </c:pt>
                <c:pt idx="4">
                  <c:v>9.861599999999999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01</c:v>
                </c:pt>
                <c:pt idx="1">
                  <c:v>Av Price/Unit 11.38</c:v>
                </c:pt>
                <c:pt idx="2">
                  <c:v>Av Price/Unit 34.13</c:v>
                </c:pt>
                <c:pt idx="3">
                  <c:v>Av Price/Unit 9.29</c:v>
                </c:pt>
                <c:pt idx="4">
                  <c:v>Av Price/Unit 18.05</c:v>
                </c:pt>
              </c:strCache>
            </c:strRef>
          </c:cat>
          <c:val>
            <c:numRef>
              <c:f>Sheet1!$C$2:$C$6</c:f>
              <c:numCache>
                <c:formatCode>General</c:formatCode>
                <c:ptCount val="5"/>
                <c:pt idx="0">
                  <c:v>12.149999999999999</c:v>
                </c:pt>
                <c:pt idx="1">
                  <c:v>6.8569999999999993</c:v>
                </c:pt>
                <c:pt idx="2">
                  <c:v>14.15</c:v>
                </c:pt>
                <c:pt idx="3">
                  <c:v>3.0543817708333338</c:v>
                </c:pt>
                <c:pt idx="4">
                  <c:v>7.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01</c:v>
                </c:pt>
                <c:pt idx="1">
                  <c:v>Av Price/Unit 11.38</c:v>
                </c:pt>
                <c:pt idx="2">
                  <c:v>Av Price/Unit 34.13</c:v>
                </c:pt>
                <c:pt idx="3">
                  <c:v>Av Price/Unit 9.29</c:v>
                </c:pt>
                <c:pt idx="4">
                  <c:v>Av Price/Unit 18.05</c:v>
                </c:pt>
              </c:strCache>
            </c:strRef>
          </c:cat>
          <c:val>
            <c:numRef>
              <c:f>Sheet1!$D$2:$D$6</c:f>
              <c:numCache>
                <c:formatCode>General</c:formatCode>
                <c:ptCount val="5"/>
                <c:pt idx="0">
                  <c:v>-3.311651507742468</c:v>
                </c:pt>
                <c:pt idx="1">
                  <c:v>-1.508695197651253</c:v>
                </c:pt>
                <c:pt idx="2">
                  <c:v>-3.784463750340695</c:v>
                </c:pt>
                <c:pt idx="3">
                  <c:v>-0.34714916666666706</c:v>
                </c:pt>
                <c:pt idx="4">
                  <c:v>-2.023032506887050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01</c:v>
                </c:pt>
                <c:pt idx="1">
                  <c:v>Av Price/Unit 11.38</c:v>
                </c:pt>
                <c:pt idx="2">
                  <c:v>Av Price/Unit 34.13</c:v>
                </c:pt>
                <c:pt idx="3">
                  <c:v>Av Price/Unit 9.29</c:v>
                </c:pt>
                <c:pt idx="4">
                  <c:v>Av Price/Unit 18.05</c:v>
                </c:pt>
              </c:strCache>
            </c:strRef>
          </c:cat>
          <c:val>
            <c:numRef>
              <c:f>Sheet1!$E$2:$E$6</c:f>
              <c:numCache>
                <c:formatCode>General</c:formatCode>
                <c:ptCount val="5"/>
                <c:pt idx="0">
                  <c:v>4.8353096984515123</c:v>
                </c:pt>
                <c:pt idx="1">
                  <c:v>1.897320960469749</c:v>
                </c:pt>
                <c:pt idx="2">
                  <c:v>5.6886072499318656</c:v>
                </c:pt>
                <c:pt idx="3">
                  <c:v>1.5480468750000009</c:v>
                </c:pt>
                <c:pt idx="4">
                  <c:v>3.007713498622588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1</c:v>
                </c:pt>
                <c:pt idx="1">
                  <c:v>Av Price/Unit 11.28</c:v>
                </c:pt>
                <c:pt idx="2">
                  <c:v>Av Price/Unit 34.59</c:v>
                </c:pt>
                <c:pt idx="3">
                  <c:v>Av Price/Unit 9.47</c:v>
                </c:pt>
                <c:pt idx="4">
                  <c:v>Av Price/Unit 18.26</c:v>
                </c:pt>
              </c:strCache>
            </c:strRef>
          </c:cat>
          <c:val>
            <c:numRef>
              <c:f>Sheet1!$B$2:$B$6</c:f>
              <c:numCache>
                <c:formatCode>General</c:formatCode>
                <c:ptCount val="5"/>
                <c:pt idx="0">
                  <c:v>15.338200000000001</c:v>
                </c:pt>
                <c:pt idx="1">
                  <c:v>4.1383000000000001</c:v>
                </c:pt>
                <c:pt idx="2">
                  <c:v>18.077500000000004</c:v>
                </c:pt>
                <c:pt idx="3">
                  <c:v>5.0970397291196399</c:v>
                </c:pt>
                <c:pt idx="4">
                  <c:v>9.861599999999997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1</c:v>
                </c:pt>
                <c:pt idx="1">
                  <c:v>Av Price/Unit 11.28</c:v>
                </c:pt>
                <c:pt idx="2">
                  <c:v>Av Price/Unit 34.59</c:v>
                </c:pt>
                <c:pt idx="3">
                  <c:v>Av Price/Unit 9.47</c:v>
                </c:pt>
                <c:pt idx="4">
                  <c:v>Av Price/Unit 18.26</c:v>
                </c:pt>
              </c:strCache>
            </c:strRef>
          </c:cat>
          <c:val>
            <c:numRef>
              <c:f>Sheet1!$C$2:$C$6</c:f>
              <c:numCache>
                <c:formatCode>General</c:formatCode>
                <c:ptCount val="5"/>
                <c:pt idx="0">
                  <c:v>12.149999999999999</c:v>
                </c:pt>
                <c:pt idx="1">
                  <c:v>6.8570000000000002</c:v>
                </c:pt>
                <c:pt idx="2">
                  <c:v>14.149999999999999</c:v>
                </c:pt>
                <c:pt idx="3">
                  <c:v>3.0853361173814897</c:v>
                </c:pt>
                <c:pt idx="4">
                  <c:v>7.200000000000001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1</c:v>
                </c:pt>
                <c:pt idx="1">
                  <c:v>Av Price/Unit 11.28</c:v>
                </c:pt>
                <c:pt idx="2">
                  <c:v>Av Price/Unit 34.59</c:v>
                </c:pt>
                <c:pt idx="3">
                  <c:v>Av Price/Unit 9.47</c:v>
                </c:pt>
                <c:pt idx="4">
                  <c:v>Av Price/Unit 18.26</c:v>
                </c:pt>
              </c:strCache>
            </c:strRef>
          </c:cat>
          <c:val>
            <c:numRef>
              <c:f>Sheet1!$D$2:$D$6</c:f>
              <c:numCache>
                <c:formatCode>General</c:formatCode>
                <c:ptCount val="5"/>
                <c:pt idx="0">
                  <c:v>-3.2311718875502038</c:v>
                </c:pt>
                <c:pt idx="1">
                  <c:v>-1.7364249423697569</c:v>
                </c:pt>
                <c:pt idx="2">
                  <c:v>-3.4047486772486799</c:v>
                </c:pt>
                <c:pt idx="3">
                  <c:v>-0.28922310007524477</c:v>
                </c:pt>
                <c:pt idx="4">
                  <c:v>-1.847139215686274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1</c:v>
                </c:pt>
                <c:pt idx="1">
                  <c:v>Av Price/Unit 11.28</c:v>
                </c:pt>
                <c:pt idx="2">
                  <c:v>Av Price/Unit 34.59</c:v>
                </c:pt>
                <c:pt idx="3">
                  <c:v>Av Price/Unit 9.47</c:v>
                </c:pt>
                <c:pt idx="4">
                  <c:v>Av Price/Unit 18.26</c:v>
                </c:pt>
              </c:strCache>
            </c:strRef>
          </c:cat>
          <c:val>
            <c:numRef>
              <c:f>Sheet1!$E$2:$E$6</c:f>
              <c:numCache>
                <c:formatCode>General</c:formatCode>
                <c:ptCount val="5"/>
                <c:pt idx="0">
                  <c:v>4.8514056224899589</c:v>
                </c:pt>
                <c:pt idx="1">
                  <c:v>1.8517750115260496</c:v>
                </c:pt>
                <c:pt idx="2">
                  <c:v>5.7645502645502624</c:v>
                </c:pt>
                <c:pt idx="3">
                  <c:v>1.5786305492851762</c:v>
                </c:pt>
                <c:pt idx="4">
                  <c:v>3.042892156862746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29.63</c:v>
                </c:pt>
                <c:pt idx="1">
                  <c:v>Av Price/Unit 11.51</c:v>
                </c:pt>
                <c:pt idx="2">
                  <c:v>Av Price/Unit 9.47</c:v>
                </c:pt>
              </c:strCache>
            </c:strRef>
          </c:cat>
          <c:val>
            <c:numRef>
              <c:f>Sheet1!$B$2:$B$4</c:f>
              <c:numCache>
                <c:formatCode>General</c:formatCode>
                <c:ptCount val="3"/>
                <c:pt idx="0">
                  <c:v>15.338199999999999</c:v>
                </c:pt>
                <c:pt idx="1">
                  <c:v>4.1383000000000001</c:v>
                </c:pt>
                <c:pt idx="2">
                  <c:v>5.019331851851853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29.63</c:v>
                </c:pt>
                <c:pt idx="1">
                  <c:v>Av Price/Unit 11.51</c:v>
                </c:pt>
                <c:pt idx="2">
                  <c:v>Av Price/Unit 9.47</c:v>
                </c:pt>
              </c:strCache>
            </c:strRef>
          </c:cat>
          <c:val>
            <c:numRef>
              <c:f>Sheet1!$C$2:$C$4</c:f>
              <c:numCache>
                <c:formatCode>General</c:formatCode>
                <c:ptCount val="3"/>
                <c:pt idx="0">
                  <c:v>12.149999999999999</c:v>
                </c:pt>
                <c:pt idx="1">
                  <c:v>6.8570000000000002</c:v>
                </c:pt>
                <c:pt idx="2">
                  <c:v>3.04777407407407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29.63</c:v>
                </c:pt>
                <c:pt idx="1">
                  <c:v>Av Price/Unit 11.51</c:v>
                </c:pt>
                <c:pt idx="2">
                  <c:v>Av Price/Unit 9.47</c:v>
                </c:pt>
              </c:strCache>
            </c:strRef>
          </c:cat>
          <c:val>
            <c:numRef>
              <c:f>Sheet1!$D$2:$D$4</c:f>
              <c:numCache>
                <c:formatCode>General</c:formatCode>
                <c:ptCount val="3"/>
                <c:pt idx="0">
                  <c:v>-2.7974243186582868</c:v>
                </c:pt>
                <c:pt idx="1">
                  <c:v>-1.3606846153846153</c:v>
                </c:pt>
                <c:pt idx="2">
                  <c:v>-0.1782170370370357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29.63</c:v>
                </c:pt>
                <c:pt idx="1">
                  <c:v>Av Price/Unit 11.51</c:v>
                </c:pt>
                <c:pt idx="2">
                  <c:v>Av Price/Unit 9.47</c:v>
                </c:pt>
              </c:strCache>
            </c:strRef>
          </c:cat>
          <c:val>
            <c:numRef>
              <c:f>Sheet1!$E$2:$E$4</c:f>
              <c:numCache>
                <c:formatCode>General</c:formatCode>
                <c:ptCount val="3"/>
                <c:pt idx="0">
                  <c:v>4.9381551362683425</c:v>
                </c:pt>
                <c:pt idx="1">
                  <c:v>1.9269230769230759</c:v>
                </c:pt>
                <c:pt idx="2">
                  <c:v>1.577777777777776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6</c:v>
                </c:pt>
                <c:pt idx="1">
                  <c:v>Av Price/Unit 11.40</c:v>
                </c:pt>
                <c:pt idx="2">
                  <c:v>Av Price/Unit 9.48</c:v>
                </c:pt>
                <c:pt idx="3">
                  <c:v>Av Price/Unit 35.10</c:v>
                </c:pt>
                <c:pt idx="4">
                  <c:v>Av Price/Unit 18.16</c:v>
                </c:pt>
              </c:strCache>
            </c:strRef>
          </c:cat>
          <c:val>
            <c:numRef>
              <c:f>Sheet1!$B$2:$B$6</c:f>
              <c:numCache>
                <c:formatCode>General</c:formatCode>
                <c:ptCount val="5"/>
                <c:pt idx="0">
                  <c:v>15.338199999999999</c:v>
                </c:pt>
                <c:pt idx="1">
                  <c:v>4.138300000000001</c:v>
                </c:pt>
                <c:pt idx="2">
                  <c:v>4.985511467889908</c:v>
                </c:pt>
                <c:pt idx="3">
                  <c:v>18.077500000000004</c:v>
                </c:pt>
                <c:pt idx="4">
                  <c:v>9.861599999999999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6</c:v>
                </c:pt>
                <c:pt idx="1">
                  <c:v>Av Price/Unit 11.40</c:v>
                </c:pt>
                <c:pt idx="2">
                  <c:v>Av Price/Unit 9.48</c:v>
                </c:pt>
                <c:pt idx="3">
                  <c:v>Av Price/Unit 35.10</c:v>
                </c:pt>
                <c:pt idx="4">
                  <c:v>Av Price/Unit 18.16</c:v>
                </c:pt>
              </c:strCache>
            </c:strRef>
          </c:cat>
          <c:val>
            <c:numRef>
              <c:f>Sheet1!$C$2:$C$6</c:f>
              <c:numCache>
                <c:formatCode>General</c:formatCode>
                <c:ptCount val="5"/>
                <c:pt idx="0">
                  <c:v>12.149999999999999</c:v>
                </c:pt>
                <c:pt idx="1">
                  <c:v>6.8570000000000011</c:v>
                </c:pt>
                <c:pt idx="2">
                  <c:v>3.0314261467889909</c:v>
                </c:pt>
                <c:pt idx="3">
                  <c:v>14.149999999999999</c:v>
                </c:pt>
                <c:pt idx="4">
                  <c:v>7.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6</c:v>
                </c:pt>
                <c:pt idx="1">
                  <c:v>Av Price/Unit 11.40</c:v>
                </c:pt>
                <c:pt idx="2">
                  <c:v>Av Price/Unit 9.48</c:v>
                </c:pt>
                <c:pt idx="3">
                  <c:v>Av Price/Unit 35.10</c:v>
                </c:pt>
                <c:pt idx="4">
                  <c:v>Av Price/Unit 18.16</c:v>
                </c:pt>
              </c:strCache>
            </c:strRef>
          </c:cat>
          <c:val>
            <c:numRef>
              <c:f>Sheet1!$D$2:$D$6</c:f>
              <c:numCache>
                <c:formatCode>General</c:formatCode>
                <c:ptCount val="5"/>
                <c:pt idx="0">
                  <c:v>-3.1841852086635001</c:v>
                </c:pt>
                <c:pt idx="1">
                  <c:v>-1.3633048661800498</c:v>
                </c:pt>
                <c:pt idx="2">
                  <c:v>-0.11556146788990773</c:v>
                </c:pt>
                <c:pt idx="3">
                  <c:v>-2.9766582491582518</c:v>
                </c:pt>
                <c:pt idx="4">
                  <c:v>-1.926272364672362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6</c:v>
                </c:pt>
                <c:pt idx="1">
                  <c:v>Av Price/Unit 11.40</c:v>
                </c:pt>
                <c:pt idx="2">
                  <c:v>Av Price/Unit 9.48</c:v>
                </c:pt>
                <c:pt idx="3">
                  <c:v>Av Price/Unit 35.10</c:v>
                </c:pt>
                <c:pt idx="4">
                  <c:v>Av Price/Unit 18.16</c:v>
                </c:pt>
              </c:strCache>
            </c:strRef>
          </c:cat>
          <c:val>
            <c:numRef>
              <c:f>Sheet1!$E$2:$E$6</c:f>
              <c:numCache>
                <c:formatCode>General</c:formatCode>
                <c:ptCount val="5"/>
                <c:pt idx="0">
                  <c:v>4.8608029582673051</c:v>
                </c:pt>
                <c:pt idx="1">
                  <c:v>1.9263990267639892</c:v>
                </c:pt>
                <c:pt idx="2">
                  <c:v>1.5802752293577982</c:v>
                </c:pt>
                <c:pt idx="3">
                  <c:v>5.850168350168353</c:v>
                </c:pt>
                <c:pt idx="4">
                  <c:v>3.027065527065525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29.98</c:v>
                </c:pt>
                <c:pt idx="1">
                  <c:v>Av Price/Unit 11.50</c:v>
                </c:pt>
                <c:pt idx="2">
                  <c:v>Av Price/Unit 36.22</c:v>
                </c:pt>
                <c:pt idx="3">
                  <c:v>Av Price/Unit 19.02</c:v>
                </c:pt>
              </c:strCache>
            </c:strRef>
          </c:cat>
          <c:val>
            <c:numRef>
              <c:f>Sheet1!$B$2:$B$5</c:f>
              <c:numCache>
                <c:formatCode>General</c:formatCode>
                <c:ptCount val="4"/>
                <c:pt idx="0">
                  <c:v>15.338199999999997</c:v>
                </c:pt>
                <c:pt idx="1">
                  <c:v>4.1383000000000001</c:v>
                </c:pt>
                <c:pt idx="2">
                  <c:v>18.077499999999997</c:v>
                </c:pt>
                <c:pt idx="3">
                  <c:v>9.861599999999999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29.98</c:v>
                </c:pt>
                <c:pt idx="1">
                  <c:v>Av Price/Unit 11.50</c:v>
                </c:pt>
                <c:pt idx="2">
                  <c:v>Av Price/Unit 36.22</c:v>
                </c:pt>
                <c:pt idx="3">
                  <c:v>Av Price/Unit 19.02</c:v>
                </c:pt>
              </c:strCache>
            </c:strRef>
          </c:cat>
          <c:val>
            <c:numRef>
              <c:f>Sheet1!$C$2:$C$5</c:f>
              <c:numCache>
                <c:formatCode>General</c:formatCode>
                <c:ptCount val="4"/>
                <c:pt idx="0">
                  <c:v>12.150000000000002</c:v>
                </c:pt>
                <c:pt idx="1">
                  <c:v>6.8569999999999993</c:v>
                </c:pt>
                <c:pt idx="2">
                  <c:v>14.15</c:v>
                </c:pt>
                <c:pt idx="3">
                  <c:v>7.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29.98</c:v>
                </c:pt>
                <c:pt idx="1">
                  <c:v>Av Price/Unit 11.50</c:v>
                </c:pt>
                <c:pt idx="2">
                  <c:v>Av Price/Unit 36.22</c:v>
                </c:pt>
                <c:pt idx="3">
                  <c:v>Av Price/Unit 19.02</c:v>
                </c:pt>
              </c:strCache>
            </c:strRef>
          </c:cat>
          <c:val>
            <c:numRef>
              <c:f>Sheet1!$D$2:$D$5</c:f>
              <c:numCache>
                <c:formatCode>General</c:formatCode>
                <c:ptCount val="4"/>
                <c:pt idx="0">
                  <c:v>-2.5014978723404298</c:v>
                </c:pt>
                <c:pt idx="1">
                  <c:v>-1.5229564774381377</c:v>
                </c:pt>
                <c:pt idx="2">
                  <c:v>-2.0423148148148123</c:v>
                </c:pt>
                <c:pt idx="3">
                  <c:v>-1.214377777777775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29.98</c:v>
                </c:pt>
                <c:pt idx="1">
                  <c:v>Av Price/Unit 11.50</c:v>
                </c:pt>
                <c:pt idx="2">
                  <c:v>Av Price/Unit 36.22</c:v>
                </c:pt>
                <c:pt idx="3">
                  <c:v>Av Price/Unit 19.02</c:v>
                </c:pt>
              </c:strCache>
            </c:strRef>
          </c:cat>
          <c:val>
            <c:numRef>
              <c:f>Sheet1!$E$2:$E$5</c:f>
              <c:numCache>
                <c:formatCode>General</c:formatCode>
                <c:ptCount val="4"/>
                <c:pt idx="0">
                  <c:v>4.9973404255319149</c:v>
                </c:pt>
                <c:pt idx="1">
                  <c:v>1.8944687045123714</c:v>
                </c:pt>
                <c:pt idx="2">
                  <c:v>6.0370370370370345</c:v>
                </c:pt>
                <c:pt idx="3">
                  <c:v>3.169444444444443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7ECAC4"/>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838EB792-8D13-4E61-89AD-33F3739F08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6B9C165-323E-4179-AAE0-ECF333A6D5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CF17BD08-16E8-4073-8B7B-981340DC55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9D73CF46-8CB5-48CF-AAB4-74581C8C2C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D66F5D74-568A-494D-9CF9-3BD48E859D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D5E34F6-FE38-40B8-94D0-6611881589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0440B392-D867-40D3-8578-55FD763ACE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1EDDB3BC-22BD-477D-AE24-46A6B8EF89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2.647500000000001</c:v>
                </c:pt>
                <c:pt idx="1">
                  <c:v>12.215</c:v>
                </c:pt>
                <c:pt idx="2">
                  <c:v>12.635</c:v>
                </c:pt>
                <c:pt idx="3">
                  <c:v>12.887600000000001</c:v>
                </c:pt>
                <c:pt idx="4">
                  <c:v>12.4284</c:v>
                </c:pt>
              </c:numCache>
            </c:numRef>
          </c:xVal>
          <c:yVal>
            <c:numRef>
              <c:f>Sheet1!$B$2:$B$6</c:f>
              <c:numCache>
                <c:formatCode>General</c:formatCode>
                <c:ptCount val="5"/>
                <c:pt idx="0">
                  <c:v>0.51160000000000005</c:v>
                </c:pt>
                <c:pt idx="1">
                  <c:v>0.47720000000000001</c:v>
                </c:pt>
                <c:pt idx="2">
                  <c:v>0.49170000000000003</c:v>
                </c:pt>
                <c:pt idx="3">
                  <c:v>0.5111</c:v>
                </c:pt>
                <c:pt idx="4">
                  <c:v>0.48520000000000002</c:v>
                </c:pt>
              </c:numCache>
            </c:numRef>
          </c:yVal>
          <c:bubbleSize>
            <c:numRef>
              <c:f>Sheet1!$C$2:$C$6</c:f>
              <c:numCache>
                <c:formatCode>General</c:formatCode>
                <c:ptCount val="5"/>
                <c:pt idx="0">
                  <c:v>40358.300099999993</c:v>
                </c:pt>
                <c:pt idx="1">
                  <c:v>34030.971400000002</c:v>
                </c:pt>
                <c:pt idx="2">
                  <c:v>443097.24160000001</c:v>
                </c:pt>
                <c:pt idx="3">
                  <c:v>72995.391399999993</c:v>
                </c:pt>
                <c:pt idx="4">
                  <c:v>176148.40679999991</c:v>
                </c:pt>
              </c:numCache>
            </c:numRef>
          </c:bubbleSize>
          <c:bubble3D val="0"/>
          <c:extLst>
            <c:ext xmlns:c15="http://schemas.microsoft.com/office/drawing/2012/chart" uri="{02D57815-91ED-43cb-92C2-25804820EDAC}">
              <c15:datalabelsRange>
                <c15:f>Sheet1!$E$2:$E$29</c15:f>
                <c15:dlblRangeCache>
                  <c:ptCount val="28"/>
                  <c:pt idx="0">
                    <c:v>NICOLAS QCA</c:v>
                  </c:pt>
                  <c:pt idx="1">
                    <c:v>NICOLAS CCP</c:v>
                  </c:pt>
                  <c:pt idx="2">
                    <c:v>NICOLAS QCN</c:v>
                  </c:pt>
                  <c:pt idx="3">
                    <c:v>NICOLAS QCT</c:v>
                  </c:pt>
                  <c:pt idx="4">
                    <c:v>NICOLAS VCN</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5.465120000000001"/>
          <c:min val="9.772000000000000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9245763640843404"/>
        <c:crossBetween val="midCat"/>
      </c:valAx>
      <c:valAx>
        <c:axId val="1011451359"/>
        <c:scaling>
          <c:orientation val="minMax"/>
          <c:max val="0.97392000000000012"/>
          <c:min val="0.14176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2.59359522673951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04</c:v>
                </c:pt>
                <c:pt idx="1">
                  <c:v>Av Price/Unit 11.23</c:v>
                </c:pt>
                <c:pt idx="2">
                  <c:v>Av Price/Unit 34.26</c:v>
                </c:pt>
                <c:pt idx="3">
                  <c:v>Av Price/Unit 9.26</c:v>
                </c:pt>
                <c:pt idx="4">
                  <c:v>Av Price/Unit 18.08</c:v>
                </c:pt>
              </c:strCache>
            </c:strRef>
          </c:cat>
          <c:val>
            <c:numRef>
              <c:f>Sheet1!$B$2:$B$6</c:f>
              <c:numCache>
                <c:formatCode>General</c:formatCode>
                <c:ptCount val="5"/>
                <c:pt idx="0">
                  <c:v>15.338200000000001</c:v>
                </c:pt>
                <c:pt idx="1">
                  <c:v>4.1382999999999992</c:v>
                </c:pt>
                <c:pt idx="2">
                  <c:v>18.077500000000004</c:v>
                </c:pt>
                <c:pt idx="3">
                  <c:v>5.0255587188612099</c:v>
                </c:pt>
                <c:pt idx="4">
                  <c:v>9.861599999999999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04</c:v>
                </c:pt>
                <c:pt idx="1">
                  <c:v>Av Price/Unit 11.23</c:v>
                </c:pt>
                <c:pt idx="2">
                  <c:v>Av Price/Unit 34.26</c:v>
                </c:pt>
                <c:pt idx="3">
                  <c:v>Av Price/Unit 9.26</c:v>
                </c:pt>
                <c:pt idx="4">
                  <c:v>Av Price/Unit 18.08</c:v>
                </c:pt>
              </c:strCache>
            </c:strRef>
          </c:cat>
          <c:val>
            <c:numRef>
              <c:f>Sheet1!$C$2:$C$6</c:f>
              <c:numCache>
                <c:formatCode>General</c:formatCode>
                <c:ptCount val="5"/>
                <c:pt idx="0">
                  <c:v>12.15</c:v>
                </c:pt>
                <c:pt idx="1">
                  <c:v>6.8570000000000002</c:v>
                </c:pt>
                <c:pt idx="2">
                  <c:v>14.15</c:v>
                </c:pt>
                <c:pt idx="3">
                  <c:v>3.0507839857651242</c:v>
                </c:pt>
                <c:pt idx="4">
                  <c:v>7.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04</c:v>
                </c:pt>
                <c:pt idx="1">
                  <c:v>Av Price/Unit 11.23</c:v>
                </c:pt>
                <c:pt idx="2">
                  <c:v>Av Price/Unit 34.26</c:v>
                </c:pt>
                <c:pt idx="3">
                  <c:v>Av Price/Unit 9.26</c:v>
                </c:pt>
                <c:pt idx="4">
                  <c:v>Av Price/Unit 18.08</c:v>
                </c:pt>
              </c:strCache>
            </c:strRef>
          </c:cat>
          <c:val>
            <c:numRef>
              <c:f>Sheet1!$D$2:$D$6</c:f>
              <c:numCache>
                <c:formatCode>General</c:formatCode>
                <c:ptCount val="5"/>
                <c:pt idx="0">
                  <c:v>-3.2861166666666612</c:v>
                </c:pt>
                <c:pt idx="1">
                  <c:v>-1.7078807357483843</c:v>
                </c:pt>
                <c:pt idx="2">
                  <c:v>-3.6812037037037015</c:v>
                </c:pt>
                <c:pt idx="3">
                  <c:v>-0.3628195729537369</c:v>
                </c:pt>
                <c:pt idx="4">
                  <c:v>-1.993391221826806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04</c:v>
                </c:pt>
                <c:pt idx="1">
                  <c:v>Av Price/Unit 11.23</c:v>
                </c:pt>
                <c:pt idx="2">
                  <c:v>Av Price/Unit 34.26</c:v>
                </c:pt>
                <c:pt idx="3">
                  <c:v>Av Price/Unit 9.26</c:v>
                </c:pt>
                <c:pt idx="4">
                  <c:v>Av Price/Unit 18.08</c:v>
                </c:pt>
              </c:strCache>
            </c:strRef>
          </c:cat>
          <c:val>
            <c:numRef>
              <c:f>Sheet1!$E$2:$E$6</c:f>
              <c:numCache>
                <c:formatCode>General</c:formatCode>
                <c:ptCount val="5"/>
                <c:pt idx="0">
                  <c:v>4.840416666666667</c:v>
                </c:pt>
                <c:pt idx="1">
                  <c:v>1.8574838528503219</c:v>
                </c:pt>
                <c:pt idx="2">
                  <c:v>5.709259259259257</c:v>
                </c:pt>
                <c:pt idx="3">
                  <c:v>1.5427046263345197</c:v>
                </c:pt>
                <c:pt idx="4">
                  <c:v>3.013641755634637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05</c:v>
                </c:pt>
                <c:pt idx="1">
                  <c:v>Av Price/Unit 11.43</c:v>
                </c:pt>
                <c:pt idx="2">
                  <c:v>Av Price/Unit 34.41</c:v>
                </c:pt>
                <c:pt idx="3">
                  <c:v>Av Price/Unit 9.33</c:v>
                </c:pt>
                <c:pt idx="4">
                  <c:v>Av Price/Unit 18.16</c:v>
                </c:pt>
              </c:strCache>
            </c:strRef>
          </c:cat>
          <c:val>
            <c:numRef>
              <c:f>Sheet1!$B$2:$B$6</c:f>
              <c:numCache>
                <c:formatCode>General</c:formatCode>
                <c:ptCount val="5"/>
                <c:pt idx="0">
                  <c:v>15.338199999999997</c:v>
                </c:pt>
                <c:pt idx="1">
                  <c:v>4.1383000000000001</c:v>
                </c:pt>
                <c:pt idx="2">
                  <c:v>18.077499999999997</c:v>
                </c:pt>
                <c:pt idx="3">
                  <c:v>5.0469615663524294</c:v>
                </c:pt>
                <c:pt idx="4">
                  <c:v>9.861599999999997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05</c:v>
                </c:pt>
                <c:pt idx="1">
                  <c:v>Av Price/Unit 11.43</c:v>
                </c:pt>
                <c:pt idx="2">
                  <c:v>Av Price/Unit 34.41</c:v>
                </c:pt>
                <c:pt idx="3">
                  <c:v>Av Price/Unit 9.33</c:v>
                </c:pt>
                <c:pt idx="4">
                  <c:v>Av Price/Unit 18.16</c:v>
                </c:pt>
              </c:strCache>
            </c:strRef>
          </c:cat>
          <c:val>
            <c:numRef>
              <c:f>Sheet1!$C$2:$C$6</c:f>
              <c:numCache>
                <c:formatCode>General</c:formatCode>
                <c:ptCount val="5"/>
                <c:pt idx="0">
                  <c:v>12.150000000000002</c:v>
                </c:pt>
                <c:pt idx="1">
                  <c:v>6.8570000000000002</c:v>
                </c:pt>
                <c:pt idx="2">
                  <c:v>14.15</c:v>
                </c:pt>
                <c:pt idx="3">
                  <c:v>3.0611295866569979</c:v>
                </c:pt>
                <c:pt idx="4">
                  <c:v>7.200000000000001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05</c:v>
                </c:pt>
                <c:pt idx="1">
                  <c:v>Av Price/Unit 11.43</c:v>
                </c:pt>
                <c:pt idx="2">
                  <c:v>Av Price/Unit 34.41</c:v>
                </c:pt>
                <c:pt idx="3">
                  <c:v>Av Price/Unit 9.33</c:v>
                </c:pt>
                <c:pt idx="4">
                  <c:v>Av Price/Unit 18.16</c:v>
                </c:pt>
              </c:strCache>
            </c:strRef>
          </c:cat>
          <c:val>
            <c:numRef>
              <c:f>Sheet1!$D$2:$D$6</c:f>
              <c:numCache>
                <c:formatCode>General</c:formatCode>
                <c:ptCount val="5"/>
                <c:pt idx="0">
                  <c:v>-3.2769369791666563</c:v>
                </c:pt>
                <c:pt idx="1">
                  <c:v>-1.4809567689984906</c:v>
                </c:pt>
                <c:pt idx="2">
                  <c:v>-3.551377068557926</c:v>
                </c:pt>
                <c:pt idx="3">
                  <c:v>-0.33494636209813944</c:v>
                </c:pt>
                <c:pt idx="4">
                  <c:v>-1.931321473495055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05</c:v>
                </c:pt>
                <c:pt idx="1">
                  <c:v>Av Price/Unit 11.43</c:v>
                </c:pt>
                <c:pt idx="2">
                  <c:v>Av Price/Unit 34.41</c:v>
                </c:pt>
                <c:pt idx="3">
                  <c:v>Av Price/Unit 9.33</c:v>
                </c:pt>
                <c:pt idx="4">
                  <c:v>Av Price/Unit 18.16</c:v>
                </c:pt>
              </c:strCache>
            </c:strRef>
          </c:cat>
          <c:val>
            <c:numRef>
              <c:f>Sheet1!$E$2:$E$6</c:f>
              <c:numCache>
                <c:formatCode>General</c:formatCode>
                <c:ptCount val="5"/>
                <c:pt idx="0">
                  <c:v>4.84225260416666</c:v>
                </c:pt>
                <c:pt idx="1">
                  <c:v>1.9028686462003019</c:v>
                </c:pt>
                <c:pt idx="2">
                  <c:v>5.7352245862884157</c:v>
                </c:pt>
                <c:pt idx="3">
                  <c:v>1.5546289581822581</c:v>
                </c:pt>
                <c:pt idx="4">
                  <c:v>3.0260557053009869</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0</c:v>
                </c:pt>
                <c:pt idx="1">
                  <c:v>Av Price/Unit 11.41</c:v>
                </c:pt>
                <c:pt idx="2">
                  <c:v>Av Price/Unit 9.39</c:v>
                </c:pt>
                <c:pt idx="3">
                  <c:v>Av Price/Unit 34.21</c:v>
                </c:pt>
                <c:pt idx="4">
                  <c:v>Av Price/Unit 18.13</c:v>
                </c:pt>
              </c:strCache>
            </c:strRef>
          </c:cat>
          <c:val>
            <c:numRef>
              <c:f>Sheet1!$B$2:$B$6</c:f>
              <c:numCache>
                <c:formatCode>General</c:formatCode>
                <c:ptCount val="5"/>
                <c:pt idx="0">
                  <c:v>15.338200000000001</c:v>
                </c:pt>
                <c:pt idx="1">
                  <c:v>4.1383000000000001</c:v>
                </c:pt>
                <c:pt idx="2">
                  <c:v>5.0316003984063746</c:v>
                </c:pt>
                <c:pt idx="3">
                  <c:v>18.077500000000001</c:v>
                </c:pt>
                <c:pt idx="4">
                  <c:v>9.861599999999999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0</c:v>
                </c:pt>
                <c:pt idx="1">
                  <c:v>Av Price/Unit 11.41</c:v>
                </c:pt>
                <c:pt idx="2">
                  <c:v>Av Price/Unit 9.39</c:v>
                </c:pt>
                <c:pt idx="3">
                  <c:v>Av Price/Unit 34.21</c:v>
                </c:pt>
                <c:pt idx="4">
                  <c:v>Av Price/Unit 18.13</c:v>
                </c:pt>
              </c:strCache>
            </c:strRef>
          </c:cat>
          <c:val>
            <c:numRef>
              <c:f>Sheet1!$C$2:$C$6</c:f>
              <c:numCache>
                <c:formatCode>General</c:formatCode>
                <c:ptCount val="5"/>
                <c:pt idx="0">
                  <c:v>12.15</c:v>
                </c:pt>
                <c:pt idx="1">
                  <c:v>6.8570000000000002</c:v>
                </c:pt>
                <c:pt idx="2">
                  <c:v>3.0537043824701193</c:v>
                </c:pt>
                <c:pt idx="3">
                  <c:v>14.150000000000002</c:v>
                </c:pt>
                <c:pt idx="4">
                  <c:v>7.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0</c:v>
                </c:pt>
                <c:pt idx="1">
                  <c:v>Av Price/Unit 11.41</c:v>
                </c:pt>
                <c:pt idx="2">
                  <c:v>Av Price/Unit 9.39</c:v>
                </c:pt>
                <c:pt idx="3">
                  <c:v>Av Price/Unit 34.21</c:v>
                </c:pt>
                <c:pt idx="4">
                  <c:v>Av Price/Unit 18.13</c:v>
                </c:pt>
              </c:strCache>
            </c:strRef>
          </c:cat>
          <c:val>
            <c:numRef>
              <c:f>Sheet1!$D$2:$D$6</c:f>
              <c:numCache>
                <c:formatCode>General</c:formatCode>
                <c:ptCount val="5"/>
                <c:pt idx="0">
                  <c:v>-3.2388008504344583</c:v>
                </c:pt>
                <c:pt idx="1">
                  <c:v>-1.4535658751574019</c:v>
                </c:pt>
                <c:pt idx="2">
                  <c:v>-0.25661952191235127</c:v>
                </c:pt>
                <c:pt idx="3">
                  <c:v>-3.7155952380952364</c:v>
                </c:pt>
                <c:pt idx="4">
                  <c:v>-1.955779894179890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0</c:v>
                </c:pt>
                <c:pt idx="1">
                  <c:v>Av Price/Unit 11.41</c:v>
                </c:pt>
                <c:pt idx="2">
                  <c:v>Av Price/Unit 9.39</c:v>
                </c:pt>
                <c:pt idx="3">
                  <c:v>Av Price/Unit 34.21</c:v>
                </c:pt>
                <c:pt idx="4">
                  <c:v>Av Price/Unit 18.13</c:v>
                </c:pt>
              </c:strCache>
            </c:strRef>
          </c:cat>
          <c:val>
            <c:numRef>
              <c:f>Sheet1!$E$2:$E$6</c:f>
              <c:numCache>
                <c:formatCode>General</c:formatCode>
                <c:ptCount val="5"/>
                <c:pt idx="0">
                  <c:v>4.849879829913105</c:v>
                </c:pt>
                <c:pt idx="1">
                  <c:v>1.9083468249685183</c:v>
                </c:pt>
                <c:pt idx="2">
                  <c:v>1.5657370517928286</c:v>
                </c:pt>
                <c:pt idx="3">
                  <c:v>5.7023809523809526</c:v>
                </c:pt>
                <c:pt idx="4">
                  <c:v>3.021164021164019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08</c:v>
                </c:pt>
                <c:pt idx="1">
                  <c:v>Av Price/Unit 11.35</c:v>
                </c:pt>
                <c:pt idx="2">
                  <c:v>Av Price/Unit 34.47</c:v>
                </c:pt>
                <c:pt idx="3">
                  <c:v>Av Price/Unit 9.33</c:v>
                </c:pt>
                <c:pt idx="4">
                  <c:v>Av Price/Unit 18.15</c:v>
                </c:pt>
              </c:strCache>
            </c:strRef>
          </c:cat>
          <c:val>
            <c:numRef>
              <c:f>Sheet1!$B$2:$B$6</c:f>
              <c:numCache>
                <c:formatCode>General</c:formatCode>
                <c:ptCount val="5"/>
                <c:pt idx="0">
                  <c:v>15.338200000000001</c:v>
                </c:pt>
                <c:pt idx="1">
                  <c:v>4.1383000000000001</c:v>
                </c:pt>
                <c:pt idx="2">
                  <c:v>18.077500000000001</c:v>
                </c:pt>
                <c:pt idx="3">
                  <c:v>4.9729345254470427</c:v>
                </c:pt>
                <c:pt idx="4">
                  <c:v>9.86160000000000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08</c:v>
                </c:pt>
                <c:pt idx="1">
                  <c:v>Av Price/Unit 11.35</c:v>
                </c:pt>
                <c:pt idx="2">
                  <c:v>Av Price/Unit 34.47</c:v>
                </c:pt>
                <c:pt idx="3">
                  <c:v>Av Price/Unit 9.33</c:v>
                </c:pt>
                <c:pt idx="4">
                  <c:v>Av Price/Unit 18.15</c:v>
                </c:pt>
              </c:strCache>
            </c:strRef>
          </c:cat>
          <c:val>
            <c:numRef>
              <c:f>Sheet1!$C$2:$C$6</c:f>
              <c:numCache>
                <c:formatCode>General</c:formatCode>
                <c:ptCount val="5"/>
                <c:pt idx="0">
                  <c:v>12.149999999999999</c:v>
                </c:pt>
                <c:pt idx="1">
                  <c:v>6.8569999999999993</c:v>
                </c:pt>
                <c:pt idx="2">
                  <c:v>14.150000000000002</c:v>
                </c:pt>
                <c:pt idx="3">
                  <c:v>3.0253467675378265</c:v>
                </c:pt>
                <c:pt idx="4">
                  <c:v>7.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08</c:v>
                </c:pt>
                <c:pt idx="1">
                  <c:v>Av Price/Unit 11.35</c:v>
                </c:pt>
                <c:pt idx="2">
                  <c:v>Av Price/Unit 34.47</c:v>
                </c:pt>
                <c:pt idx="3">
                  <c:v>Av Price/Unit 9.33</c:v>
                </c:pt>
                <c:pt idx="4">
                  <c:v>Av Price/Unit 18.15</c:v>
                </c:pt>
              </c:strCache>
            </c:strRef>
          </c:cat>
          <c:val>
            <c:numRef>
              <c:f>Sheet1!$D$2:$D$6</c:f>
              <c:numCache>
                <c:formatCode>General</c:formatCode>
                <c:ptCount val="5"/>
                <c:pt idx="0">
                  <c:v>-3.2511255989911731</c:v>
                </c:pt>
                <c:pt idx="1">
                  <c:v>-1.5151830409356712</c:v>
                </c:pt>
                <c:pt idx="2">
                  <c:v>-3.4999358974358969</c:v>
                </c:pt>
                <c:pt idx="3">
                  <c:v>-0.21973933975240634</c:v>
                </c:pt>
                <c:pt idx="4">
                  <c:v>-1.93411243781094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08</c:v>
                </c:pt>
                <c:pt idx="1">
                  <c:v>Av Price/Unit 11.35</c:v>
                </c:pt>
                <c:pt idx="2">
                  <c:v>Av Price/Unit 34.47</c:v>
                </c:pt>
                <c:pt idx="3">
                  <c:v>Av Price/Unit 9.33</c:v>
                </c:pt>
                <c:pt idx="4">
                  <c:v>Av Price/Unit 18.15</c:v>
                </c:pt>
              </c:strCache>
            </c:strRef>
          </c:cat>
          <c:val>
            <c:numRef>
              <c:f>Sheet1!$E$2:$E$6</c:f>
              <c:numCache>
                <c:formatCode>General</c:formatCode>
                <c:ptCount val="5"/>
                <c:pt idx="0">
                  <c:v>4.8474148802017654</c:v>
                </c:pt>
                <c:pt idx="1">
                  <c:v>1.8960233918128646</c:v>
                </c:pt>
                <c:pt idx="2">
                  <c:v>5.7455128205128192</c:v>
                </c:pt>
                <c:pt idx="3">
                  <c:v>1.5557083906464912</c:v>
                </c:pt>
                <c:pt idx="4">
                  <c:v>3.025497512437809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07</c:v>
                </c:pt>
                <c:pt idx="1">
                  <c:v>Av Price/Unit 11.47</c:v>
                </c:pt>
                <c:pt idx="2">
                  <c:v>Av Price/Unit 9.39</c:v>
                </c:pt>
                <c:pt idx="3">
                  <c:v>Av Price/Unit 35.28</c:v>
                </c:pt>
                <c:pt idx="4">
                  <c:v>Av Price/Unit 18.32</c:v>
                </c:pt>
              </c:strCache>
            </c:strRef>
          </c:cat>
          <c:val>
            <c:numRef>
              <c:f>Sheet1!$B$2:$B$6</c:f>
              <c:numCache>
                <c:formatCode>General</c:formatCode>
                <c:ptCount val="5"/>
                <c:pt idx="0">
                  <c:v>15.338200000000002</c:v>
                </c:pt>
                <c:pt idx="1">
                  <c:v>4.1383000000000001</c:v>
                </c:pt>
                <c:pt idx="2">
                  <c:v>5.046293392070484</c:v>
                </c:pt>
                <c:pt idx="3">
                  <c:v>18.077499999999997</c:v>
                </c:pt>
                <c:pt idx="4">
                  <c:v>9.861599999999999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07</c:v>
                </c:pt>
                <c:pt idx="1">
                  <c:v>Av Price/Unit 11.47</c:v>
                </c:pt>
                <c:pt idx="2">
                  <c:v>Av Price/Unit 9.39</c:v>
                </c:pt>
                <c:pt idx="3">
                  <c:v>Av Price/Unit 35.28</c:v>
                </c:pt>
                <c:pt idx="4">
                  <c:v>Av Price/Unit 18.32</c:v>
                </c:pt>
              </c:strCache>
            </c:strRef>
          </c:cat>
          <c:val>
            <c:numRef>
              <c:f>Sheet1!$C$2:$C$6</c:f>
              <c:numCache>
                <c:formatCode>General</c:formatCode>
                <c:ptCount val="5"/>
                <c:pt idx="0">
                  <c:v>12.150000000000002</c:v>
                </c:pt>
                <c:pt idx="1">
                  <c:v>6.8570000000000011</c:v>
                </c:pt>
                <c:pt idx="2">
                  <c:v>3.0608066079295155</c:v>
                </c:pt>
                <c:pt idx="3">
                  <c:v>14.150000000000002</c:v>
                </c:pt>
                <c:pt idx="4">
                  <c:v>7.199999999999999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07</c:v>
                </c:pt>
                <c:pt idx="1">
                  <c:v>Av Price/Unit 11.47</c:v>
                </c:pt>
                <c:pt idx="2">
                  <c:v>Av Price/Unit 9.39</c:v>
                </c:pt>
                <c:pt idx="3">
                  <c:v>Av Price/Unit 35.28</c:v>
                </c:pt>
                <c:pt idx="4">
                  <c:v>Av Price/Unit 18.32</c:v>
                </c:pt>
              </c:strCache>
            </c:strRef>
          </c:cat>
          <c:val>
            <c:numRef>
              <c:f>Sheet1!$D$2:$D$6</c:f>
              <c:numCache>
                <c:formatCode>General</c:formatCode>
                <c:ptCount val="5"/>
                <c:pt idx="0">
                  <c:v>-3.2640805841924418</c:v>
                </c:pt>
                <c:pt idx="1">
                  <c:v>-1.4217677758653675</c:v>
                </c:pt>
                <c:pt idx="2">
                  <c:v>-0.28551409691629903</c:v>
                </c:pt>
                <c:pt idx="3">
                  <c:v>-2.8301785714285757</c:v>
                </c:pt>
                <c:pt idx="4">
                  <c:v>-1.796843055555553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07</c:v>
                </c:pt>
                <c:pt idx="1">
                  <c:v>Av Price/Unit 11.47</c:v>
                </c:pt>
                <c:pt idx="2">
                  <c:v>Av Price/Unit 9.39</c:v>
                </c:pt>
                <c:pt idx="3">
                  <c:v>Av Price/Unit 35.28</c:v>
                </c:pt>
                <c:pt idx="4">
                  <c:v>Av Price/Unit 18.32</c:v>
                </c:pt>
              </c:strCache>
            </c:strRef>
          </c:cat>
          <c:val>
            <c:numRef>
              <c:f>Sheet1!$E$2:$E$6</c:f>
              <c:numCache>
                <c:formatCode>General</c:formatCode>
                <c:ptCount val="5"/>
                <c:pt idx="0">
                  <c:v>4.84482388316151</c:v>
                </c:pt>
                <c:pt idx="1">
                  <c:v>1.914706444826926</c:v>
                </c:pt>
                <c:pt idx="2">
                  <c:v>1.5643171806167402</c:v>
                </c:pt>
                <c:pt idx="3">
                  <c:v>5.87946428571429</c:v>
                </c:pt>
                <c:pt idx="4">
                  <c:v>3.05295138888888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45</c:v>
                </c:pt>
                <c:pt idx="1">
                  <c:v>Av Price/Unit 97.87</c:v>
                </c:pt>
                <c:pt idx="2">
                  <c:v>Av Price/Unit 35.28</c:v>
                </c:pt>
                <c:pt idx="3">
                  <c:v>Av Price/Unit 38.63</c:v>
                </c:pt>
                <c:pt idx="4">
                  <c:v>Av Price/Unit 223.87</c:v>
                </c:pt>
                <c:pt idx="5">
                  <c:v>Av Price/Unit 60.91</c:v>
                </c:pt>
                <c:pt idx="6">
                  <c:v>Av Price/Unit 37.85</c:v>
                </c:pt>
                <c:pt idx="7">
                  <c:v>Av Price/Unit 52.42</c:v>
                </c:pt>
                <c:pt idx="8">
                  <c:v>Av Price/Unit 56.29</c:v>
                </c:pt>
                <c:pt idx="9">
                  <c:v>Av Price/Unit 46.39</c:v>
                </c:pt>
                <c:pt idx="10">
                  <c:v>Av Price/Unit 46.75</c:v>
                </c:pt>
                <c:pt idx="11">
                  <c:v>Av Price/Unit 70.91</c:v>
                </c:pt>
              </c:strCache>
            </c:strRef>
          </c:cat>
          <c:val>
            <c:numRef>
              <c:f>Sheet1!$B$2:$B$13</c:f>
              <c:numCache>
                <c:formatCode>General</c:formatCode>
                <c:ptCount val="12"/>
                <c:pt idx="0">
                  <c:v>30.069014140761926</c:v>
                </c:pt>
                <c:pt idx="1">
                  <c:v>31.651592223489164</c:v>
                </c:pt>
                <c:pt idx="2">
                  <c:v>12.495015936463606</c:v>
                </c:pt>
                <c:pt idx="3">
                  <c:v>13.309109734513275</c:v>
                </c:pt>
                <c:pt idx="4">
                  <c:v>74.457751698670606</c:v>
                </c:pt>
                <c:pt idx="5">
                  <c:v>21.371167947959787</c:v>
                </c:pt>
                <c:pt idx="6">
                  <c:v>14.801490783637258</c:v>
                </c:pt>
                <c:pt idx="7">
                  <c:v>18.089262947368425</c:v>
                </c:pt>
                <c:pt idx="8">
                  <c:v>18.408631375703944</c:v>
                </c:pt>
                <c:pt idx="9">
                  <c:v>16.104544085231442</c:v>
                </c:pt>
                <c:pt idx="10">
                  <c:v>15.960434305317326</c:v>
                </c:pt>
                <c:pt idx="11">
                  <c:v>26.06544383116883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45</c:v>
                </c:pt>
                <c:pt idx="1">
                  <c:v>Av Price/Unit 97.87</c:v>
                </c:pt>
                <c:pt idx="2">
                  <c:v>Av Price/Unit 35.28</c:v>
                </c:pt>
                <c:pt idx="3">
                  <c:v>Av Price/Unit 38.63</c:v>
                </c:pt>
                <c:pt idx="4">
                  <c:v>Av Price/Unit 223.87</c:v>
                </c:pt>
                <c:pt idx="5">
                  <c:v>Av Price/Unit 60.91</c:v>
                </c:pt>
                <c:pt idx="6">
                  <c:v>Av Price/Unit 37.85</c:v>
                </c:pt>
                <c:pt idx="7">
                  <c:v>Av Price/Unit 52.42</c:v>
                </c:pt>
                <c:pt idx="8">
                  <c:v>Av Price/Unit 56.29</c:v>
                </c:pt>
                <c:pt idx="9">
                  <c:v>Av Price/Unit 46.39</c:v>
                </c:pt>
                <c:pt idx="10">
                  <c:v>Av Price/Unit 46.75</c:v>
                </c:pt>
                <c:pt idx="11">
                  <c:v>Av Price/Unit 70.91</c:v>
                </c:pt>
              </c:strCache>
            </c:strRef>
          </c:cat>
          <c:val>
            <c:numRef>
              <c:f>Sheet1!$C$2:$C$13</c:f>
              <c:numCache>
                <c:formatCode>General</c:formatCode>
                <c:ptCount val="12"/>
                <c:pt idx="0">
                  <c:v>47.784625311318145</c:v>
                </c:pt>
                <c:pt idx="1">
                  <c:v>49.783311060433292</c:v>
                </c:pt>
                <c:pt idx="2">
                  <c:v>16.77661600628382</c:v>
                </c:pt>
                <c:pt idx="3">
                  <c:v>16.205999999999996</c:v>
                </c:pt>
                <c:pt idx="4">
                  <c:v>109.928</c:v>
                </c:pt>
                <c:pt idx="5">
                  <c:v>28.595303370786514</c:v>
                </c:pt>
                <c:pt idx="6">
                  <c:v>18.316000344997537</c:v>
                </c:pt>
                <c:pt idx="7">
                  <c:v>24.498731929824562</c:v>
                </c:pt>
                <c:pt idx="8">
                  <c:v>28.30796299275945</c:v>
                </c:pt>
                <c:pt idx="9">
                  <c:v>22.148176561351949</c:v>
                </c:pt>
                <c:pt idx="10">
                  <c:v>22.2115667238422</c:v>
                </c:pt>
                <c:pt idx="11">
                  <c:v>32.19639318181818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45</c:v>
                </c:pt>
                <c:pt idx="1">
                  <c:v>Av Price/Unit 97.87</c:v>
                </c:pt>
                <c:pt idx="2">
                  <c:v>Av Price/Unit 35.28</c:v>
                </c:pt>
                <c:pt idx="3">
                  <c:v>Av Price/Unit 38.63</c:v>
                </c:pt>
                <c:pt idx="4">
                  <c:v>Av Price/Unit 223.87</c:v>
                </c:pt>
                <c:pt idx="5">
                  <c:v>Av Price/Unit 60.91</c:v>
                </c:pt>
                <c:pt idx="6">
                  <c:v>Av Price/Unit 37.85</c:v>
                </c:pt>
                <c:pt idx="7">
                  <c:v>Av Price/Unit 52.42</c:v>
                </c:pt>
                <c:pt idx="8">
                  <c:v>Av Price/Unit 56.29</c:v>
                </c:pt>
                <c:pt idx="9">
                  <c:v>Av Price/Unit 46.39</c:v>
                </c:pt>
                <c:pt idx="10">
                  <c:v>Av Price/Unit 46.75</c:v>
                </c:pt>
                <c:pt idx="11">
                  <c:v>Av Price/Unit 70.91</c:v>
                </c:pt>
              </c:strCache>
            </c:strRef>
          </c:cat>
          <c:val>
            <c:numRef>
              <c:f>Sheet1!$D$2:$D$13</c:f>
              <c:numCache>
                <c:formatCode>General</c:formatCode>
                <c:ptCount val="12"/>
                <c:pt idx="0">
                  <c:v>1.8635553300754282E-2</c:v>
                </c:pt>
                <c:pt idx="1">
                  <c:v>0.12362959331053958</c:v>
                </c:pt>
                <c:pt idx="2">
                  <c:v>0.12500505032874187</c:v>
                </c:pt>
                <c:pt idx="3">
                  <c:v>2.6761012177596228</c:v>
                </c:pt>
                <c:pt idx="4">
                  <c:v>2.176286706056203</c:v>
                </c:pt>
                <c:pt idx="5">
                  <c:v>0.78899881726788124</c:v>
                </c:pt>
                <c:pt idx="6">
                  <c:v>-1.5740378675866573</c:v>
                </c:pt>
                <c:pt idx="7">
                  <c:v>1.0979700350877266</c:v>
                </c:pt>
                <c:pt idx="8">
                  <c:v>0.19410555108608918</c:v>
                </c:pt>
                <c:pt idx="9">
                  <c:v>0.4081904481998464</c:v>
                </c:pt>
                <c:pt idx="10">
                  <c:v>0.78811903945111794</c:v>
                </c:pt>
                <c:pt idx="11">
                  <c:v>0.8318377705627781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45</c:v>
                </c:pt>
                <c:pt idx="1">
                  <c:v>Av Price/Unit 97.87</c:v>
                </c:pt>
                <c:pt idx="2">
                  <c:v>Av Price/Unit 35.28</c:v>
                </c:pt>
                <c:pt idx="3">
                  <c:v>Av Price/Unit 38.63</c:v>
                </c:pt>
                <c:pt idx="4">
                  <c:v>Av Price/Unit 223.87</c:v>
                </c:pt>
                <c:pt idx="5">
                  <c:v>Av Price/Unit 60.91</c:v>
                </c:pt>
                <c:pt idx="6">
                  <c:v>Av Price/Unit 37.85</c:v>
                </c:pt>
                <c:pt idx="7">
                  <c:v>Av Price/Unit 52.42</c:v>
                </c:pt>
                <c:pt idx="8">
                  <c:v>Av Price/Unit 56.29</c:v>
                </c:pt>
                <c:pt idx="9">
                  <c:v>Av Price/Unit 46.39</c:v>
                </c:pt>
                <c:pt idx="10">
                  <c:v>Av Price/Unit 46.75</c:v>
                </c:pt>
                <c:pt idx="11">
                  <c:v>Av Price/Unit 70.91</c:v>
                </c:pt>
              </c:strCache>
            </c:strRef>
          </c:cat>
          <c:val>
            <c:numRef>
              <c:f>Sheet1!$E$2:$E$13</c:f>
              <c:numCache>
                <c:formatCode>General</c:formatCode>
                <c:ptCount val="12"/>
                <c:pt idx="0">
                  <c:v>15.574455001076158</c:v>
                </c:pt>
                <c:pt idx="1">
                  <c:v>16.311706575446593</c:v>
                </c:pt>
                <c:pt idx="2">
                  <c:v>5.8793273986152306</c:v>
                </c:pt>
                <c:pt idx="3">
                  <c:v>6.4382421904545817</c:v>
                </c:pt>
                <c:pt idx="4">
                  <c:v>37.312407680945327</c:v>
                </c:pt>
                <c:pt idx="5">
                  <c:v>10.151094027202838</c:v>
                </c:pt>
                <c:pt idx="6">
                  <c:v>6.3086906522096244</c:v>
                </c:pt>
                <c:pt idx="7">
                  <c:v>8.7371929824561345</c:v>
                </c:pt>
                <c:pt idx="8">
                  <c:v>9.3821399839098891</c:v>
                </c:pt>
                <c:pt idx="9">
                  <c:v>7.7321822189566491</c:v>
                </c:pt>
                <c:pt idx="10">
                  <c:v>7.7920240137221208</c:v>
                </c:pt>
                <c:pt idx="11">
                  <c:v>11.81872294372294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47</c:v>
                </c:pt>
                <c:pt idx="1">
                  <c:v>Av Price/Unit 98.09</c:v>
                </c:pt>
                <c:pt idx="2">
                  <c:v>Av Price/Unit 225.96</c:v>
                </c:pt>
                <c:pt idx="3">
                  <c:v>Av Price/Unit 35.31</c:v>
                </c:pt>
                <c:pt idx="4">
                  <c:v>Av Price/Unit 38.77</c:v>
                </c:pt>
                <c:pt idx="5">
                  <c:v>Av Price/Unit 61.03</c:v>
                </c:pt>
                <c:pt idx="6">
                  <c:v>Av Price/Unit 56.69</c:v>
                </c:pt>
                <c:pt idx="7">
                  <c:v>Av Price/Unit 38.00</c:v>
                </c:pt>
                <c:pt idx="8">
                  <c:v>Av Price/Unit 52.88</c:v>
                </c:pt>
                <c:pt idx="9">
                  <c:v>Av Price/Unit 46.80</c:v>
                </c:pt>
                <c:pt idx="10">
                  <c:v>Av Price/Unit 71.58</c:v>
                </c:pt>
                <c:pt idx="11">
                  <c:v>Av Price/Unit 81.02</c:v>
                </c:pt>
              </c:strCache>
            </c:strRef>
          </c:cat>
          <c:val>
            <c:numRef>
              <c:f>Sheet1!$B$2:$B$13</c:f>
              <c:numCache>
                <c:formatCode>General</c:formatCode>
                <c:ptCount val="12"/>
                <c:pt idx="0">
                  <c:v>30.081258966520679</c:v>
                </c:pt>
                <c:pt idx="1">
                  <c:v>31.672391755793221</c:v>
                </c:pt>
                <c:pt idx="2">
                  <c:v>74.500025000000022</c:v>
                </c:pt>
                <c:pt idx="3">
                  <c:v>12.508058554745672</c:v>
                </c:pt>
                <c:pt idx="4">
                  <c:v>13.315306860395443</c:v>
                </c:pt>
                <c:pt idx="5">
                  <c:v>21.345848848210604</c:v>
                </c:pt>
                <c:pt idx="6">
                  <c:v>18.465476405867964</c:v>
                </c:pt>
                <c:pt idx="7">
                  <c:v>14.818243960644752</c:v>
                </c:pt>
                <c:pt idx="8">
                  <c:v>18.122120702402952</c:v>
                </c:pt>
                <c:pt idx="9">
                  <c:v>16.106740870616687</c:v>
                </c:pt>
                <c:pt idx="10">
                  <c:v>26.04647883165828</c:v>
                </c:pt>
                <c:pt idx="11">
                  <c:v>27.6030798145506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47</c:v>
                </c:pt>
                <c:pt idx="1">
                  <c:v>Av Price/Unit 98.09</c:v>
                </c:pt>
                <c:pt idx="2">
                  <c:v>Av Price/Unit 225.96</c:v>
                </c:pt>
                <c:pt idx="3">
                  <c:v>Av Price/Unit 35.31</c:v>
                </c:pt>
                <c:pt idx="4">
                  <c:v>Av Price/Unit 38.77</c:v>
                </c:pt>
                <c:pt idx="5">
                  <c:v>Av Price/Unit 61.03</c:v>
                </c:pt>
                <c:pt idx="6">
                  <c:v>Av Price/Unit 56.69</c:v>
                </c:pt>
                <c:pt idx="7">
                  <c:v>Av Price/Unit 38.00</c:v>
                </c:pt>
                <c:pt idx="8">
                  <c:v>Av Price/Unit 52.88</c:v>
                </c:pt>
                <c:pt idx="9">
                  <c:v>Av Price/Unit 46.80</c:v>
                </c:pt>
                <c:pt idx="10">
                  <c:v>Av Price/Unit 71.58</c:v>
                </c:pt>
                <c:pt idx="11">
                  <c:v>Av Price/Unit 81.02</c:v>
                </c:pt>
              </c:strCache>
            </c:strRef>
          </c:cat>
          <c:val>
            <c:numRef>
              <c:f>Sheet1!$C$2:$C$13</c:f>
              <c:numCache>
                <c:formatCode>General</c:formatCode>
                <c:ptCount val="12"/>
                <c:pt idx="0">
                  <c:v>47.778620205167385</c:v>
                </c:pt>
                <c:pt idx="1">
                  <c:v>49.774545306001166</c:v>
                </c:pt>
                <c:pt idx="2">
                  <c:v>109.92800000000005</c:v>
                </c:pt>
                <c:pt idx="3">
                  <c:v>16.772323230660714</c:v>
                </c:pt>
                <c:pt idx="4">
                  <c:v>16.205999999999996</c:v>
                </c:pt>
                <c:pt idx="5">
                  <c:v>28.583432126696845</c:v>
                </c:pt>
                <c:pt idx="6">
                  <c:v>28.282669926650364</c:v>
                </c:pt>
                <c:pt idx="7">
                  <c:v>18.319876721791918</c:v>
                </c:pt>
                <c:pt idx="8">
                  <c:v>24.511488909426987</c:v>
                </c:pt>
                <c:pt idx="9">
                  <c:v>22.148938452237005</c:v>
                </c:pt>
                <c:pt idx="10">
                  <c:v>32.17542003768844</c:v>
                </c:pt>
                <c:pt idx="11">
                  <c:v>38.45138730385163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47</c:v>
                </c:pt>
                <c:pt idx="1">
                  <c:v>Av Price/Unit 98.09</c:v>
                </c:pt>
                <c:pt idx="2">
                  <c:v>Av Price/Unit 225.96</c:v>
                </c:pt>
                <c:pt idx="3">
                  <c:v>Av Price/Unit 35.31</c:v>
                </c:pt>
                <c:pt idx="4">
                  <c:v>Av Price/Unit 38.77</c:v>
                </c:pt>
                <c:pt idx="5">
                  <c:v>Av Price/Unit 61.03</c:v>
                </c:pt>
                <c:pt idx="6">
                  <c:v>Av Price/Unit 56.69</c:v>
                </c:pt>
                <c:pt idx="7">
                  <c:v>Av Price/Unit 38.00</c:v>
                </c:pt>
                <c:pt idx="8">
                  <c:v>Av Price/Unit 52.88</c:v>
                </c:pt>
                <c:pt idx="9">
                  <c:v>Av Price/Unit 46.80</c:v>
                </c:pt>
                <c:pt idx="10">
                  <c:v>Av Price/Unit 71.58</c:v>
                </c:pt>
                <c:pt idx="11">
                  <c:v>Av Price/Unit 81.02</c:v>
                </c:pt>
              </c:strCache>
            </c:strRef>
          </c:cat>
          <c:val>
            <c:numRef>
              <c:f>Sheet1!$D$2:$D$13</c:f>
              <c:numCache>
                <c:formatCode>General</c:formatCode>
                <c:ptCount val="12"/>
                <c:pt idx="0">
                  <c:v>3.0541450868554421E-2</c:v>
                </c:pt>
                <c:pt idx="1">
                  <c:v>0.29375416419092915</c:v>
                </c:pt>
                <c:pt idx="2">
                  <c:v>3.8695611008610342</c:v>
                </c:pt>
                <c:pt idx="3">
                  <c:v>0.14368488648535305</c:v>
                </c:pt>
                <c:pt idx="4">
                  <c:v>2.7901238033420093</c:v>
                </c:pt>
                <c:pt idx="5">
                  <c:v>0.92701958727546696</c:v>
                </c:pt>
                <c:pt idx="6">
                  <c:v>0.49105497147514399</c:v>
                </c:pt>
                <c:pt idx="7">
                  <c:v>-1.4745940618240212</c:v>
                </c:pt>
                <c:pt idx="8">
                  <c:v>1.4339607311563327</c:v>
                </c:pt>
                <c:pt idx="9">
                  <c:v>0.74825054413543057</c:v>
                </c:pt>
                <c:pt idx="10">
                  <c:v>1.4311119974874202</c:v>
                </c:pt>
                <c:pt idx="11">
                  <c:v>1.465742106514511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47</c:v>
                </c:pt>
                <c:pt idx="1">
                  <c:v>Av Price/Unit 98.09</c:v>
                </c:pt>
                <c:pt idx="2">
                  <c:v>Av Price/Unit 225.96</c:v>
                </c:pt>
                <c:pt idx="3">
                  <c:v>Av Price/Unit 35.31</c:v>
                </c:pt>
                <c:pt idx="4">
                  <c:v>Av Price/Unit 38.77</c:v>
                </c:pt>
                <c:pt idx="5">
                  <c:v>Av Price/Unit 61.03</c:v>
                </c:pt>
                <c:pt idx="6">
                  <c:v>Av Price/Unit 56.69</c:v>
                </c:pt>
                <c:pt idx="7">
                  <c:v>Av Price/Unit 38.00</c:v>
                </c:pt>
                <c:pt idx="8">
                  <c:v>Av Price/Unit 52.88</c:v>
                </c:pt>
                <c:pt idx="9">
                  <c:v>Av Price/Unit 46.80</c:v>
                </c:pt>
                <c:pt idx="10">
                  <c:v>Av Price/Unit 71.58</c:v>
                </c:pt>
                <c:pt idx="11">
                  <c:v>Av Price/Unit 81.02</c:v>
                </c:pt>
              </c:strCache>
            </c:strRef>
          </c:cat>
          <c:val>
            <c:numRef>
              <c:f>Sheet1!$E$2:$E$13</c:f>
              <c:numCache>
                <c:formatCode>General</c:formatCode>
                <c:ptCount val="12"/>
                <c:pt idx="0">
                  <c:v>15.578084124511358</c:v>
                </c:pt>
                <c:pt idx="1">
                  <c:v>16.348138245197063</c:v>
                </c:pt>
                <c:pt idx="2">
                  <c:v>37.659517220172219</c:v>
                </c:pt>
                <c:pt idx="3">
                  <c:v>5.8848133343783546</c:v>
                </c:pt>
                <c:pt idx="4">
                  <c:v>6.4622861327474732</c:v>
                </c:pt>
                <c:pt idx="5">
                  <c:v>10.171260112436594</c:v>
                </c:pt>
                <c:pt idx="6">
                  <c:v>9.4478402607987011</c:v>
                </c:pt>
                <c:pt idx="7">
                  <c:v>6.3327053241225393</c:v>
                </c:pt>
                <c:pt idx="8">
                  <c:v>8.8135140685972448</c:v>
                </c:pt>
                <c:pt idx="9">
                  <c:v>7.8007859733978151</c:v>
                </c:pt>
                <c:pt idx="10">
                  <c:v>11.930590452261297</c:v>
                </c:pt>
                <c:pt idx="11">
                  <c:v>13.504041844983339</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58</c:v>
                </c:pt>
                <c:pt idx="1">
                  <c:v>Av Price/Unit 98.01</c:v>
                </c:pt>
                <c:pt idx="2">
                  <c:v>Av Price/Unit 224.01</c:v>
                </c:pt>
                <c:pt idx="3">
                  <c:v>Av Price/Unit 35.06</c:v>
                </c:pt>
                <c:pt idx="4">
                  <c:v>Av Price/Unit 38.63</c:v>
                </c:pt>
                <c:pt idx="5">
                  <c:v>Av Price/Unit 60.41</c:v>
                </c:pt>
                <c:pt idx="6">
                  <c:v>Av Price/Unit 30.32</c:v>
                </c:pt>
                <c:pt idx="7">
                  <c:v>Av Price/Unit 37.42</c:v>
                </c:pt>
                <c:pt idx="8">
                  <c:v>Av Price/Unit 45.85</c:v>
                </c:pt>
                <c:pt idx="9">
                  <c:v>Av Price/Unit 56.67</c:v>
                </c:pt>
                <c:pt idx="10">
                  <c:v>Av Price/Unit 52.46</c:v>
                </c:pt>
                <c:pt idx="11">
                  <c:v>Av Price/Unit 70.55</c:v>
                </c:pt>
              </c:strCache>
            </c:strRef>
          </c:cat>
          <c:val>
            <c:numRef>
              <c:f>Sheet1!$B$2:$B$13</c:f>
              <c:numCache>
                <c:formatCode>General</c:formatCode>
                <c:ptCount val="12"/>
                <c:pt idx="0">
                  <c:v>30.193458782809341</c:v>
                </c:pt>
                <c:pt idx="1">
                  <c:v>31.741672107438017</c:v>
                </c:pt>
                <c:pt idx="2">
                  <c:v>74.454765054945042</c:v>
                </c:pt>
                <c:pt idx="3">
                  <c:v>12.519917629629628</c:v>
                </c:pt>
                <c:pt idx="4">
                  <c:v>13.317240000000002</c:v>
                </c:pt>
                <c:pt idx="5">
                  <c:v>21.330279577464786</c:v>
                </c:pt>
                <c:pt idx="6">
                  <c:v>8.7838774193548375</c:v>
                </c:pt>
                <c:pt idx="7">
                  <c:v>14.863148133116885</c:v>
                </c:pt>
                <c:pt idx="8">
                  <c:v>16.116100501882059</c:v>
                </c:pt>
                <c:pt idx="9">
                  <c:v>18.487400775193798</c:v>
                </c:pt>
                <c:pt idx="10">
                  <c:v>18.138556088560886</c:v>
                </c:pt>
                <c:pt idx="11">
                  <c:v>25.95817855153203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58</c:v>
                </c:pt>
                <c:pt idx="1">
                  <c:v>Av Price/Unit 98.01</c:v>
                </c:pt>
                <c:pt idx="2">
                  <c:v>Av Price/Unit 224.01</c:v>
                </c:pt>
                <c:pt idx="3">
                  <c:v>Av Price/Unit 35.06</c:v>
                </c:pt>
                <c:pt idx="4">
                  <c:v>Av Price/Unit 38.63</c:v>
                </c:pt>
                <c:pt idx="5">
                  <c:v>Av Price/Unit 60.41</c:v>
                </c:pt>
                <c:pt idx="6">
                  <c:v>Av Price/Unit 30.32</c:v>
                </c:pt>
                <c:pt idx="7">
                  <c:v>Av Price/Unit 37.42</c:v>
                </c:pt>
                <c:pt idx="8">
                  <c:v>Av Price/Unit 45.85</c:v>
                </c:pt>
                <c:pt idx="9">
                  <c:v>Av Price/Unit 56.67</c:v>
                </c:pt>
                <c:pt idx="10">
                  <c:v>Av Price/Unit 52.46</c:v>
                </c:pt>
                <c:pt idx="11">
                  <c:v>Av Price/Unit 70.55</c:v>
                </c:pt>
              </c:strCache>
            </c:strRef>
          </c:cat>
          <c:val>
            <c:numRef>
              <c:f>Sheet1!$C$2:$C$13</c:f>
              <c:numCache>
                <c:formatCode>General</c:formatCode>
                <c:ptCount val="12"/>
                <c:pt idx="0">
                  <c:v>47.723595183155474</c:v>
                </c:pt>
                <c:pt idx="1">
                  <c:v>49.74534779614325</c:v>
                </c:pt>
                <c:pt idx="2">
                  <c:v>109.92800000000001</c:v>
                </c:pt>
                <c:pt idx="3">
                  <c:v>16.768419999999999</c:v>
                </c:pt>
                <c:pt idx="4">
                  <c:v>16.205999999999996</c:v>
                </c:pt>
                <c:pt idx="5">
                  <c:v>28.576132237871672</c:v>
                </c:pt>
                <c:pt idx="6">
                  <c:v>18.901612903225811</c:v>
                </c:pt>
                <c:pt idx="7">
                  <c:v>18.330266720779221</c:v>
                </c:pt>
                <c:pt idx="8">
                  <c:v>22.152184567126728</c:v>
                </c:pt>
                <c:pt idx="9">
                  <c:v>28.272914728682171</c:v>
                </c:pt>
                <c:pt idx="10">
                  <c:v>24.517869926199257</c:v>
                </c:pt>
                <c:pt idx="11">
                  <c:v>32.07776991643454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58</c:v>
                </c:pt>
                <c:pt idx="1">
                  <c:v>Av Price/Unit 98.01</c:v>
                </c:pt>
                <c:pt idx="2">
                  <c:v>Av Price/Unit 224.01</c:v>
                </c:pt>
                <c:pt idx="3">
                  <c:v>Av Price/Unit 35.06</c:v>
                </c:pt>
                <c:pt idx="4">
                  <c:v>Av Price/Unit 38.63</c:v>
                </c:pt>
                <c:pt idx="5">
                  <c:v>Av Price/Unit 60.41</c:v>
                </c:pt>
                <c:pt idx="6">
                  <c:v>Av Price/Unit 30.32</c:v>
                </c:pt>
                <c:pt idx="7">
                  <c:v>Av Price/Unit 37.42</c:v>
                </c:pt>
                <c:pt idx="8">
                  <c:v>Av Price/Unit 45.85</c:v>
                </c:pt>
                <c:pt idx="9">
                  <c:v>Av Price/Unit 56.67</c:v>
                </c:pt>
                <c:pt idx="10">
                  <c:v>Av Price/Unit 52.46</c:v>
                </c:pt>
                <c:pt idx="11">
                  <c:v>Av Price/Unit 70.55</c:v>
                </c:pt>
              </c:strCache>
            </c:strRef>
          </c:cat>
          <c:val>
            <c:numRef>
              <c:f>Sheet1!$D$2:$D$13</c:f>
              <c:numCache>
                <c:formatCode>General</c:formatCode>
                <c:ptCount val="12"/>
                <c:pt idx="0">
                  <c:v>6.2467233919846876E-2</c:v>
                </c:pt>
                <c:pt idx="1">
                  <c:v>0.18595989439855032</c:v>
                </c:pt>
                <c:pt idx="2">
                  <c:v>2.2930591208791213</c:v>
                </c:pt>
                <c:pt idx="3">
                  <c:v>-7.5066024691356148E-2</c:v>
                </c:pt>
                <c:pt idx="4">
                  <c:v>2.6677674374577514</c:v>
                </c:pt>
                <c:pt idx="5">
                  <c:v>0.43526789254043052</c:v>
                </c:pt>
                <c:pt idx="6">
                  <c:v>-2.4206263124604703</c:v>
                </c:pt>
                <c:pt idx="7">
                  <c:v>-2.008349918831172</c:v>
                </c:pt>
                <c:pt idx="8">
                  <c:v>-5.9376662484311282E-2</c:v>
                </c:pt>
                <c:pt idx="9">
                  <c:v>0.46190671834625618</c:v>
                </c:pt>
                <c:pt idx="10">
                  <c:v>1.0612861623616396</c:v>
                </c:pt>
                <c:pt idx="11">
                  <c:v>0.7547254410399517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58</c:v>
                </c:pt>
                <c:pt idx="1">
                  <c:v>Av Price/Unit 98.01</c:v>
                </c:pt>
                <c:pt idx="2">
                  <c:v>Av Price/Unit 224.01</c:v>
                </c:pt>
                <c:pt idx="3">
                  <c:v>Av Price/Unit 35.06</c:v>
                </c:pt>
                <c:pt idx="4">
                  <c:v>Av Price/Unit 38.63</c:v>
                </c:pt>
                <c:pt idx="5">
                  <c:v>Av Price/Unit 60.41</c:v>
                </c:pt>
                <c:pt idx="6">
                  <c:v>Av Price/Unit 30.32</c:v>
                </c:pt>
                <c:pt idx="7">
                  <c:v>Av Price/Unit 37.42</c:v>
                </c:pt>
                <c:pt idx="8">
                  <c:v>Av Price/Unit 45.85</c:v>
                </c:pt>
                <c:pt idx="9">
                  <c:v>Av Price/Unit 56.67</c:v>
                </c:pt>
                <c:pt idx="10">
                  <c:v>Av Price/Unit 52.46</c:v>
                </c:pt>
                <c:pt idx="11">
                  <c:v>Av Price/Unit 70.55</c:v>
                </c:pt>
              </c:strCache>
            </c:strRef>
          </c:cat>
          <c:val>
            <c:numRef>
              <c:f>Sheet1!$E$2:$E$13</c:f>
              <c:numCache>
                <c:formatCode>General</c:formatCode>
                <c:ptCount val="12"/>
                <c:pt idx="0">
                  <c:v>15.595904239976925</c:v>
                </c:pt>
                <c:pt idx="1">
                  <c:v>16.334595959595948</c:v>
                </c:pt>
                <c:pt idx="2">
                  <c:v>37.335164835164832</c:v>
                </c:pt>
                <c:pt idx="3">
                  <c:v>5.8426543209876511</c:v>
                </c:pt>
                <c:pt idx="4">
                  <c:v>6.4382014874915443</c:v>
                </c:pt>
                <c:pt idx="5">
                  <c:v>10.068335941575375</c:v>
                </c:pt>
                <c:pt idx="6">
                  <c:v>5.0529728020240343</c:v>
                </c:pt>
                <c:pt idx="7">
                  <c:v>6.2370129870129869</c:v>
                </c:pt>
                <c:pt idx="8">
                  <c:v>7.6417816813048889</c:v>
                </c:pt>
                <c:pt idx="9">
                  <c:v>9.4444444444444358</c:v>
                </c:pt>
                <c:pt idx="10">
                  <c:v>8.7435424354243416</c:v>
                </c:pt>
                <c:pt idx="11">
                  <c:v>11.75812441968430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04</c:v>
                </c:pt>
                <c:pt idx="1">
                  <c:v>Av Price/Unit 97.67</c:v>
                </c:pt>
                <c:pt idx="2">
                  <c:v>Av Price/Unit 225.81</c:v>
                </c:pt>
                <c:pt idx="3">
                  <c:v>Av Price/Unit 35.46</c:v>
                </c:pt>
                <c:pt idx="4">
                  <c:v>Av Price/Unit 38.67</c:v>
                </c:pt>
                <c:pt idx="5">
                  <c:v>Av Price/Unit 56.51</c:v>
                </c:pt>
                <c:pt idx="6">
                  <c:v>Av Price/Unit 61.14</c:v>
                </c:pt>
                <c:pt idx="7">
                  <c:v>Av Price/Unit 52.79</c:v>
                </c:pt>
                <c:pt idx="8">
                  <c:v>Av Price/Unit 39.58</c:v>
                </c:pt>
                <c:pt idx="9">
                  <c:v>Av Price/Unit 47.21</c:v>
                </c:pt>
                <c:pt idx="10">
                  <c:v>Av Price/Unit 47.40</c:v>
                </c:pt>
                <c:pt idx="11">
                  <c:v>Av Price/Unit 81.83</c:v>
                </c:pt>
              </c:strCache>
            </c:strRef>
          </c:cat>
          <c:val>
            <c:numRef>
              <c:f>Sheet1!$B$2:$B$13</c:f>
              <c:numCache>
                <c:formatCode>General</c:formatCode>
                <c:ptCount val="12"/>
                <c:pt idx="0">
                  <c:v>30.217047800586514</c:v>
                </c:pt>
                <c:pt idx="1">
                  <c:v>31.612613738630927</c:v>
                </c:pt>
                <c:pt idx="2">
                  <c:v>74.465314399999983</c:v>
                </c:pt>
                <c:pt idx="3">
                  <c:v>12.474357142857146</c:v>
                </c:pt>
                <c:pt idx="4">
                  <c:v>13.308875510204084</c:v>
                </c:pt>
                <c:pt idx="5">
                  <c:v>18.312808365758759</c:v>
                </c:pt>
                <c:pt idx="6">
                  <c:v>21.3631230125523</c:v>
                </c:pt>
                <c:pt idx="7">
                  <c:v>18.105555474452554</c:v>
                </c:pt>
                <c:pt idx="8">
                  <c:v>14.784678251599148</c:v>
                </c:pt>
                <c:pt idx="9">
                  <c:v>16.097874619289339</c:v>
                </c:pt>
                <c:pt idx="10">
                  <c:v>15.956473426573424</c:v>
                </c:pt>
                <c:pt idx="11">
                  <c:v>27.30068181818182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04</c:v>
                </c:pt>
                <c:pt idx="1">
                  <c:v>Av Price/Unit 97.67</c:v>
                </c:pt>
                <c:pt idx="2">
                  <c:v>Av Price/Unit 225.81</c:v>
                </c:pt>
                <c:pt idx="3">
                  <c:v>Av Price/Unit 35.46</c:v>
                </c:pt>
                <c:pt idx="4">
                  <c:v>Av Price/Unit 38.67</c:v>
                </c:pt>
                <c:pt idx="5">
                  <c:v>Av Price/Unit 56.51</c:v>
                </c:pt>
                <c:pt idx="6">
                  <c:v>Av Price/Unit 61.14</c:v>
                </c:pt>
                <c:pt idx="7">
                  <c:v>Av Price/Unit 52.79</c:v>
                </c:pt>
                <c:pt idx="8">
                  <c:v>Av Price/Unit 39.58</c:v>
                </c:pt>
                <c:pt idx="9">
                  <c:v>Av Price/Unit 47.21</c:v>
                </c:pt>
                <c:pt idx="10">
                  <c:v>Av Price/Unit 47.40</c:v>
                </c:pt>
                <c:pt idx="11">
                  <c:v>Av Price/Unit 81.83</c:v>
                </c:pt>
              </c:strCache>
            </c:strRef>
          </c:cat>
          <c:val>
            <c:numRef>
              <c:f>Sheet1!$C$2:$C$13</c:f>
              <c:numCache>
                <c:formatCode>General</c:formatCode>
                <c:ptCount val="12"/>
                <c:pt idx="0">
                  <c:v>47.712026659557452</c:v>
                </c:pt>
                <c:pt idx="1">
                  <c:v>49.799738152225942</c:v>
                </c:pt>
                <c:pt idx="2">
                  <c:v>109.928</c:v>
                </c:pt>
                <c:pt idx="3">
                  <c:v>16.783415527950311</c:v>
                </c:pt>
                <c:pt idx="4">
                  <c:v>16.206</c:v>
                </c:pt>
                <c:pt idx="5">
                  <c:v>28.350599221789881</c:v>
                </c:pt>
                <c:pt idx="6">
                  <c:v>28.591531380753139</c:v>
                </c:pt>
                <c:pt idx="7">
                  <c:v>24.505057481751823</c:v>
                </c:pt>
                <c:pt idx="8">
                  <c:v>18.312110234541581</c:v>
                </c:pt>
                <c:pt idx="9">
                  <c:v>22.145863451776655</c:v>
                </c:pt>
                <c:pt idx="10">
                  <c:v>22.216508391608393</c:v>
                </c:pt>
                <c:pt idx="11">
                  <c:v>38.45690909090907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04</c:v>
                </c:pt>
                <c:pt idx="1">
                  <c:v>Av Price/Unit 97.67</c:v>
                </c:pt>
                <c:pt idx="2">
                  <c:v>Av Price/Unit 225.81</c:v>
                </c:pt>
                <c:pt idx="3">
                  <c:v>Av Price/Unit 35.46</c:v>
                </c:pt>
                <c:pt idx="4">
                  <c:v>Av Price/Unit 38.67</c:v>
                </c:pt>
                <c:pt idx="5">
                  <c:v>Av Price/Unit 56.51</c:v>
                </c:pt>
                <c:pt idx="6">
                  <c:v>Av Price/Unit 61.14</c:v>
                </c:pt>
                <c:pt idx="7">
                  <c:v>Av Price/Unit 52.79</c:v>
                </c:pt>
                <c:pt idx="8">
                  <c:v>Av Price/Unit 39.58</c:v>
                </c:pt>
                <c:pt idx="9">
                  <c:v>Av Price/Unit 47.21</c:v>
                </c:pt>
                <c:pt idx="10">
                  <c:v>Av Price/Unit 47.40</c:v>
                </c:pt>
                <c:pt idx="11">
                  <c:v>Av Price/Unit 81.83</c:v>
                </c:pt>
              </c:strCache>
            </c:strRef>
          </c:cat>
          <c:val>
            <c:numRef>
              <c:f>Sheet1!$D$2:$D$13</c:f>
              <c:numCache>
                <c:formatCode>General</c:formatCode>
                <c:ptCount val="12"/>
                <c:pt idx="0">
                  <c:v>-0.39486136141472628</c:v>
                </c:pt>
                <c:pt idx="1">
                  <c:v>-2.293111536620529E-2</c:v>
                </c:pt>
                <c:pt idx="2">
                  <c:v>3.7800189333333378</c:v>
                </c:pt>
                <c:pt idx="3">
                  <c:v>0.28932877846790106</c:v>
                </c:pt>
                <c:pt idx="4">
                  <c:v>2.706012845138055</c:v>
                </c:pt>
                <c:pt idx="5">
                  <c:v>0.42478955901427184</c:v>
                </c:pt>
                <c:pt idx="6">
                  <c:v>0.99548507670850483</c:v>
                </c:pt>
                <c:pt idx="7">
                  <c:v>1.3796546836982913</c:v>
                </c:pt>
                <c:pt idx="8">
                  <c:v>-0.11349068941010643</c:v>
                </c:pt>
                <c:pt idx="9">
                  <c:v>1.0963634517766465</c:v>
                </c:pt>
                <c:pt idx="10">
                  <c:v>1.3258526806526874</c:v>
                </c:pt>
                <c:pt idx="11">
                  <c:v>2.435049783549786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04</c:v>
                </c:pt>
                <c:pt idx="1">
                  <c:v>Av Price/Unit 97.67</c:v>
                </c:pt>
                <c:pt idx="2">
                  <c:v>Av Price/Unit 225.81</c:v>
                </c:pt>
                <c:pt idx="3">
                  <c:v>Av Price/Unit 35.46</c:v>
                </c:pt>
                <c:pt idx="4">
                  <c:v>Av Price/Unit 38.67</c:v>
                </c:pt>
                <c:pt idx="5">
                  <c:v>Av Price/Unit 56.51</c:v>
                </c:pt>
                <c:pt idx="6">
                  <c:v>Av Price/Unit 61.14</c:v>
                </c:pt>
                <c:pt idx="7">
                  <c:v>Av Price/Unit 52.79</c:v>
                </c:pt>
                <c:pt idx="8">
                  <c:v>Av Price/Unit 39.58</c:v>
                </c:pt>
                <c:pt idx="9">
                  <c:v>Av Price/Unit 47.21</c:v>
                </c:pt>
                <c:pt idx="10">
                  <c:v>Av Price/Unit 47.40</c:v>
                </c:pt>
                <c:pt idx="11">
                  <c:v>Av Price/Unit 81.83</c:v>
                </c:pt>
              </c:strCache>
            </c:strRef>
          </c:cat>
          <c:val>
            <c:numRef>
              <c:f>Sheet1!$E$2:$E$13</c:f>
              <c:numCache>
                <c:formatCode>General</c:formatCode>
                <c:ptCount val="12"/>
                <c:pt idx="0">
                  <c:v>15.506842619745836</c:v>
                </c:pt>
                <c:pt idx="1">
                  <c:v>16.277884155098132</c:v>
                </c:pt>
                <c:pt idx="2">
                  <c:v>37.634666666666654</c:v>
                </c:pt>
                <c:pt idx="3">
                  <c:v>5.9094202898550741</c:v>
                </c:pt>
                <c:pt idx="4">
                  <c:v>6.4441776710684273</c:v>
                </c:pt>
                <c:pt idx="5">
                  <c:v>9.417639429312576</c:v>
                </c:pt>
                <c:pt idx="6">
                  <c:v>10.190027894002787</c:v>
                </c:pt>
                <c:pt idx="7">
                  <c:v>8.7980535279805334</c:v>
                </c:pt>
                <c:pt idx="8">
                  <c:v>6.5966595593461319</c:v>
                </c:pt>
                <c:pt idx="9">
                  <c:v>7.8680203045685282</c:v>
                </c:pt>
                <c:pt idx="10">
                  <c:v>7.8997668997668953</c:v>
                </c:pt>
                <c:pt idx="11">
                  <c:v>13.6385281385281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30</c:v>
                </c:pt>
                <c:pt idx="1">
                  <c:v>Av Price/Unit 98.14</c:v>
                </c:pt>
                <c:pt idx="2">
                  <c:v>Av Price/Unit 225.95</c:v>
                </c:pt>
                <c:pt idx="3">
                  <c:v>Av Price/Unit 56.70</c:v>
                </c:pt>
                <c:pt idx="4">
                  <c:v>Av Price/Unit 79.95</c:v>
                </c:pt>
                <c:pt idx="5">
                  <c:v>Av Price/Unit 35.47</c:v>
                </c:pt>
                <c:pt idx="6">
                  <c:v>Av Price/Unit 38.88</c:v>
                </c:pt>
                <c:pt idx="7">
                  <c:v>Av Price/Unit 61.44</c:v>
                </c:pt>
                <c:pt idx="8">
                  <c:v>Av Price/Unit 47.47</c:v>
                </c:pt>
                <c:pt idx="9">
                  <c:v>Av Price/Unit 52.86</c:v>
                </c:pt>
                <c:pt idx="10">
                  <c:v>Av Price/Unit 203.06</c:v>
                </c:pt>
                <c:pt idx="11">
                  <c:v>Av Price/Unit 46.89</c:v>
                </c:pt>
              </c:strCache>
            </c:strRef>
          </c:cat>
          <c:val>
            <c:numRef>
              <c:f>Sheet1!$B$2:$B$13</c:f>
              <c:numCache>
                <c:formatCode>General</c:formatCode>
                <c:ptCount val="12"/>
                <c:pt idx="0">
                  <c:v>29.951883288312622</c:v>
                </c:pt>
                <c:pt idx="1">
                  <c:v>31.535699571428569</c:v>
                </c:pt>
                <c:pt idx="2">
                  <c:v>74.43275783132529</c:v>
                </c:pt>
                <c:pt idx="3">
                  <c:v>18.516495736434109</c:v>
                </c:pt>
                <c:pt idx="4">
                  <c:v>27.560751381215471</c:v>
                </c:pt>
                <c:pt idx="5">
                  <c:v>12.504427832512318</c:v>
                </c:pt>
                <c:pt idx="6">
                  <c:v>13.272809197324415</c:v>
                </c:pt>
                <c:pt idx="7">
                  <c:v>21.192672140762465</c:v>
                </c:pt>
                <c:pt idx="8">
                  <c:v>16.091855910543128</c:v>
                </c:pt>
                <c:pt idx="9">
                  <c:v>18.018307194244603</c:v>
                </c:pt>
                <c:pt idx="10">
                  <c:v>65.411256249999994</c:v>
                </c:pt>
                <c:pt idx="11">
                  <c:v>15.95958181818181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30</c:v>
                </c:pt>
                <c:pt idx="1">
                  <c:v>Av Price/Unit 98.14</c:v>
                </c:pt>
                <c:pt idx="2">
                  <c:v>Av Price/Unit 225.95</c:v>
                </c:pt>
                <c:pt idx="3">
                  <c:v>Av Price/Unit 56.70</c:v>
                </c:pt>
                <c:pt idx="4">
                  <c:v>Av Price/Unit 79.95</c:v>
                </c:pt>
                <c:pt idx="5">
                  <c:v>Av Price/Unit 35.47</c:v>
                </c:pt>
                <c:pt idx="6">
                  <c:v>Av Price/Unit 38.88</c:v>
                </c:pt>
                <c:pt idx="7">
                  <c:v>Av Price/Unit 61.44</c:v>
                </c:pt>
                <c:pt idx="8">
                  <c:v>Av Price/Unit 47.47</c:v>
                </c:pt>
                <c:pt idx="9">
                  <c:v>Av Price/Unit 52.86</c:v>
                </c:pt>
                <c:pt idx="10">
                  <c:v>Av Price/Unit 203.06</c:v>
                </c:pt>
                <c:pt idx="11">
                  <c:v>Av Price/Unit 46.89</c:v>
                </c:pt>
              </c:strCache>
            </c:strRef>
          </c:cat>
          <c:val>
            <c:numRef>
              <c:f>Sheet1!$C$2:$C$13</c:f>
              <c:numCache>
                <c:formatCode>General</c:formatCode>
                <c:ptCount val="12"/>
                <c:pt idx="0">
                  <c:v>47.842068611561317</c:v>
                </c:pt>
                <c:pt idx="1">
                  <c:v>49.832152857142866</c:v>
                </c:pt>
                <c:pt idx="2">
                  <c:v>109.928</c:v>
                </c:pt>
                <c:pt idx="3">
                  <c:v>28.259968992248062</c:v>
                </c:pt>
                <c:pt idx="4">
                  <c:v>38.452160220994472</c:v>
                </c:pt>
                <c:pt idx="5">
                  <c:v>16.773518226600984</c:v>
                </c:pt>
                <c:pt idx="6">
                  <c:v>16.206</c:v>
                </c:pt>
                <c:pt idx="7">
                  <c:v>28.51161290322581</c:v>
                </c:pt>
                <c:pt idx="8">
                  <c:v>22.143776038338657</c:v>
                </c:pt>
                <c:pt idx="9">
                  <c:v>24.471183453237408</c:v>
                </c:pt>
                <c:pt idx="10">
                  <c:v>95.265812499999981</c:v>
                </c:pt>
                <c:pt idx="11">
                  <c:v>22.21263030303029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30</c:v>
                </c:pt>
                <c:pt idx="1">
                  <c:v>Av Price/Unit 98.14</c:v>
                </c:pt>
                <c:pt idx="2">
                  <c:v>Av Price/Unit 225.95</c:v>
                </c:pt>
                <c:pt idx="3">
                  <c:v>Av Price/Unit 56.70</c:v>
                </c:pt>
                <c:pt idx="4">
                  <c:v>Av Price/Unit 79.95</c:v>
                </c:pt>
                <c:pt idx="5">
                  <c:v>Av Price/Unit 35.47</c:v>
                </c:pt>
                <c:pt idx="6">
                  <c:v>Av Price/Unit 38.88</c:v>
                </c:pt>
                <c:pt idx="7">
                  <c:v>Av Price/Unit 61.44</c:v>
                </c:pt>
                <c:pt idx="8">
                  <c:v>Av Price/Unit 47.47</c:v>
                </c:pt>
                <c:pt idx="9">
                  <c:v>Av Price/Unit 52.86</c:v>
                </c:pt>
                <c:pt idx="10">
                  <c:v>Av Price/Unit 203.06</c:v>
                </c:pt>
                <c:pt idx="11">
                  <c:v>Av Price/Unit 46.89</c:v>
                </c:pt>
              </c:strCache>
            </c:strRef>
          </c:cat>
          <c:val>
            <c:numRef>
              <c:f>Sheet1!$D$2:$D$13</c:f>
              <c:numCache>
                <c:formatCode>General</c:formatCode>
                <c:ptCount val="12"/>
                <c:pt idx="0">
                  <c:v>-4.4837307161245121E-2</c:v>
                </c:pt>
                <c:pt idx="1">
                  <c:v>0.41726661904762352</c:v>
                </c:pt>
                <c:pt idx="2">
                  <c:v>3.929068139223574</c:v>
                </c:pt>
                <c:pt idx="3">
                  <c:v>0.47644224806201407</c:v>
                </c:pt>
                <c:pt idx="4">
                  <c:v>0.61231860036834007</c:v>
                </c:pt>
                <c:pt idx="5">
                  <c:v>0.27665164203613202</c:v>
                </c:pt>
                <c:pt idx="6">
                  <c:v>2.9194628205128197</c:v>
                </c:pt>
                <c:pt idx="7">
                  <c:v>1.4980609970674408</c:v>
                </c:pt>
                <c:pt idx="8">
                  <c:v>1.3197461128860581</c:v>
                </c:pt>
                <c:pt idx="9">
                  <c:v>1.560269544364516</c:v>
                </c:pt>
                <c:pt idx="10">
                  <c:v>8.5416812499999821</c:v>
                </c:pt>
                <c:pt idx="11">
                  <c:v>0.9060707070707110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30</c:v>
                </c:pt>
                <c:pt idx="1">
                  <c:v>Av Price/Unit 98.14</c:v>
                </c:pt>
                <c:pt idx="2">
                  <c:v>Av Price/Unit 225.95</c:v>
                </c:pt>
                <c:pt idx="3">
                  <c:v>Av Price/Unit 56.70</c:v>
                </c:pt>
                <c:pt idx="4">
                  <c:v>Av Price/Unit 79.95</c:v>
                </c:pt>
                <c:pt idx="5">
                  <c:v>Av Price/Unit 35.47</c:v>
                </c:pt>
                <c:pt idx="6">
                  <c:v>Av Price/Unit 38.88</c:v>
                </c:pt>
                <c:pt idx="7">
                  <c:v>Av Price/Unit 61.44</c:v>
                </c:pt>
                <c:pt idx="8">
                  <c:v>Av Price/Unit 47.47</c:v>
                </c:pt>
                <c:pt idx="9">
                  <c:v>Av Price/Unit 52.86</c:v>
                </c:pt>
                <c:pt idx="10">
                  <c:v>Av Price/Unit 203.06</c:v>
                </c:pt>
                <c:pt idx="11">
                  <c:v>Av Price/Unit 46.89</c:v>
                </c:pt>
              </c:strCache>
            </c:strRef>
          </c:cat>
          <c:val>
            <c:numRef>
              <c:f>Sheet1!$E$2:$E$13</c:f>
              <c:numCache>
                <c:formatCode>General</c:formatCode>
                <c:ptCount val="12"/>
                <c:pt idx="0">
                  <c:v>15.549822918542512</c:v>
                </c:pt>
                <c:pt idx="1">
                  <c:v>16.357023809523806</c:v>
                </c:pt>
                <c:pt idx="2">
                  <c:v>37.65796519410975</c:v>
                </c:pt>
                <c:pt idx="3">
                  <c:v>9.4505813953488378</c:v>
                </c:pt>
                <c:pt idx="4">
                  <c:v>13.325046040515646</c:v>
                </c:pt>
                <c:pt idx="5">
                  <c:v>5.910919540229882</c:v>
                </c:pt>
                <c:pt idx="6">
                  <c:v>6.4796544035674453</c:v>
                </c:pt>
                <c:pt idx="7">
                  <c:v>10.240469208211143</c:v>
                </c:pt>
                <c:pt idx="8">
                  <c:v>7.9110756123535655</c:v>
                </c:pt>
                <c:pt idx="9">
                  <c:v>8.8099520383693015</c:v>
                </c:pt>
                <c:pt idx="10">
                  <c:v>33.84375</c:v>
                </c:pt>
                <c:pt idx="11">
                  <c:v>7.815656565656565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E5AB68F9-1D8B-48D2-BDFA-3DB44F4A76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266A3FE9-DE13-470B-8DD7-D7BBABC6C1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EFEFAF5-F967-4ECE-9754-2C8232BB57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A3A8F11-84CC-428E-97DA-7E140A7FC9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CE58A13E-E23B-47CA-A5DE-66D230D649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256211F9-931F-43E2-B140-8EF1FCFA2C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4CB7BA37-F700-451C-90ED-E55B380C9B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7BB9B478-55C7-488C-9ED7-2E204C60BD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0.3157</c:v>
                </c:pt>
                <c:pt idx="1">
                  <c:v>10.6531</c:v>
                </c:pt>
                <c:pt idx="2">
                  <c:v>11.023400000000001</c:v>
                </c:pt>
                <c:pt idx="3">
                  <c:v>10.7799</c:v>
                </c:pt>
                <c:pt idx="4">
                  <c:v>10.867000000000001</c:v>
                </c:pt>
              </c:numCache>
            </c:numRef>
          </c:xVal>
          <c:yVal>
            <c:numRef>
              <c:f>Sheet1!$B$2:$B$6</c:f>
              <c:numCache>
                <c:formatCode>General</c:formatCode>
                <c:ptCount val="5"/>
                <c:pt idx="0">
                  <c:v>0.46820000000000001</c:v>
                </c:pt>
                <c:pt idx="1">
                  <c:v>0.46579999999999999</c:v>
                </c:pt>
                <c:pt idx="2">
                  <c:v>0.46729999999999999</c:v>
                </c:pt>
                <c:pt idx="3">
                  <c:v>0.46529999999999999</c:v>
                </c:pt>
                <c:pt idx="4">
                  <c:v>0.4642</c:v>
                </c:pt>
              </c:numCache>
            </c:numRef>
          </c:yVal>
          <c:bubbleSize>
            <c:numRef>
              <c:f>Sheet1!$C$2:$C$6</c:f>
              <c:numCache>
                <c:formatCode>General</c:formatCode>
                <c:ptCount val="5"/>
                <c:pt idx="0">
                  <c:v>1784.614</c:v>
                </c:pt>
                <c:pt idx="1">
                  <c:v>2056.0414000000001</c:v>
                </c:pt>
                <c:pt idx="2">
                  <c:v>27293.93</c:v>
                </c:pt>
                <c:pt idx="3">
                  <c:v>6220.0254000000004</c:v>
                </c:pt>
                <c:pt idx="4">
                  <c:v>12736.140100000001</c:v>
                </c:pt>
              </c:numCache>
            </c:numRef>
          </c:bubbleSize>
          <c:bubble3D val="0"/>
          <c:extLst>
            <c:ext xmlns:c15="http://schemas.microsoft.com/office/drawing/2012/chart" uri="{02D57815-91ED-43cb-92C2-25804820EDAC}">
              <c15:datalabelsRange>
                <c15:f>Sheet1!$E$2:$E$29</c15:f>
                <c15:dlblRangeCache>
                  <c:ptCount val="28"/>
                  <c:pt idx="0">
                    <c:v>NICOLAS QCA</c:v>
                  </c:pt>
                  <c:pt idx="1">
                    <c:v>NICOLAS CCP</c:v>
                  </c:pt>
                  <c:pt idx="2">
                    <c:v>NICOLAS QCN</c:v>
                  </c:pt>
                  <c:pt idx="3">
                    <c:v>NICOLAS QCT</c:v>
                  </c:pt>
                  <c:pt idx="4">
                    <c:v>NICOLAS VCN</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3.22808"/>
          <c:min val="8.25256000000000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6623393503490085"/>
        <c:crossBetween val="midCat"/>
      </c:valAx>
      <c:valAx>
        <c:axId val="1011451359"/>
        <c:scaling>
          <c:orientation val="minMax"/>
          <c:max val="0.92183999999999999"/>
          <c:min val="0.1313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0.91298376835273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48</c:v>
                </c:pt>
                <c:pt idx="1">
                  <c:v>Av Price/Unit 98.35</c:v>
                </c:pt>
                <c:pt idx="2">
                  <c:v>Av Price/Unit 56.58</c:v>
                </c:pt>
                <c:pt idx="3">
                  <c:v>Av Price/Unit 226.66</c:v>
                </c:pt>
                <c:pt idx="4">
                  <c:v>Av Price/Unit 35.36</c:v>
                </c:pt>
                <c:pt idx="5">
                  <c:v>Av Price/Unit 39.13</c:v>
                </c:pt>
                <c:pt idx="6">
                  <c:v>Av Price/Unit 62.75</c:v>
                </c:pt>
                <c:pt idx="7">
                  <c:v>Av Price/Unit 71.32</c:v>
                </c:pt>
                <c:pt idx="8">
                  <c:v>Av Price/Unit 38.63</c:v>
                </c:pt>
                <c:pt idx="9">
                  <c:v>Av Price/Unit 195.24</c:v>
                </c:pt>
                <c:pt idx="10">
                  <c:v>Av Price/Unit 83.45</c:v>
                </c:pt>
                <c:pt idx="11">
                  <c:v>Av Price/Unit 78.71</c:v>
                </c:pt>
              </c:strCache>
            </c:strRef>
          </c:cat>
          <c:val>
            <c:numRef>
              <c:f>Sheet1!$B$2:$B$13</c:f>
              <c:numCache>
                <c:formatCode>General</c:formatCode>
                <c:ptCount val="12"/>
                <c:pt idx="0">
                  <c:v>29.846510463733654</c:v>
                </c:pt>
                <c:pt idx="1">
                  <c:v>31.741321492007113</c:v>
                </c:pt>
                <c:pt idx="2">
                  <c:v>18.586495568181817</c:v>
                </c:pt>
                <c:pt idx="3">
                  <c:v>74.571980000000011</c:v>
                </c:pt>
                <c:pt idx="4">
                  <c:v>12.534906380027742</c:v>
                </c:pt>
                <c:pt idx="5">
                  <c:v>13.3454</c:v>
                </c:pt>
                <c:pt idx="6">
                  <c:v>21.623614285714286</c:v>
                </c:pt>
                <c:pt idx="7">
                  <c:v>26.11619779411765</c:v>
                </c:pt>
                <c:pt idx="8">
                  <c:v>14.888828365384615</c:v>
                </c:pt>
                <c:pt idx="9">
                  <c:v>65.752956756756774</c:v>
                </c:pt>
                <c:pt idx="10">
                  <c:v>27.836424137931036</c:v>
                </c:pt>
                <c:pt idx="11">
                  <c:v>25.69699999999999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48</c:v>
                </c:pt>
                <c:pt idx="1">
                  <c:v>Av Price/Unit 98.35</c:v>
                </c:pt>
                <c:pt idx="2">
                  <c:v>Av Price/Unit 56.58</c:v>
                </c:pt>
                <c:pt idx="3">
                  <c:v>Av Price/Unit 226.66</c:v>
                </c:pt>
                <c:pt idx="4">
                  <c:v>Av Price/Unit 35.36</c:v>
                </c:pt>
                <c:pt idx="5">
                  <c:v>Av Price/Unit 39.13</c:v>
                </c:pt>
                <c:pt idx="6">
                  <c:v>Av Price/Unit 62.75</c:v>
                </c:pt>
                <c:pt idx="7">
                  <c:v>Av Price/Unit 71.32</c:v>
                </c:pt>
                <c:pt idx="8">
                  <c:v>Av Price/Unit 38.63</c:v>
                </c:pt>
                <c:pt idx="9">
                  <c:v>Av Price/Unit 195.24</c:v>
                </c:pt>
                <c:pt idx="10">
                  <c:v>Av Price/Unit 83.45</c:v>
                </c:pt>
                <c:pt idx="11">
                  <c:v>Av Price/Unit 78.71</c:v>
                </c:pt>
              </c:strCache>
            </c:strRef>
          </c:cat>
          <c:val>
            <c:numRef>
              <c:f>Sheet1!$C$2:$C$13</c:f>
              <c:numCache>
                <c:formatCode>General</c:formatCode>
                <c:ptCount val="12"/>
                <c:pt idx="0">
                  <c:v>47.893745541022589</c:v>
                </c:pt>
                <c:pt idx="1">
                  <c:v>49.745495559502665</c:v>
                </c:pt>
                <c:pt idx="2">
                  <c:v>28.228822727272728</c:v>
                </c:pt>
                <c:pt idx="3">
                  <c:v>109.92800000000001</c:v>
                </c:pt>
                <c:pt idx="4">
                  <c:v>16.763486685159503</c:v>
                </c:pt>
                <c:pt idx="5">
                  <c:v>16.206</c:v>
                </c:pt>
                <c:pt idx="6">
                  <c:v>28.713666666666668</c:v>
                </c:pt>
                <c:pt idx="7">
                  <c:v>32.252521323529407</c:v>
                </c:pt>
                <c:pt idx="8">
                  <c:v>18.336208653846153</c:v>
                </c:pt>
                <c:pt idx="9">
                  <c:v>93.593864864864855</c:v>
                </c:pt>
                <c:pt idx="10">
                  <c:v>38.447126436781609</c:v>
                </c:pt>
                <c:pt idx="11">
                  <c:v>38.05299999999999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48</c:v>
                </c:pt>
                <c:pt idx="1">
                  <c:v>Av Price/Unit 98.35</c:v>
                </c:pt>
                <c:pt idx="2">
                  <c:v>Av Price/Unit 56.58</c:v>
                </c:pt>
                <c:pt idx="3">
                  <c:v>Av Price/Unit 226.66</c:v>
                </c:pt>
                <c:pt idx="4">
                  <c:v>Av Price/Unit 35.36</c:v>
                </c:pt>
                <c:pt idx="5">
                  <c:v>Av Price/Unit 39.13</c:v>
                </c:pt>
                <c:pt idx="6">
                  <c:v>Av Price/Unit 62.75</c:v>
                </c:pt>
                <c:pt idx="7">
                  <c:v>Av Price/Unit 71.32</c:v>
                </c:pt>
                <c:pt idx="8">
                  <c:v>Av Price/Unit 38.63</c:v>
                </c:pt>
                <c:pt idx="9">
                  <c:v>Av Price/Unit 195.24</c:v>
                </c:pt>
                <c:pt idx="10">
                  <c:v>Av Price/Unit 83.45</c:v>
                </c:pt>
                <c:pt idx="11">
                  <c:v>Av Price/Unit 78.71</c:v>
                </c:pt>
              </c:strCache>
            </c:strRef>
          </c:cat>
          <c:val>
            <c:numRef>
              <c:f>Sheet1!$D$2:$D$13</c:f>
              <c:numCache>
                <c:formatCode>General</c:formatCode>
                <c:ptCount val="12"/>
                <c:pt idx="0">
                  <c:v>0.15973078345886904</c:v>
                </c:pt>
                <c:pt idx="1">
                  <c:v>0.46922202486678088</c:v>
                </c:pt>
                <c:pt idx="2">
                  <c:v>0.33146200757576594</c:v>
                </c:pt>
                <c:pt idx="3">
                  <c:v>4.3809723809523859</c:v>
                </c:pt>
                <c:pt idx="4">
                  <c:v>0.17109375866852261</c:v>
                </c:pt>
                <c:pt idx="5">
                  <c:v>3.0575324618736346</c:v>
                </c:pt>
                <c:pt idx="6">
                  <c:v>1.9510788359788407</c:v>
                </c:pt>
                <c:pt idx="7">
                  <c:v>1.0614919117646977</c:v>
                </c:pt>
                <c:pt idx="8">
                  <c:v>-1.0335306089743597</c:v>
                </c:pt>
                <c:pt idx="9">
                  <c:v>3.3558810810810655</c:v>
                </c:pt>
                <c:pt idx="10">
                  <c:v>3.2566793103448362</c:v>
                </c:pt>
                <c:pt idx="11">
                  <c:v>0.1727642276422827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48</c:v>
                </c:pt>
                <c:pt idx="1">
                  <c:v>Av Price/Unit 98.35</c:v>
                </c:pt>
                <c:pt idx="2">
                  <c:v>Av Price/Unit 56.58</c:v>
                </c:pt>
                <c:pt idx="3">
                  <c:v>Av Price/Unit 226.66</c:v>
                </c:pt>
                <c:pt idx="4">
                  <c:v>Av Price/Unit 35.36</c:v>
                </c:pt>
                <c:pt idx="5">
                  <c:v>Av Price/Unit 39.13</c:v>
                </c:pt>
                <c:pt idx="6">
                  <c:v>Av Price/Unit 62.75</c:v>
                </c:pt>
                <c:pt idx="7">
                  <c:v>Av Price/Unit 71.32</c:v>
                </c:pt>
                <c:pt idx="8">
                  <c:v>Av Price/Unit 38.63</c:v>
                </c:pt>
                <c:pt idx="9">
                  <c:v>Av Price/Unit 195.24</c:v>
                </c:pt>
                <c:pt idx="10">
                  <c:v>Av Price/Unit 83.45</c:v>
                </c:pt>
                <c:pt idx="11">
                  <c:v>Av Price/Unit 78.71</c:v>
                </c:pt>
              </c:strCache>
            </c:strRef>
          </c:cat>
          <c:val>
            <c:numRef>
              <c:f>Sheet1!$E$2:$E$13</c:f>
              <c:numCache>
                <c:formatCode>General</c:formatCode>
                <c:ptCount val="12"/>
                <c:pt idx="0">
                  <c:v>15.579997357643009</c:v>
                </c:pt>
                <c:pt idx="1">
                  <c:v>16.391207815275298</c:v>
                </c:pt>
                <c:pt idx="2">
                  <c:v>9.4293560606060556</c:v>
                </c:pt>
                <c:pt idx="3">
                  <c:v>37.776190476190457</c:v>
                </c:pt>
                <c:pt idx="4">
                  <c:v>5.893897364771151</c:v>
                </c:pt>
                <c:pt idx="5">
                  <c:v>6.5217864923747317</c:v>
                </c:pt>
                <c:pt idx="6">
                  <c:v>10.457671957671954</c:v>
                </c:pt>
                <c:pt idx="7">
                  <c:v>11.886029411764707</c:v>
                </c:pt>
                <c:pt idx="8">
                  <c:v>6.4383012820512793</c:v>
                </c:pt>
                <c:pt idx="9">
                  <c:v>32.54054054054054</c:v>
                </c:pt>
                <c:pt idx="10">
                  <c:v>13.908045977011485</c:v>
                </c:pt>
                <c:pt idx="11">
                  <c:v>12.78455284552845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31</c:v>
                </c:pt>
                <c:pt idx="1">
                  <c:v>Av Price/Unit 97.82</c:v>
                </c:pt>
                <c:pt idx="2">
                  <c:v>Av Price/Unit 35.24</c:v>
                </c:pt>
                <c:pt idx="3">
                  <c:v>Av Price/Unit 222.21</c:v>
                </c:pt>
                <c:pt idx="4">
                  <c:v>Av Price/Unit 38.55</c:v>
                </c:pt>
                <c:pt idx="5">
                  <c:v>Av Price/Unit 60.54</c:v>
                </c:pt>
                <c:pt idx="6">
                  <c:v>Av Price/Unit 56.19</c:v>
                </c:pt>
                <c:pt idx="7">
                  <c:v>Av Price/Unit 52.29</c:v>
                </c:pt>
                <c:pt idx="8">
                  <c:v>Av Price/Unit 37.83</c:v>
                </c:pt>
                <c:pt idx="9">
                  <c:v>Av Price/Unit 46.34</c:v>
                </c:pt>
                <c:pt idx="10">
                  <c:v>Av Price/Unit 79.39</c:v>
                </c:pt>
                <c:pt idx="11">
                  <c:v>Av Price/Unit 70.36</c:v>
                </c:pt>
              </c:strCache>
            </c:strRef>
          </c:cat>
          <c:val>
            <c:numRef>
              <c:f>Sheet1!$B$2:$B$13</c:f>
              <c:numCache>
                <c:formatCode>General</c:formatCode>
                <c:ptCount val="12"/>
                <c:pt idx="0">
                  <c:v>30.049730782169899</c:v>
                </c:pt>
                <c:pt idx="1">
                  <c:v>31.632711498565445</c:v>
                </c:pt>
                <c:pt idx="2">
                  <c:v>12.495873420873897</c:v>
                </c:pt>
                <c:pt idx="3">
                  <c:v>74.442017400722023</c:v>
                </c:pt>
                <c:pt idx="4">
                  <c:v>13.304264445399827</c:v>
                </c:pt>
                <c:pt idx="5">
                  <c:v>21.310136259877087</c:v>
                </c:pt>
                <c:pt idx="6">
                  <c:v>18.473028496215861</c:v>
                </c:pt>
                <c:pt idx="7">
                  <c:v>18.056950756302527</c:v>
                </c:pt>
                <c:pt idx="8">
                  <c:v>14.778580863591758</c:v>
                </c:pt>
                <c:pt idx="9">
                  <c:v>16.10168866529774</c:v>
                </c:pt>
                <c:pt idx="10">
                  <c:v>27.547317379679146</c:v>
                </c:pt>
                <c:pt idx="11">
                  <c:v>26.03823333333333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31</c:v>
                </c:pt>
                <c:pt idx="1">
                  <c:v>Av Price/Unit 97.82</c:v>
                </c:pt>
                <c:pt idx="2">
                  <c:v>Av Price/Unit 35.24</c:v>
                </c:pt>
                <c:pt idx="3">
                  <c:v>Av Price/Unit 222.21</c:v>
                </c:pt>
                <c:pt idx="4">
                  <c:v>Av Price/Unit 38.55</c:v>
                </c:pt>
                <c:pt idx="5">
                  <c:v>Av Price/Unit 60.54</c:v>
                </c:pt>
                <c:pt idx="6">
                  <c:v>Av Price/Unit 56.19</c:v>
                </c:pt>
                <c:pt idx="7">
                  <c:v>Av Price/Unit 52.29</c:v>
                </c:pt>
                <c:pt idx="8">
                  <c:v>Av Price/Unit 37.83</c:v>
                </c:pt>
                <c:pt idx="9">
                  <c:v>Av Price/Unit 46.34</c:v>
                </c:pt>
                <c:pt idx="10">
                  <c:v>Av Price/Unit 79.39</c:v>
                </c:pt>
                <c:pt idx="11">
                  <c:v>Av Price/Unit 70.36</c:v>
                </c:pt>
              </c:strCache>
            </c:strRef>
          </c:cat>
          <c:val>
            <c:numRef>
              <c:f>Sheet1!$C$2:$C$13</c:f>
              <c:numCache>
                <c:formatCode>General</c:formatCode>
                <c:ptCount val="12"/>
                <c:pt idx="0">
                  <c:v>47.794082253994965</c:v>
                </c:pt>
                <c:pt idx="1">
                  <c:v>49.791268152725671</c:v>
                </c:pt>
                <c:pt idx="2">
                  <c:v>16.776333778582746</c:v>
                </c:pt>
                <c:pt idx="3">
                  <c:v>109.92799999999998</c:v>
                </c:pt>
                <c:pt idx="4">
                  <c:v>16.206</c:v>
                </c:pt>
                <c:pt idx="5">
                  <c:v>28.566687737781681</c:v>
                </c:pt>
                <c:pt idx="6">
                  <c:v>28.279309641329384</c:v>
                </c:pt>
                <c:pt idx="7">
                  <c:v>24.486186764705877</c:v>
                </c:pt>
                <c:pt idx="8">
                  <c:v>18.310699411187436</c:v>
                </c:pt>
                <c:pt idx="9">
                  <c:v>22.147186242299792</c:v>
                </c:pt>
                <c:pt idx="10">
                  <c:v>38.452405525846707</c:v>
                </c:pt>
                <c:pt idx="11">
                  <c:v>32.16630144927536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31</c:v>
                </c:pt>
                <c:pt idx="1">
                  <c:v>Av Price/Unit 97.82</c:v>
                </c:pt>
                <c:pt idx="2">
                  <c:v>Av Price/Unit 35.24</c:v>
                </c:pt>
                <c:pt idx="3">
                  <c:v>Av Price/Unit 222.21</c:v>
                </c:pt>
                <c:pt idx="4">
                  <c:v>Av Price/Unit 38.55</c:v>
                </c:pt>
                <c:pt idx="5">
                  <c:v>Av Price/Unit 60.54</c:v>
                </c:pt>
                <c:pt idx="6">
                  <c:v>Av Price/Unit 56.19</c:v>
                </c:pt>
                <c:pt idx="7">
                  <c:v>Av Price/Unit 52.29</c:v>
                </c:pt>
                <c:pt idx="8">
                  <c:v>Av Price/Unit 37.83</c:v>
                </c:pt>
                <c:pt idx="9">
                  <c:v>Av Price/Unit 46.34</c:v>
                </c:pt>
                <c:pt idx="10">
                  <c:v>Av Price/Unit 79.39</c:v>
                </c:pt>
                <c:pt idx="11">
                  <c:v>Av Price/Unit 70.36</c:v>
                </c:pt>
              </c:strCache>
            </c:strRef>
          </c:cat>
          <c:val>
            <c:numRef>
              <c:f>Sheet1!$D$2:$D$13</c:f>
              <c:numCache>
                <c:formatCode>General</c:formatCode>
                <c:ptCount val="12"/>
                <c:pt idx="0">
                  <c:v>-8.4070955985410478E-2</c:v>
                </c:pt>
                <c:pt idx="1">
                  <c:v>8.9942955933224766E-2</c:v>
                </c:pt>
                <c:pt idx="2">
                  <c:v>9.2086061429327515E-2</c:v>
                </c:pt>
                <c:pt idx="3">
                  <c:v>0.80687790613717425</c:v>
                </c:pt>
                <c:pt idx="4">
                  <c:v>2.6146280739466938</c:v>
                </c:pt>
                <c:pt idx="5">
                  <c:v>0.56947392449518475</c:v>
                </c:pt>
                <c:pt idx="6">
                  <c:v>6.871045299988765E-2</c:v>
                </c:pt>
                <c:pt idx="7">
                  <c:v>1.0310921708683551</c:v>
                </c:pt>
                <c:pt idx="8">
                  <c:v>-1.5651825755097484</c:v>
                </c:pt>
                <c:pt idx="9">
                  <c:v>0.37159052703628248</c:v>
                </c:pt>
                <c:pt idx="10">
                  <c:v>0.16263597742128866</c:v>
                </c:pt>
                <c:pt idx="11">
                  <c:v>0.4265263142938451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31</c:v>
                </c:pt>
                <c:pt idx="1">
                  <c:v>Av Price/Unit 97.82</c:v>
                </c:pt>
                <c:pt idx="2">
                  <c:v>Av Price/Unit 35.24</c:v>
                </c:pt>
                <c:pt idx="3">
                  <c:v>Av Price/Unit 222.21</c:v>
                </c:pt>
                <c:pt idx="4">
                  <c:v>Av Price/Unit 38.55</c:v>
                </c:pt>
                <c:pt idx="5">
                  <c:v>Av Price/Unit 60.54</c:v>
                </c:pt>
                <c:pt idx="6">
                  <c:v>Av Price/Unit 56.19</c:v>
                </c:pt>
                <c:pt idx="7">
                  <c:v>Av Price/Unit 52.29</c:v>
                </c:pt>
                <c:pt idx="8">
                  <c:v>Av Price/Unit 37.83</c:v>
                </c:pt>
                <c:pt idx="9">
                  <c:v>Av Price/Unit 46.34</c:v>
                </c:pt>
                <c:pt idx="10">
                  <c:v>Av Price/Unit 79.39</c:v>
                </c:pt>
                <c:pt idx="11">
                  <c:v>Av Price/Unit 70.36</c:v>
                </c:pt>
              </c:strCache>
            </c:strRef>
          </c:cat>
          <c:val>
            <c:numRef>
              <c:f>Sheet1!$E$2:$E$13</c:f>
              <c:numCache>
                <c:formatCode>General</c:formatCode>
                <c:ptCount val="12"/>
                <c:pt idx="0">
                  <c:v>15.551948416035881</c:v>
                </c:pt>
                <c:pt idx="1">
                  <c:v>16.302784521444853</c:v>
                </c:pt>
                <c:pt idx="2">
                  <c:v>5.8728586521771886</c:v>
                </c:pt>
                <c:pt idx="3">
                  <c:v>37.03537906137182</c:v>
                </c:pt>
                <c:pt idx="4">
                  <c:v>6.4249785038692995</c:v>
                </c:pt>
                <c:pt idx="5">
                  <c:v>10.08925958443078</c:v>
                </c:pt>
                <c:pt idx="6">
                  <c:v>9.36420971810902</c:v>
                </c:pt>
                <c:pt idx="7">
                  <c:v>8.7148459383753423</c:v>
                </c:pt>
                <c:pt idx="8">
                  <c:v>6.3048195398538809</c:v>
                </c:pt>
                <c:pt idx="9">
                  <c:v>7.7240930869267581</c:v>
                </c:pt>
                <c:pt idx="10">
                  <c:v>13.232471776589406</c:v>
                </c:pt>
                <c:pt idx="11">
                  <c:v>11.72620062517760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53</c:v>
                </c:pt>
                <c:pt idx="1">
                  <c:v>Av Price/Unit 97.95</c:v>
                </c:pt>
                <c:pt idx="2">
                  <c:v>Av Price/Unit 224.36</c:v>
                </c:pt>
                <c:pt idx="3">
                  <c:v>Av Price/Unit 38.81</c:v>
                </c:pt>
                <c:pt idx="4">
                  <c:v>Av Price/Unit 35.27</c:v>
                </c:pt>
                <c:pt idx="5">
                  <c:v>Av Price/Unit 61.04</c:v>
                </c:pt>
                <c:pt idx="6">
                  <c:v>Av Price/Unit 56.77</c:v>
                </c:pt>
                <c:pt idx="7">
                  <c:v>Av Price/Unit 38.66</c:v>
                </c:pt>
                <c:pt idx="8">
                  <c:v>Av Price/Unit 53.24</c:v>
                </c:pt>
                <c:pt idx="9">
                  <c:v>Av Price/Unit 204.47</c:v>
                </c:pt>
                <c:pt idx="10">
                  <c:v>Av Price/Unit 47.72</c:v>
                </c:pt>
                <c:pt idx="11">
                  <c:v>Av Price/Unit 232.98</c:v>
                </c:pt>
              </c:strCache>
            </c:strRef>
          </c:cat>
          <c:val>
            <c:numRef>
              <c:f>Sheet1!$B$2:$B$13</c:f>
              <c:numCache>
                <c:formatCode>General</c:formatCode>
                <c:ptCount val="12"/>
                <c:pt idx="0">
                  <c:v>30.089512634470129</c:v>
                </c:pt>
                <c:pt idx="1">
                  <c:v>31.696168976719008</c:v>
                </c:pt>
                <c:pt idx="2">
                  <c:v>74.654118624641839</c:v>
                </c:pt>
                <c:pt idx="3">
                  <c:v>13.33840909090909</c:v>
                </c:pt>
                <c:pt idx="4">
                  <c:v>12.524720234291799</c:v>
                </c:pt>
                <c:pt idx="5">
                  <c:v>21.402033406113539</c:v>
                </c:pt>
                <c:pt idx="6">
                  <c:v>18.455131818181819</c:v>
                </c:pt>
                <c:pt idx="7">
                  <c:v>14.944696202531645</c:v>
                </c:pt>
                <c:pt idx="8">
                  <c:v>18.212261904761903</c:v>
                </c:pt>
                <c:pt idx="9">
                  <c:v>65.681137931034499</c:v>
                </c:pt>
                <c:pt idx="10">
                  <c:v>16.115233031674208</c:v>
                </c:pt>
                <c:pt idx="11">
                  <c:v>86.65678048780486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53</c:v>
                </c:pt>
                <c:pt idx="1">
                  <c:v>Av Price/Unit 97.95</c:v>
                </c:pt>
                <c:pt idx="2">
                  <c:v>Av Price/Unit 224.36</c:v>
                </c:pt>
                <c:pt idx="3">
                  <c:v>Av Price/Unit 38.81</c:v>
                </c:pt>
                <c:pt idx="4">
                  <c:v>Av Price/Unit 35.27</c:v>
                </c:pt>
                <c:pt idx="5">
                  <c:v>Av Price/Unit 61.04</c:v>
                </c:pt>
                <c:pt idx="6">
                  <c:v>Av Price/Unit 56.77</c:v>
                </c:pt>
                <c:pt idx="7">
                  <c:v>Av Price/Unit 38.66</c:v>
                </c:pt>
                <c:pt idx="8">
                  <c:v>Av Price/Unit 53.24</c:v>
                </c:pt>
                <c:pt idx="9">
                  <c:v>Av Price/Unit 204.47</c:v>
                </c:pt>
                <c:pt idx="10">
                  <c:v>Av Price/Unit 47.72</c:v>
                </c:pt>
                <c:pt idx="11">
                  <c:v>Av Price/Unit 232.98</c:v>
                </c:pt>
              </c:strCache>
            </c:strRef>
          </c:cat>
          <c:val>
            <c:numRef>
              <c:f>Sheet1!$C$2:$C$13</c:f>
              <c:numCache>
                <c:formatCode>General</c:formatCode>
                <c:ptCount val="12"/>
                <c:pt idx="0">
                  <c:v>47.774572442206448</c:v>
                </c:pt>
                <c:pt idx="1">
                  <c:v>49.764524634542504</c:v>
                </c:pt>
                <c:pt idx="2">
                  <c:v>109.92800000000001</c:v>
                </c:pt>
                <c:pt idx="3">
                  <c:v>16.206</c:v>
                </c:pt>
                <c:pt idx="4">
                  <c:v>16.766839297124601</c:v>
                </c:pt>
                <c:pt idx="5">
                  <c:v>28.609775109170307</c:v>
                </c:pt>
                <c:pt idx="6">
                  <c:v>28.287272727272729</c:v>
                </c:pt>
                <c:pt idx="7">
                  <c:v>18.349135443037977</c:v>
                </c:pt>
                <c:pt idx="8">
                  <c:v>24.546486111111111</c:v>
                </c:pt>
                <c:pt idx="9">
                  <c:v>93.945275862068954</c:v>
                </c:pt>
                <c:pt idx="10">
                  <c:v>22.151883710407237</c:v>
                </c:pt>
                <c:pt idx="11">
                  <c:v>105.8432195121951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53</c:v>
                </c:pt>
                <c:pt idx="1">
                  <c:v>Av Price/Unit 97.95</c:v>
                </c:pt>
                <c:pt idx="2">
                  <c:v>Av Price/Unit 224.36</c:v>
                </c:pt>
                <c:pt idx="3">
                  <c:v>Av Price/Unit 38.81</c:v>
                </c:pt>
                <c:pt idx="4">
                  <c:v>Av Price/Unit 35.27</c:v>
                </c:pt>
                <c:pt idx="5">
                  <c:v>Av Price/Unit 61.04</c:v>
                </c:pt>
                <c:pt idx="6">
                  <c:v>Av Price/Unit 56.77</c:v>
                </c:pt>
                <c:pt idx="7">
                  <c:v>Av Price/Unit 38.66</c:v>
                </c:pt>
                <c:pt idx="8">
                  <c:v>Av Price/Unit 53.24</c:v>
                </c:pt>
                <c:pt idx="9">
                  <c:v>Av Price/Unit 204.47</c:v>
                </c:pt>
                <c:pt idx="10">
                  <c:v>Av Price/Unit 47.72</c:v>
                </c:pt>
                <c:pt idx="11">
                  <c:v>Av Price/Unit 232.98</c:v>
                </c:pt>
              </c:strCache>
            </c:strRef>
          </c:cat>
          <c:val>
            <c:numRef>
              <c:f>Sheet1!$D$2:$D$13</c:f>
              <c:numCache>
                <c:formatCode>General</c:formatCode>
                <c:ptCount val="12"/>
                <c:pt idx="0">
                  <c:v>7.8045082780207053E-2</c:v>
                </c:pt>
                <c:pt idx="1">
                  <c:v>0.16175720988991316</c:v>
                </c:pt>
                <c:pt idx="2">
                  <c:v>2.3877954154727945</c:v>
                </c:pt>
                <c:pt idx="3">
                  <c:v>2.7964234771962069</c:v>
                </c:pt>
                <c:pt idx="4">
                  <c:v>0.10318665246716563</c:v>
                </c:pt>
                <c:pt idx="5">
                  <c:v>0.85791491994177704</c:v>
                </c:pt>
                <c:pt idx="6">
                  <c:v>0.57000526695527043</c:v>
                </c:pt>
                <c:pt idx="7">
                  <c:v>-1.0803998593530224</c:v>
                </c:pt>
                <c:pt idx="8">
                  <c:v>1.6096382275132299</c:v>
                </c:pt>
                <c:pt idx="9">
                  <c:v>10.761517241379352</c:v>
                </c:pt>
                <c:pt idx="10">
                  <c:v>1.4990974358974469</c:v>
                </c:pt>
                <c:pt idx="11">
                  <c:v>1.646341463414643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53</c:v>
                </c:pt>
                <c:pt idx="1">
                  <c:v>Av Price/Unit 97.95</c:v>
                </c:pt>
                <c:pt idx="2">
                  <c:v>Av Price/Unit 224.36</c:v>
                </c:pt>
                <c:pt idx="3">
                  <c:v>Av Price/Unit 38.81</c:v>
                </c:pt>
                <c:pt idx="4">
                  <c:v>Av Price/Unit 35.27</c:v>
                </c:pt>
                <c:pt idx="5">
                  <c:v>Av Price/Unit 61.04</c:v>
                </c:pt>
                <c:pt idx="6">
                  <c:v>Av Price/Unit 56.77</c:v>
                </c:pt>
                <c:pt idx="7">
                  <c:v>Av Price/Unit 38.66</c:v>
                </c:pt>
                <c:pt idx="8">
                  <c:v>Av Price/Unit 53.24</c:v>
                </c:pt>
                <c:pt idx="9">
                  <c:v>Av Price/Unit 204.47</c:v>
                </c:pt>
                <c:pt idx="10">
                  <c:v>Av Price/Unit 47.72</c:v>
                </c:pt>
                <c:pt idx="11">
                  <c:v>Av Price/Unit 232.98</c:v>
                </c:pt>
              </c:strCache>
            </c:strRef>
          </c:cat>
          <c:val>
            <c:numRef>
              <c:f>Sheet1!$E$2:$E$13</c:f>
              <c:numCache>
                <c:formatCode>General</c:formatCode>
                <c:ptCount val="12"/>
                <c:pt idx="0">
                  <c:v>15.588426031891352</c:v>
                </c:pt>
                <c:pt idx="1">
                  <c:v>16.324490164230287</c:v>
                </c:pt>
                <c:pt idx="2">
                  <c:v>37.393982808022905</c:v>
                </c:pt>
                <c:pt idx="3">
                  <c:v>6.4681665136210542</c:v>
                </c:pt>
                <c:pt idx="4">
                  <c:v>5.8789492367767116</c:v>
                </c:pt>
                <c:pt idx="5">
                  <c:v>10.173944687045118</c:v>
                </c:pt>
                <c:pt idx="6">
                  <c:v>9.4624819624819576</c:v>
                </c:pt>
                <c:pt idx="7">
                  <c:v>6.4426863572433168</c:v>
                </c:pt>
                <c:pt idx="8">
                  <c:v>8.8736772486772466</c:v>
                </c:pt>
                <c:pt idx="9">
                  <c:v>34.077586206896491</c:v>
                </c:pt>
                <c:pt idx="10">
                  <c:v>7.9532428355957743</c:v>
                </c:pt>
                <c:pt idx="11">
                  <c:v>38.82926829268292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30.30</c:v>
                </c:pt>
                <c:pt idx="1">
                  <c:v>Av Price/Unit 94.65</c:v>
                </c:pt>
                <c:pt idx="2">
                  <c:v>Av Price/Unit 100.15</c:v>
                </c:pt>
                <c:pt idx="3">
                  <c:v>Av Price/Unit 66.69</c:v>
                </c:pt>
                <c:pt idx="4">
                  <c:v>Av Price/Unit 35.21</c:v>
                </c:pt>
                <c:pt idx="5">
                  <c:v>Av Price/Unit 247.41</c:v>
                </c:pt>
                <c:pt idx="6">
                  <c:v>Av Price/Unit 39.41</c:v>
                </c:pt>
                <c:pt idx="7">
                  <c:v>Av Price/Unit 39.31</c:v>
                </c:pt>
                <c:pt idx="8">
                  <c:v>Av Price/Unit 40.12</c:v>
                </c:pt>
                <c:pt idx="9">
                  <c:v>Av Price/Unit 17.65</c:v>
                </c:pt>
                <c:pt idx="10">
                  <c:v>Av Price/Unit 54.73</c:v>
                </c:pt>
                <c:pt idx="11">
                  <c:v>Av Price/Unit 71.31</c:v>
                </c:pt>
              </c:strCache>
            </c:strRef>
          </c:cat>
          <c:val>
            <c:numRef>
              <c:f>Sheet1!$B$2:$B$13</c:f>
              <c:numCache>
                <c:formatCode>General</c:formatCode>
                <c:ptCount val="12"/>
                <c:pt idx="0">
                  <c:v>8.78400091920658</c:v>
                </c:pt>
                <c:pt idx="1">
                  <c:v>30.263941472868218</c:v>
                </c:pt>
                <c:pt idx="2">
                  <c:v>31.905323300970881</c:v>
                </c:pt>
                <c:pt idx="3">
                  <c:v>17.885990566037737</c:v>
                </c:pt>
                <c:pt idx="4">
                  <c:v>12.540595238095237</c:v>
                </c:pt>
                <c:pt idx="5">
                  <c:v>74.042573529411769</c:v>
                </c:pt>
                <c:pt idx="6">
                  <c:v>13.387812857142858</c:v>
                </c:pt>
                <c:pt idx="7">
                  <c:v>10.230947058823528</c:v>
                </c:pt>
                <c:pt idx="8">
                  <c:v>14.857912949640287</c:v>
                </c:pt>
                <c:pt idx="9">
                  <c:v>5.0523830324909751</c:v>
                </c:pt>
                <c:pt idx="10">
                  <c:v>18.419800000000006</c:v>
                </c:pt>
                <c:pt idx="11">
                  <c:v>25.94530163934426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30.30</c:v>
                </c:pt>
                <c:pt idx="1">
                  <c:v>Av Price/Unit 94.65</c:v>
                </c:pt>
                <c:pt idx="2">
                  <c:v>Av Price/Unit 100.15</c:v>
                </c:pt>
                <c:pt idx="3">
                  <c:v>Av Price/Unit 66.69</c:v>
                </c:pt>
                <c:pt idx="4">
                  <c:v>Av Price/Unit 35.21</c:v>
                </c:pt>
                <c:pt idx="5">
                  <c:v>Av Price/Unit 247.41</c:v>
                </c:pt>
                <c:pt idx="6">
                  <c:v>Av Price/Unit 39.41</c:v>
                </c:pt>
                <c:pt idx="7">
                  <c:v>Av Price/Unit 39.31</c:v>
                </c:pt>
                <c:pt idx="8">
                  <c:v>Av Price/Unit 40.12</c:v>
                </c:pt>
                <c:pt idx="9">
                  <c:v>Av Price/Unit 17.65</c:v>
                </c:pt>
                <c:pt idx="10">
                  <c:v>Av Price/Unit 54.73</c:v>
                </c:pt>
                <c:pt idx="11">
                  <c:v>Av Price/Unit 71.31</c:v>
                </c:pt>
              </c:strCache>
            </c:strRef>
          </c:cat>
          <c:val>
            <c:numRef>
              <c:f>Sheet1!$C$2:$C$13</c:f>
              <c:numCache>
                <c:formatCode>General</c:formatCode>
                <c:ptCount val="12"/>
                <c:pt idx="0">
                  <c:v>18.901983551040153</c:v>
                </c:pt>
                <c:pt idx="1">
                  <c:v>47.689029069767436</c:v>
                </c:pt>
                <c:pt idx="2">
                  <c:v>49.676378640776704</c:v>
                </c:pt>
                <c:pt idx="3">
                  <c:v>41.585707547169811</c:v>
                </c:pt>
                <c:pt idx="4">
                  <c:v>16.761614285714288</c:v>
                </c:pt>
                <c:pt idx="5">
                  <c:v>109.928</c:v>
                </c:pt>
                <c:pt idx="6">
                  <c:v>16.206</c:v>
                </c:pt>
                <c:pt idx="7">
                  <c:v>24.60235294117647</c:v>
                </c:pt>
                <c:pt idx="8">
                  <c:v>18.329055395683451</c:v>
                </c:pt>
                <c:pt idx="9">
                  <c:v>10.647342960288809</c:v>
                </c:pt>
                <c:pt idx="10">
                  <c:v>24.627062500000001</c:v>
                </c:pt>
                <c:pt idx="11">
                  <c:v>32.06352950819672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30.30</c:v>
                </c:pt>
                <c:pt idx="1">
                  <c:v>Av Price/Unit 94.65</c:v>
                </c:pt>
                <c:pt idx="2">
                  <c:v>Av Price/Unit 100.15</c:v>
                </c:pt>
                <c:pt idx="3">
                  <c:v>Av Price/Unit 66.69</c:v>
                </c:pt>
                <c:pt idx="4">
                  <c:v>Av Price/Unit 35.21</c:v>
                </c:pt>
                <c:pt idx="5">
                  <c:v>Av Price/Unit 247.41</c:v>
                </c:pt>
                <c:pt idx="6">
                  <c:v>Av Price/Unit 39.41</c:v>
                </c:pt>
                <c:pt idx="7">
                  <c:v>Av Price/Unit 39.31</c:v>
                </c:pt>
                <c:pt idx="8">
                  <c:v>Av Price/Unit 40.12</c:v>
                </c:pt>
                <c:pt idx="9">
                  <c:v>Av Price/Unit 17.65</c:v>
                </c:pt>
                <c:pt idx="10">
                  <c:v>Av Price/Unit 54.73</c:v>
                </c:pt>
                <c:pt idx="11">
                  <c:v>Av Price/Unit 71.31</c:v>
                </c:pt>
              </c:strCache>
            </c:strRef>
          </c:cat>
          <c:val>
            <c:numRef>
              <c:f>Sheet1!$D$2:$D$13</c:f>
              <c:numCache>
                <c:formatCode>General</c:formatCode>
                <c:ptCount val="12"/>
                <c:pt idx="0">
                  <c:v>-2.4396532333494605</c:v>
                </c:pt>
                <c:pt idx="1">
                  <c:v>0.91976847545220153</c:v>
                </c:pt>
                <c:pt idx="2">
                  <c:v>1.8770359223301085</c:v>
                </c:pt>
                <c:pt idx="3">
                  <c:v>-3.897798742138356</c:v>
                </c:pt>
                <c:pt idx="4">
                  <c:v>4.3028571428575191E-2</c:v>
                </c:pt>
                <c:pt idx="5">
                  <c:v>22.205897058823581</c:v>
                </c:pt>
                <c:pt idx="6">
                  <c:v>3.2474569841269876</c:v>
                </c:pt>
                <c:pt idx="7">
                  <c:v>-2.0718620915032773</c:v>
                </c:pt>
                <c:pt idx="8">
                  <c:v>0.24228824940048099</c:v>
                </c:pt>
                <c:pt idx="9">
                  <c:v>-0.99455150421179361</c:v>
                </c:pt>
                <c:pt idx="10">
                  <c:v>2.5591981060606059</c:v>
                </c:pt>
                <c:pt idx="11">
                  <c:v>1.417449180327864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30.30</c:v>
                </c:pt>
                <c:pt idx="1">
                  <c:v>Av Price/Unit 94.65</c:v>
                </c:pt>
                <c:pt idx="2">
                  <c:v>Av Price/Unit 100.15</c:v>
                </c:pt>
                <c:pt idx="3">
                  <c:v>Av Price/Unit 66.69</c:v>
                </c:pt>
                <c:pt idx="4">
                  <c:v>Av Price/Unit 35.21</c:v>
                </c:pt>
                <c:pt idx="5">
                  <c:v>Av Price/Unit 247.41</c:v>
                </c:pt>
                <c:pt idx="6">
                  <c:v>Av Price/Unit 39.41</c:v>
                </c:pt>
                <c:pt idx="7">
                  <c:v>Av Price/Unit 39.31</c:v>
                </c:pt>
                <c:pt idx="8">
                  <c:v>Av Price/Unit 40.12</c:v>
                </c:pt>
                <c:pt idx="9">
                  <c:v>Av Price/Unit 17.65</c:v>
                </c:pt>
                <c:pt idx="10">
                  <c:v>Av Price/Unit 54.73</c:v>
                </c:pt>
                <c:pt idx="11">
                  <c:v>Av Price/Unit 71.31</c:v>
                </c:pt>
              </c:strCache>
            </c:strRef>
          </c:cat>
          <c:val>
            <c:numRef>
              <c:f>Sheet1!$E$2:$E$13</c:f>
              <c:numCache>
                <c:formatCode>General</c:formatCode>
                <c:ptCount val="12"/>
                <c:pt idx="0">
                  <c:v>5.0492662473794523</c:v>
                </c:pt>
                <c:pt idx="1">
                  <c:v>15.774547803617565</c:v>
                </c:pt>
                <c:pt idx="2">
                  <c:v>16.691747572815533</c:v>
                </c:pt>
                <c:pt idx="3">
                  <c:v>11.114779874213831</c:v>
                </c:pt>
                <c:pt idx="4">
                  <c:v>5.8690476190476151</c:v>
                </c:pt>
                <c:pt idx="5">
                  <c:v>41.23529411764703</c:v>
                </c:pt>
                <c:pt idx="6">
                  <c:v>6.5682539682539716</c:v>
                </c:pt>
                <c:pt idx="7">
                  <c:v>6.5522875816993524</c:v>
                </c:pt>
                <c:pt idx="8">
                  <c:v>6.6858513189448416</c:v>
                </c:pt>
                <c:pt idx="9">
                  <c:v>2.9410348977135992</c:v>
                </c:pt>
                <c:pt idx="10">
                  <c:v>9.1212121212121247</c:v>
                </c:pt>
                <c:pt idx="11">
                  <c:v>11.88524590163934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77</c:v>
                </c:pt>
                <c:pt idx="1">
                  <c:v>Av Price/Unit 98.34</c:v>
                </c:pt>
                <c:pt idx="2">
                  <c:v>Av Price/Unit 230.01</c:v>
                </c:pt>
                <c:pt idx="3">
                  <c:v>Av Price/Unit 35.48</c:v>
                </c:pt>
                <c:pt idx="4">
                  <c:v>Av Price/Unit 61.81</c:v>
                </c:pt>
                <c:pt idx="5">
                  <c:v>Av Price/Unit 39.20</c:v>
                </c:pt>
                <c:pt idx="6">
                  <c:v>Av Price/Unit 56.84</c:v>
                </c:pt>
                <c:pt idx="7">
                  <c:v>Av Price/Unit 38.84</c:v>
                </c:pt>
                <c:pt idx="8">
                  <c:v>Av Price/Unit 54.32</c:v>
                </c:pt>
                <c:pt idx="9">
                  <c:v>Av Price/Unit 47.07</c:v>
                </c:pt>
                <c:pt idx="10">
                  <c:v>Av Price/Unit 72.22</c:v>
                </c:pt>
                <c:pt idx="11">
                  <c:v>Av Price/Unit 84.58</c:v>
                </c:pt>
              </c:strCache>
            </c:strRef>
          </c:cat>
          <c:val>
            <c:numRef>
              <c:f>Sheet1!$B$2:$B$13</c:f>
              <c:numCache>
                <c:formatCode>General</c:formatCode>
                <c:ptCount val="12"/>
                <c:pt idx="0">
                  <c:v>30.002478294573653</c:v>
                </c:pt>
                <c:pt idx="1">
                  <c:v>31.703690322580652</c:v>
                </c:pt>
                <c:pt idx="2">
                  <c:v>74.399290963855407</c:v>
                </c:pt>
                <c:pt idx="3">
                  <c:v>12.544901884570084</c:v>
                </c:pt>
                <c:pt idx="4">
                  <c:v>21.524557142857148</c:v>
                </c:pt>
                <c:pt idx="5">
                  <c:v>13.301770960187355</c:v>
                </c:pt>
                <c:pt idx="6">
                  <c:v>18.444295278969957</c:v>
                </c:pt>
                <c:pt idx="7">
                  <c:v>14.847440138408306</c:v>
                </c:pt>
                <c:pt idx="8">
                  <c:v>18.100899999999999</c:v>
                </c:pt>
                <c:pt idx="9">
                  <c:v>16.127966666666666</c:v>
                </c:pt>
                <c:pt idx="10">
                  <c:v>26.234534615384614</c:v>
                </c:pt>
                <c:pt idx="11">
                  <c:v>27.91802727272727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77</c:v>
                </c:pt>
                <c:pt idx="1">
                  <c:v>Av Price/Unit 98.34</c:v>
                </c:pt>
                <c:pt idx="2">
                  <c:v>Av Price/Unit 230.01</c:v>
                </c:pt>
                <c:pt idx="3">
                  <c:v>Av Price/Unit 35.48</c:v>
                </c:pt>
                <c:pt idx="4">
                  <c:v>Av Price/Unit 61.81</c:v>
                </c:pt>
                <c:pt idx="5">
                  <c:v>Av Price/Unit 39.20</c:v>
                </c:pt>
                <c:pt idx="6">
                  <c:v>Av Price/Unit 56.84</c:v>
                </c:pt>
                <c:pt idx="7">
                  <c:v>Av Price/Unit 38.84</c:v>
                </c:pt>
                <c:pt idx="8">
                  <c:v>Av Price/Unit 54.32</c:v>
                </c:pt>
                <c:pt idx="9">
                  <c:v>Av Price/Unit 47.07</c:v>
                </c:pt>
                <c:pt idx="10">
                  <c:v>Av Price/Unit 72.22</c:v>
                </c:pt>
                <c:pt idx="11">
                  <c:v>Av Price/Unit 84.58</c:v>
                </c:pt>
              </c:strCache>
            </c:strRef>
          </c:cat>
          <c:val>
            <c:numRef>
              <c:f>Sheet1!$C$2:$C$13</c:f>
              <c:numCache>
                <c:formatCode>General</c:formatCode>
                <c:ptCount val="12"/>
                <c:pt idx="0">
                  <c:v>47.817255813953494</c:v>
                </c:pt>
                <c:pt idx="1">
                  <c:v>49.761354838709671</c:v>
                </c:pt>
                <c:pt idx="2">
                  <c:v>109.928</c:v>
                </c:pt>
                <c:pt idx="3">
                  <c:v>16.760196819787986</c:v>
                </c:pt>
                <c:pt idx="4">
                  <c:v>28.667222222222218</c:v>
                </c:pt>
                <c:pt idx="5">
                  <c:v>16.206</c:v>
                </c:pt>
                <c:pt idx="6">
                  <c:v>28.292094420600854</c:v>
                </c:pt>
                <c:pt idx="7">
                  <c:v>18.326632179930797</c:v>
                </c:pt>
                <c:pt idx="8">
                  <c:v>24.503249999999998</c:v>
                </c:pt>
                <c:pt idx="9">
                  <c:v>22.156300000000002</c:v>
                </c:pt>
                <c:pt idx="10">
                  <c:v>32.383388461538459</c:v>
                </c:pt>
                <c:pt idx="11">
                  <c:v>38.4456363636363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77</c:v>
                </c:pt>
                <c:pt idx="1">
                  <c:v>Av Price/Unit 98.34</c:v>
                </c:pt>
                <c:pt idx="2">
                  <c:v>Av Price/Unit 230.01</c:v>
                </c:pt>
                <c:pt idx="3">
                  <c:v>Av Price/Unit 35.48</c:v>
                </c:pt>
                <c:pt idx="4">
                  <c:v>Av Price/Unit 61.81</c:v>
                </c:pt>
                <c:pt idx="5">
                  <c:v>Av Price/Unit 39.20</c:v>
                </c:pt>
                <c:pt idx="6">
                  <c:v>Av Price/Unit 56.84</c:v>
                </c:pt>
                <c:pt idx="7">
                  <c:v>Av Price/Unit 38.84</c:v>
                </c:pt>
                <c:pt idx="8">
                  <c:v>Av Price/Unit 54.32</c:v>
                </c:pt>
                <c:pt idx="9">
                  <c:v>Av Price/Unit 47.07</c:v>
                </c:pt>
                <c:pt idx="10">
                  <c:v>Av Price/Unit 72.22</c:v>
                </c:pt>
                <c:pt idx="11">
                  <c:v>Av Price/Unit 84.58</c:v>
                </c:pt>
              </c:strCache>
            </c:strRef>
          </c:cat>
          <c:val>
            <c:numRef>
              <c:f>Sheet1!$D$2:$D$13</c:f>
              <c:numCache>
                <c:formatCode>General</c:formatCode>
                <c:ptCount val="12"/>
                <c:pt idx="0">
                  <c:v>0.31872411714041959</c:v>
                </c:pt>
                <c:pt idx="1">
                  <c:v>0.48195944700461268</c:v>
                </c:pt>
                <c:pt idx="2">
                  <c:v>7.3443957831325406</c:v>
                </c:pt>
                <c:pt idx="3">
                  <c:v>0.25811291715744034</c:v>
                </c:pt>
                <c:pt idx="4">
                  <c:v>1.3194640211640234</c:v>
                </c:pt>
                <c:pt idx="5">
                  <c:v>3.1561634660421518</c:v>
                </c:pt>
                <c:pt idx="6">
                  <c:v>0.63127839771102146</c:v>
                </c:pt>
                <c:pt idx="7">
                  <c:v>-0.80671361014993437</c:v>
                </c:pt>
                <c:pt idx="8">
                  <c:v>2.6641148401826626</c:v>
                </c:pt>
                <c:pt idx="9">
                  <c:v>0.94231285403050435</c:v>
                </c:pt>
                <c:pt idx="10">
                  <c:v>1.5637739316239418</c:v>
                </c:pt>
                <c:pt idx="11">
                  <c:v>4.116134343434353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77</c:v>
                </c:pt>
                <c:pt idx="1">
                  <c:v>Av Price/Unit 98.34</c:v>
                </c:pt>
                <c:pt idx="2">
                  <c:v>Av Price/Unit 230.01</c:v>
                </c:pt>
                <c:pt idx="3">
                  <c:v>Av Price/Unit 35.48</c:v>
                </c:pt>
                <c:pt idx="4">
                  <c:v>Av Price/Unit 61.81</c:v>
                </c:pt>
                <c:pt idx="5">
                  <c:v>Av Price/Unit 39.20</c:v>
                </c:pt>
                <c:pt idx="6">
                  <c:v>Av Price/Unit 56.84</c:v>
                </c:pt>
                <c:pt idx="7">
                  <c:v>Av Price/Unit 38.84</c:v>
                </c:pt>
                <c:pt idx="8">
                  <c:v>Av Price/Unit 54.32</c:v>
                </c:pt>
                <c:pt idx="9">
                  <c:v>Av Price/Unit 47.07</c:v>
                </c:pt>
                <c:pt idx="10">
                  <c:v>Av Price/Unit 72.22</c:v>
                </c:pt>
                <c:pt idx="11">
                  <c:v>Av Price/Unit 84.58</c:v>
                </c:pt>
              </c:strCache>
            </c:strRef>
          </c:cat>
          <c:val>
            <c:numRef>
              <c:f>Sheet1!$E$2:$E$13</c:f>
              <c:numCache>
                <c:formatCode>General</c:formatCode>
                <c:ptCount val="12"/>
                <c:pt idx="0">
                  <c:v>15.62769164513349</c:v>
                </c:pt>
                <c:pt idx="1">
                  <c:v>16.389400921658986</c:v>
                </c:pt>
                <c:pt idx="2">
                  <c:v>38.334337349397572</c:v>
                </c:pt>
                <c:pt idx="3">
                  <c:v>5.9126423243030999</c:v>
                </c:pt>
                <c:pt idx="4">
                  <c:v>10.302248677248675</c:v>
                </c:pt>
                <c:pt idx="5">
                  <c:v>6.5327868852458977</c:v>
                </c:pt>
                <c:pt idx="6">
                  <c:v>9.4735336194563615</c:v>
                </c:pt>
                <c:pt idx="7">
                  <c:v>6.4734717416378276</c:v>
                </c:pt>
                <c:pt idx="8">
                  <c:v>9.0536529680365216</c:v>
                </c:pt>
                <c:pt idx="9">
                  <c:v>7.8453159041394311</c:v>
                </c:pt>
                <c:pt idx="10">
                  <c:v>12.036324786324782</c:v>
                </c:pt>
                <c:pt idx="11">
                  <c:v>14.09595959595957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4.44</c:v>
                </c:pt>
                <c:pt idx="1">
                  <c:v>Av Price/Unit 99.59</c:v>
                </c:pt>
                <c:pt idx="2">
                  <c:v>Av Price/Unit 35.56</c:v>
                </c:pt>
                <c:pt idx="3">
                  <c:v>Av Price/Unit 61.69</c:v>
                </c:pt>
                <c:pt idx="4">
                  <c:v>Av Price/Unit 246.06</c:v>
                </c:pt>
                <c:pt idx="5">
                  <c:v>Av Price/Unit 39.25</c:v>
                </c:pt>
                <c:pt idx="6">
                  <c:v>Av Price/Unit 54.40</c:v>
                </c:pt>
                <c:pt idx="7">
                  <c:v>Av Price/Unit 37.32</c:v>
                </c:pt>
                <c:pt idx="8">
                  <c:v>Av Price/Unit 57.87</c:v>
                </c:pt>
                <c:pt idx="9">
                  <c:v>Av Price/Unit 47.74</c:v>
                </c:pt>
                <c:pt idx="10">
                  <c:v>Av Price/Unit 49.34</c:v>
                </c:pt>
                <c:pt idx="11">
                  <c:v>Av Price/Unit 80.34</c:v>
                </c:pt>
              </c:strCache>
            </c:strRef>
          </c:cat>
          <c:val>
            <c:numRef>
              <c:f>Sheet1!$B$2:$B$13</c:f>
              <c:numCache>
                <c:formatCode>General</c:formatCode>
                <c:ptCount val="12"/>
                <c:pt idx="0">
                  <c:v>30.33945193370166</c:v>
                </c:pt>
                <c:pt idx="1">
                  <c:v>31.906032608695654</c:v>
                </c:pt>
                <c:pt idx="2">
                  <c:v>12.55468238341969</c:v>
                </c:pt>
                <c:pt idx="3">
                  <c:v>21.259406511627905</c:v>
                </c:pt>
                <c:pt idx="4">
                  <c:v>75.337929787234046</c:v>
                </c:pt>
                <c:pt idx="5">
                  <c:v>13.331232</c:v>
                </c:pt>
                <c:pt idx="6">
                  <c:v>18.544193617021271</c:v>
                </c:pt>
                <c:pt idx="7">
                  <c:v>14.757649375</c:v>
                </c:pt>
                <c:pt idx="8">
                  <c:v>18.359007526881722</c:v>
                </c:pt>
                <c:pt idx="9">
                  <c:v>16.104899999999997</c:v>
                </c:pt>
                <c:pt idx="10">
                  <c:v>15.9514125</c:v>
                </c:pt>
                <c:pt idx="11">
                  <c:v>25.69699999999999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4.44</c:v>
                </c:pt>
                <c:pt idx="1">
                  <c:v>Av Price/Unit 99.59</c:v>
                </c:pt>
                <c:pt idx="2">
                  <c:v>Av Price/Unit 35.56</c:v>
                </c:pt>
                <c:pt idx="3">
                  <c:v>Av Price/Unit 61.69</c:v>
                </c:pt>
                <c:pt idx="4">
                  <c:v>Av Price/Unit 246.06</c:v>
                </c:pt>
                <c:pt idx="5">
                  <c:v>Av Price/Unit 39.25</c:v>
                </c:pt>
                <c:pt idx="6">
                  <c:v>Av Price/Unit 54.40</c:v>
                </c:pt>
                <c:pt idx="7">
                  <c:v>Av Price/Unit 37.32</c:v>
                </c:pt>
                <c:pt idx="8">
                  <c:v>Av Price/Unit 57.87</c:v>
                </c:pt>
                <c:pt idx="9">
                  <c:v>Av Price/Unit 47.74</c:v>
                </c:pt>
                <c:pt idx="10">
                  <c:v>Av Price/Unit 49.34</c:v>
                </c:pt>
                <c:pt idx="11">
                  <c:v>Av Price/Unit 80.34</c:v>
                </c:pt>
              </c:strCache>
            </c:strRef>
          </c:cat>
          <c:val>
            <c:numRef>
              <c:f>Sheet1!$C$2:$C$13</c:f>
              <c:numCache>
                <c:formatCode>General</c:formatCode>
                <c:ptCount val="12"/>
                <c:pt idx="0">
                  <c:v>47.651997237569063</c:v>
                </c:pt>
                <c:pt idx="1">
                  <c:v>49.676079710144933</c:v>
                </c:pt>
                <c:pt idx="2">
                  <c:v>16.756977720207253</c:v>
                </c:pt>
                <c:pt idx="3">
                  <c:v>28.542902325581395</c:v>
                </c:pt>
                <c:pt idx="4">
                  <c:v>109.928</c:v>
                </c:pt>
                <c:pt idx="5">
                  <c:v>16.205999999999996</c:v>
                </c:pt>
                <c:pt idx="6">
                  <c:v>24.67535815602837</c:v>
                </c:pt>
                <c:pt idx="7">
                  <c:v>18.305856249999998</c:v>
                </c:pt>
                <c:pt idx="8">
                  <c:v>28.330043010752682</c:v>
                </c:pt>
                <c:pt idx="9">
                  <c:v>22.148299999999995</c:v>
                </c:pt>
                <c:pt idx="10">
                  <c:v>22.222822499999999</c:v>
                </c:pt>
                <c:pt idx="11">
                  <c:v>38.05299999999999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4.44</c:v>
                </c:pt>
                <c:pt idx="1">
                  <c:v>Av Price/Unit 99.59</c:v>
                </c:pt>
                <c:pt idx="2">
                  <c:v>Av Price/Unit 35.56</c:v>
                </c:pt>
                <c:pt idx="3">
                  <c:v>Av Price/Unit 61.69</c:v>
                </c:pt>
                <c:pt idx="4">
                  <c:v>Av Price/Unit 246.06</c:v>
                </c:pt>
                <c:pt idx="5">
                  <c:v>Av Price/Unit 39.25</c:v>
                </c:pt>
                <c:pt idx="6">
                  <c:v>Av Price/Unit 54.40</c:v>
                </c:pt>
                <c:pt idx="7">
                  <c:v>Av Price/Unit 37.32</c:v>
                </c:pt>
                <c:pt idx="8">
                  <c:v>Av Price/Unit 57.87</c:v>
                </c:pt>
                <c:pt idx="9">
                  <c:v>Av Price/Unit 47.74</c:v>
                </c:pt>
                <c:pt idx="10">
                  <c:v>Av Price/Unit 49.34</c:v>
                </c:pt>
                <c:pt idx="11">
                  <c:v>Av Price/Unit 80.34</c:v>
                </c:pt>
              </c:strCache>
            </c:strRef>
          </c:cat>
          <c:val>
            <c:numRef>
              <c:f>Sheet1!$D$2:$D$13</c:f>
              <c:numCache>
                <c:formatCode>General</c:formatCode>
                <c:ptCount val="12"/>
                <c:pt idx="0">
                  <c:v>0.71251031307551216</c:v>
                </c:pt>
                <c:pt idx="1">
                  <c:v>1.4070181159420372</c:v>
                </c:pt>
                <c:pt idx="2">
                  <c:v>0.32348670120898149</c:v>
                </c:pt>
                <c:pt idx="3">
                  <c:v>1.6046679069767507</c:v>
                </c:pt>
                <c:pt idx="4">
                  <c:v>19.787261702127694</c:v>
                </c:pt>
                <c:pt idx="5">
                  <c:v>3.1701754074074167</c:v>
                </c:pt>
                <c:pt idx="6">
                  <c:v>2.1114174940898351</c:v>
                </c:pt>
                <c:pt idx="7">
                  <c:v>-1.9645472916666691</c:v>
                </c:pt>
                <c:pt idx="8">
                  <c:v>1.5367559139784959</c:v>
                </c:pt>
                <c:pt idx="9">
                  <c:v>1.5262117647058844</c:v>
                </c:pt>
                <c:pt idx="10">
                  <c:v>2.9403483333333256</c:v>
                </c:pt>
                <c:pt idx="11">
                  <c:v>2.222222222222228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4.44</c:v>
                </c:pt>
                <c:pt idx="1">
                  <c:v>Av Price/Unit 99.59</c:v>
                </c:pt>
                <c:pt idx="2">
                  <c:v>Av Price/Unit 35.56</c:v>
                </c:pt>
                <c:pt idx="3">
                  <c:v>Av Price/Unit 61.69</c:v>
                </c:pt>
                <c:pt idx="4">
                  <c:v>Av Price/Unit 246.06</c:v>
                </c:pt>
                <c:pt idx="5">
                  <c:v>Av Price/Unit 39.25</c:v>
                </c:pt>
                <c:pt idx="6">
                  <c:v>Av Price/Unit 54.40</c:v>
                </c:pt>
                <c:pt idx="7">
                  <c:v>Av Price/Unit 37.32</c:v>
                </c:pt>
                <c:pt idx="8">
                  <c:v>Av Price/Unit 57.87</c:v>
                </c:pt>
                <c:pt idx="9">
                  <c:v>Av Price/Unit 47.74</c:v>
                </c:pt>
                <c:pt idx="10">
                  <c:v>Av Price/Unit 49.34</c:v>
                </c:pt>
                <c:pt idx="11">
                  <c:v>Av Price/Unit 80.34</c:v>
                </c:pt>
              </c:strCache>
            </c:strRef>
          </c:cat>
          <c:val>
            <c:numRef>
              <c:f>Sheet1!$E$2:$E$13</c:f>
              <c:numCache>
                <c:formatCode>General</c:formatCode>
                <c:ptCount val="12"/>
                <c:pt idx="0">
                  <c:v>15.740791896869249</c:v>
                </c:pt>
                <c:pt idx="1">
                  <c:v>16.597826086956509</c:v>
                </c:pt>
                <c:pt idx="2">
                  <c:v>5.927029360967186</c:v>
                </c:pt>
                <c:pt idx="3">
                  <c:v>10.281395348837201</c:v>
                </c:pt>
                <c:pt idx="4">
                  <c:v>41.010638297872305</c:v>
                </c:pt>
                <c:pt idx="5">
                  <c:v>6.5414814814814761</c:v>
                </c:pt>
                <c:pt idx="6">
                  <c:v>9.066193853427901</c:v>
                </c:pt>
                <c:pt idx="7">
                  <c:v>6.2197916666666631</c:v>
                </c:pt>
                <c:pt idx="8">
                  <c:v>9.6451612903225801</c:v>
                </c:pt>
                <c:pt idx="9">
                  <c:v>7.9558823529411722</c:v>
                </c:pt>
                <c:pt idx="10">
                  <c:v>8.2229166666666682</c:v>
                </c:pt>
                <c:pt idx="11">
                  <c:v>13.19444444444444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30</c:v>
                </c:pt>
                <c:pt idx="1">
                  <c:v>Av Price/Unit 97.81</c:v>
                </c:pt>
                <c:pt idx="2">
                  <c:v>Av Price/Unit 223.06</c:v>
                </c:pt>
                <c:pt idx="3">
                  <c:v>Av Price/Unit 56.23</c:v>
                </c:pt>
                <c:pt idx="4">
                  <c:v>Av Price/Unit 35.27</c:v>
                </c:pt>
                <c:pt idx="5">
                  <c:v>Av Price/Unit 38.53</c:v>
                </c:pt>
                <c:pt idx="6">
                  <c:v>Av Price/Unit 60.68</c:v>
                </c:pt>
                <c:pt idx="7">
                  <c:v>Av Price/Unit 79.46</c:v>
                </c:pt>
                <c:pt idx="8">
                  <c:v>Av Price/Unit 52.40</c:v>
                </c:pt>
                <c:pt idx="9">
                  <c:v>Av Price/Unit 279.93</c:v>
                </c:pt>
                <c:pt idx="10">
                  <c:v>Av Price/Unit 30.28</c:v>
                </c:pt>
                <c:pt idx="11">
                  <c:v>Av Price/Unit 38.00</c:v>
                </c:pt>
              </c:strCache>
            </c:strRef>
          </c:cat>
          <c:val>
            <c:numRef>
              <c:f>Sheet1!$B$2:$B$13</c:f>
              <c:numCache>
                <c:formatCode>General</c:formatCode>
                <c:ptCount val="12"/>
                <c:pt idx="0">
                  <c:v>30.047066824644549</c:v>
                </c:pt>
                <c:pt idx="1">
                  <c:v>31.671562401402277</c:v>
                </c:pt>
                <c:pt idx="2">
                  <c:v>74.546823018867926</c:v>
                </c:pt>
                <c:pt idx="3">
                  <c:v>18.474011899702511</c:v>
                </c:pt>
                <c:pt idx="4">
                  <c:v>12.506147910357361</c:v>
                </c:pt>
                <c:pt idx="5">
                  <c:v>13.300317242607766</c:v>
                </c:pt>
                <c:pt idx="6">
                  <c:v>21.404045792079206</c:v>
                </c:pt>
                <c:pt idx="7">
                  <c:v>27.598400380228139</c:v>
                </c:pt>
                <c:pt idx="8">
                  <c:v>18.160554925373134</c:v>
                </c:pt>
                <c:pt idx="9">
                  <c:v>104.47999875776394</c:v>
                </c:pt>
                <c:pt idx="10">
                  <c:v>8.7915793157076205</c:v>
                </c:pt>
                <c:pt idx="11">
                  <c:v>14.810095560253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30</c:v>
                </c:pt>
                <c:pt idx="1">
                  <c:v>Av Price/Unit 97.81</c:v>
                </c:pt>
                <c:pt idx="2">
                  <c:v>Av Price/Unit 223.06</c:v>
                </c:pt>
                <c:pt idx="3">
                  <c:v>Av Price/Unit 56.23</c:v>
                </c:pt>
                <c:pt idx="4">
                  <c:v>Av Price/Unit 35.27</c:v>
                </c:pt>
                <c:pt idx="5">
                  <c:v>Av Price/Unit 38.53</c:v>
                </c:pt>
                <c:pt idx="6">
                  <c:v>Av Price/Unit 60.68</c:v>
                </c:pt>
                <c:pt idx="7">
                  <c:v>Av Price/Unit 79.46</c:v>
                </c:pt>
                <c:pt idx="8">
                  <c:v>Av Price/Unit 52.40</c:v>
                </c:pt>
                <c:pt idx="9">
                  <c:v>Av Price/Unit 279.93</c:v>
                </c:pt>
                <c:pt idx="10">
                  <c:v>Av Price/Unit 30.28</c:v>
                </c:pt>
                <c:pt idx="11">
                  <c:v>Av Price/Unit 38.00</c:v>
                </c:pt>
              </c:strCache>
            </c:strRef>
          </c:cat>
          <c:val>
            <c:numRef>
              <c:f>Sheet1!$C$2:$C$13</c:f>
              <c:numCache>
                <c:formatCode>General</c:formatCode>
                <c:ptCount val="12"/>
                <c:pt idx="0">
                  <c:v>47.795388711762165</c:v>
                </c:pt>
                <c:pt idx="1">
                  <c:v>49.774894829097278</c:v>
                </c:pt>
                <c:pt idx="2">
                  <c:v>109.92799999999997</c:v>
                </c:pt>
                <c:pt idx="3">
                  <c:v>28.278872078198038</c:v>
                </c:pt>
                <c:pt idx="4">
                  <c:v>16.77295208964264</c:v>
                </c:pt>
                <c:pt idx="5">
                  <c:v>16.206</c:v>
                </c:pt>
                <c:pt idx="6">
                  <c:v>28.610718646864687</c:v>
                </c:pt>
                <c:pt idx="7">
                  <c:v>38.451472750316853</c:v>
                </c:pt>
                <c:pt idx="8">
                  <c:v>24.526410945273629</c:v>
                </c:pt>
                <c:pt idx="9">
                  <c:v>127.66627950310561</c:v>
                </c:pt>
                <c:pt idx="10">
                  <c:v>18.924727838258164</c:v>
                </c:pt>
                <c:pt idx="11">
                  <c:v>18.31799133192389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30</c:v>
                </c:pt>
                <c:pt idx="1">
                  <c:v>Av Price/Unit 97.81</c:v>
                </c:pt>
                <c:pt idx="2">
                  <c:v>Av Price/Unit 223.06</c:v>
                </c:pt>
                <c:pt idx="3">
                  <c:v>Av Price/Unit 56.23</c:v>
                </c:pt>
                <c:pt idx="4">
                  <c:v>Av Price/Unit 35.27</c:v>
                </c:pt>
                <c:pt idx="5">
                  <c:v>Av Price/Unit 38.53</c:v>
                </c:pt>
                <c:pt idx="6">
                  <c:v>Av Price/Unit 60.68</c:v>
                </c:pt>
                <c:pt idx="7">
                  <c:v>Av Price/Unit 79.46</c:v>
                </c:pt>
                <c:pt idx="8">
                  <c:v>Av Price/Unit 52.40</c:v>
                </c:pt>
                <c:pt idx="9">
                  <c:v>Av Price/Unit 279.93</c:v>
                </c:pt>
                <c:pt idx="10">
                  <c:v>Av Price/Unit 30.28</c:v>
                </c:pt>
                <c:pt idx="11">
                  <c:v>Av Price/Unit 38.00</c:v>
                </c:pt>
              </c:strCache>
            </c:strRef>
          </c:cat>
          <c:val>
            <c:numRef>
              <c:f>Sheet1!$D$2:$D$13</c:f>
              <c:numCache>
                <c:formatCode>General</c:formatCode>
                <c:ptCount val="12"/>
                <c:pt idx="0">
                  <c:v>-9.3353138015189074E-2</c:v>
                </c:pt>
                <c:pt idx="1">
                  <c:v>6.0992375109535146E-2</c:v>
                </c:pt>
                <c:pt idx="2">
                  <c:v>1.4119694339622413</c:v>
                </c:pt>
                <c:pt idx="3">
                  <c:v>0.10750701232469595</c:v>
                </c:pt>
                <c:pt idx="4">
                  <c:v>0.1152064809206621</c:v>
                </c:pt>
                <c:pt idx="5">
                  <c:v>2.6029928155800874</c:v>
                </c:pt>
                <c:pt idx="6">
                  <c:v>0.54904194169417053</c:v>
                </c:pt>
                <c:pt idx="7">
                  <c:v>0.16474452893959324</c:v>
                </c:pt>
                <c:pt idx="8">
                  <c:v>0.97804242122720098</c:v>
                </c:pt>
                <c:pt idx="9">
                  <c:v>1.1249432712215821</c:v>
                </c:pt>
                <c:pt idx="10">
                  <c:v>-2.482377656817004</c:v>
                </c:pt>
                <c:pt idx="11">
                  <c:v>-1.459658421423537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30</c:v>
                </c:pt>
                <c:pt idx="1">
                  <c:v>Av Price/Unit 97.81</c:v>
                </c:pt>
                <c:pt idx="2">
                  <c:v>Av Price/Unit 223.06</c:v>
                </c:pt>
                <c:pt idx="3">
                  <c:v>Av Price/Unit 56.23</c:v>
                </c:pt>
                <c:pt idx="4">
                  <c:v>Av Price/Unit 35.27</c:v>
                </c:pt>
                <c:pt idx="5">
                  <c:v>Av Price/Unit 38.53</c:v>
                </c:pt>
                <c:pt idx="6">
                  <c:v>Av Price/Unit 60.68</c:v>
                </c:pt>
                <c:pt idx="7">
                  <c:v>Av Price/Unit 79.46</c:v>
                </c:pt>
                <c:pt idx="8">
                  <c:v>Av Price/Unit 52.40</c:v>
                </c:pt>
                <c:pt idx="9">
                  <c:v>Av Price/Unit 279.93</c:v>
                </c:pt>
                <c:pt idx="10">
                  <c:v>Av Price/Unit 30.28</c:v>
                </c:pt>
                <c:pt idx="11">
                  <c:v>Av Price/Unit 38.00</c:v>
                </c:pt>
              </c:strCache>
            </c:strRef>
          </c:cat>
          <c:val>
            <c:numRef>
              <c:f>Sheet1!$E$2:$E$13</c:f>
              <c:numCache>
                <c:formatCode>General</c:formatCode>
                <c:ptCount val="12"/>
                <c:pt idx="0">
                  <c:v>15.549820479678287</c:v>
                </c:pt>
                <c:pt idx="1">
                  <c:v>16.301489921121835</c:v>
                </c:pt>
                <c:pt idx="2">
                  <c:v>37.177358490566036</c:v>
                </c:pt>
                <c:pt idx="3">
                  <c:v>9.3720781980450418</c:v>
                </c:pt>
                <c:pt idx="4">
                  <c:v>5.8788612961841222</c:v>
                </c:pt>
                <c:pt idx="5">
                  <c:v>6.4218620116375744</c:v>
                </c:pt>
                <c:pt idx="6">
                  <c:v>10.112761276127605</c:v>
                </c:pt>
                <c:pt idx="7">
                  <c:v>13.242923531896913</c:v>
                </c:pt>
                <c:pt idx="8">
                  <c:v>8.7330016583747909</c:v>
                </c:pt>
                <c:pt idx="9">
                  <c:v>46.654244306418192</c:v>
                </c:pt>
                <c:pt idx="10">
                  <c:v>5.0467858994297545</c:v>
                </c:pt>
                <c:pt idx="11">
                  <c:v>6.33368569415080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25</c:v>
                </c:pt>
                <c:pt idx="1">
                  <c:v>Av Price/Unit 98.04</c:v>
                </c:pt>
                <c:pt idx="2">
                  <c:v>Av Price/Unit 35.28</c:v>
                </c:pt>
                <c:pt idx="3">
                  <c:v>Av Price/Unit 225.66</c:v>
                </c:pt>
                <c:pt idx="4">
                  <c:v>Av Price/Unit 38.64</c:v>
                </c:pt>
                <c:pt idx="5">
                  <c:v>Av Price/Unit 60.65</c:v>
                </c:pt>
                <c:pt idx="6">
                  <c:v>Av Price/Unit 52.54</c:v>
                </c:pt>
                <c:pt idx="7">
                  <c:v>Av Price/Unit 56.83</c:v>
                </c:pt>
                <c:pt idx="8">
                  <c:v>Av Price/Unit 37.73</c:v>
                </c:pt>
                <c:pt idx="9">
                  <c:v>Av Price/Unit 46.67</c:v>
                </c:pt>
                <c:pt idx="10">
                  <c:v>Av Price/Unit 47.17</c:v>
                </c:pt>
                <c:pt idx="11">
                  <c:v>Av Price/Unit 71.49</c:v>
                </c:pt>
              </c:strCache>
            </c:strRef>
          </c:cat>
          <c:val>
            <c:numRef>
              <c:f>Sheet1!$B$2:$B$13</c:f>
              <c:numCache>
                <c:formatCode>General</c:formatCode>
                <c:ptCount val="12"/>
                <c:pt idx="0">
                  <c:v>29.950301491795123</c:v>
                </c:pt>
                <c:pt idx="1">
                  <c:v>31.593435300668148</c:v>
                </c:pt>
                <c:pt idx="2">
                  <c:v>12.505677259475219</c:v>
                </c:pt>
                <c:pt idx="3">
                  <c:v>74.375903529411758</c:v>
                </c:pt>
                <c:pt idx="4">
                  <c:v>13.315374823196604</c:v>
                </c:pt>
                <c:pt idx="5">
                  <c:v>21.234570845070422</c:v>
                </c:pt>
                <c:pt idx="6">
                  <c:v>18.093381728880154</c:v>
                </c:pt>
                <c:pt idx="7">
                  <c:v>18.462636572890027</c:v>
                </c:pt>
                <c:pt idx="8">
                  <c:v>14.824220073664824</c:v>
                </c:pt>
                <c:pt idx="9">
                  <c:v>16.105496551724137</c:v>
                </c:pt>
                <c:pt idx="10">
                  <c:v>15.954066666666666</c:v>
                </c:pt>
                <c:pt idx="11">
                  <c:v>26.0445111111111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25</c:v>
                </c:pt>
                <c:pt idx="1">
                  <c:v>Av Price/Unit 98.04</c:v>
                </c:pt>
                <c:pt idx="2">
                  <c:v>Av Price/Unit 35.28</c:v>
                </c:pt>
                <c:pt idx="3">
                  <c:v>Av Price/Unit 225.66</c:v>
                </c:pt>
                <c:pt idx="4">
                  <c:v>Av Price/Unit 38.64</c:v>
                </c:pt>
                <c:pt idx="5">
                  <c:v>Av Price/Unit 60.65</c:v>
                </c:pt>
                <c:pt idx="6">
                  <c:v>Av Price/Unit 52.54</c:v>
                </c:pt>
                <c:pt idx="7">
                  <c:v>Av Price/Unit 56.83</c:v>
                </c:pt>
                <c:pt idx="8">
                  <c:v>Av Price/Unit 37.73</c:v>
                </c:pt>
                <c:pt idx="9">
                  <c:v>Av Price/Unit 46.67</c:v>
                </c:pt>
                <c:pt idx="10">
                  <c:v>Av Price/Unit 47.17</c:v>
                </c:pt>
                <c:pt idx="11">
                  <c:v>Av Price/Unit 71.49</c:v>
                </c:pt>
              </c:strCache>
            </c:strRef>
          </c:cat>
          <c:val>
            <c:numRef>
              <c:f>Sheet1!$C$2:$C$13</c:f>
              <c:numCache>
                <c:formatCode>General</c:formatCode>
                <c:ptCount val="12"/>
                <c:pt idx="0">
                  <c:v>47.842844356041773</c:v>
                </c:pt>
                <c:pt idx="1">
                  <c:v>49.807820712694877</c:v>
                </c:pt>
                <c:pt idx="2">
                  <c:v>16.773106997084547</c:v>
                </c:pt>
                <c:pt idx="3">
                  <c:v>109.928</c:v>
                </c:pt>
                <c:pt idx="4">
                  <c:v>16.206</c:v>
                </c:pt>
                <c:pt idx="5">
                  <c:v>28.531257746478872</c:v>
                </c:pt>
                <c:pt idx="6">
                  <c:v>24.500331041257365</c:v>
                </c:pt>
                <c:pt idx="7">
                  <c:v>28.283933503836316</c:v>
                </c:pt>
                <c:pt idx="8">
                  <c:v>18.321259484346225</c:v>
                </c:pt>
                <c:pt idx="9">
                  <c:v>22.148506896551723</c:v>
                </c:pt>
                <c:pt idx="10">
                  <c:v>22.219511111111114</c:v>
                </c:pt>
                <c:pt idx="11">
                  <c:v>32.17324396135265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25</c:v>
                </c:pt>
                <c:pt idx="1">
                  <c:v>Av Price/Unit 98.04</c:v>
                </c:pt>
                <c:pt idx="2">
                  <c:v>Av Price/Unit 35.28</c:v>
                </c:pt>
                <c:pt idx="3">
                  <c:v>Av Price/Unit 225.66</c:v>
                </c:pt>
                <c:pt idx="4">
                  <c:v>Av Price/Unit 38.64</c:v>
                </c:pt>
                <c:pt idx="5">
                  <c:v>Av Price/Unit 60.65</c:v>
                </c:pt>
                <c:pt idx="6">
                  <c:v>Av Price/Unit 52.54</c:v>
                </c:pt>
                <c:pt idx="7">
                  <c:v>Av Price/Unit 56.83</c:v>
                </c:pt>
                <c:pt idx="8">
                  <c:v>Av Price/Unit 37.73</c:v>
                </c:pt>
                <c:pt idx="9">
                  <c:v>Av Price/Unit 46.67</c:v>
                </c:pt>
                <c:pt idx="10">
                  <c:v>Av Price/Unit 47.17</c:v>
                </c:pt>
                <c:pt idx="11">
                  <c:v>Av Price/Unit 71.49</c:v>
                </c:pt>
              </c:strCache>
            </c:strRef>
          </c:cat>
          <c:val>
            <c:numRef>
              <c:f>Sheet1!$D$2:$D$13</c:f>
              <c:numCache>
                <c:formatCode>General</c:formatCode>
                <c:ptCount val="12"/>
                <c:pt idx="0">
                  <c:v>-8.2222592408413675E-2</c:v>
                </c:pt>
                <c:pt idx="1">
                  <c:v>0.29835423162586494</c:v>
                </c:pt>
                <c:pt idx="2">
                  <c:v>0.1250058309037847</c:v>
                </c:pt>
                <c:pt idx="3">
                  <c:v>3.7483840522875767</c:v>
                </c:pt>
                <c:pt idx="4">
                  <c:v>2.6810061291843432</c:v>
                </c:pt>
                <c:pt idx="5">
                  <c:v>0.77290380281691284</c:v>
                </c:pt>
                <c:pt idx="6">
                  <c:v>1.1865753765553322</c:v>
                </c:pt>
                <c:pt idx="7">
                  <c:v>0.61489624893435746</c:v>
                </c:pt>
                <c:pt idx="8">
                  <c:v>-1.7074807857581256</c:v>
                </c:pt>
                <c:pt idx="9">
                  <c:v>0.64147068965517207</c:v>
                </c:pt>
                <c:pt idx="10">
                  <c:v>1.1345497942386871</c:v>
                </c:pt>
                <c:pt idx="11">
                  <c:v>1.355572302737542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25</c:v>
                </c:pt>
                <c:pt idx="1">
                  <c:v>Av Price/Unit 98.04</c:v>
                </c:pt>
                <c:pt idx="2">
                  <c:v>Av Price/Unit 35.28</c:v>
                </c:pt>
                <c:pt idx="3">
                  <c:v>Av Price/Unit 225.66</c:v>
                </c:pt>
                <c:pt idx="4">
                  <c:v>Av Price/Unit 38.64</c:v>
                </c:pt>
                <c:pt idx="5">
                  <c:v>Av Price/Unit 60.65</c:v>
                </c:pt>
                <c:pt idx="6">
                  <c:v>Av Price/Unit 52.54</c:v>
                </c:pt>
                <c:pt idx="7">
                  <c:v>Av Price/Unit 56.83</c:v>
                </c:pt>
                <c:pt idx="8">
                  <c:v>Av Price/Unit 37.73</c:v>
                </c:pt>
                <c:pt idx="9">
                  <c:v>Av Price/Unit 46.67</c:v>
                </c:pt>
                <c:pt idx="10">
                  <c:v>Av Price/Unit 47.17</c:v>
                </c:pt>
                <c:pt idx="11">
                  <c:v>Av Price/Unit 71.49</c:v>
                </c:pt>
              </c:strCache>
            </c:strRef>
          </c:cat>
          <c:val>
            <c:numRef>
              <c:f>Sheet1!$E$2:$E$13</c:f>
              <c:numCache>
                <c:formatCode>General</c:formatCode>
                <c:ptCount val="12"/>
                <c:pt idx="0">
                  <c:v>15.5421846510857</c:v>
                </c:pt>
                <c:pt idx="1">
                  <c:v>16.339922048997757</c:v>
                </c:pt>
                <c:pt idx="2">
                  <c:v>5.8807580174927114</c:v>
                </c:pt>
                <c:pt idx="3">
                  <c:v>37.610457516339856</c:v>
                </c:pt>
                <c:pt idx="4">
                  <c:v>6.4404761904761925</c:v>
                </c:pt>
                <c:pt idx="5">
                  <c:v>10.10774647887323</c:v>
                </c:pt>
                <c:pt idx="6">
                  <c:v>8.7560576293385708</c:v>
                </c:pt>
                <c:pt idx="7">
                  <c:v>9.4722932651321337</c:v>
                </c:pt>
                <c:pt idx="8">
                  <c:v>6.2875997544505786</c:v>
                </c:pt>
                <c:pt idx="9">
                  <c:v>7.7790948275862073</c:v>
                </c:pt>
                <c:pt idx="10">
                  <c:v>7.8616255144032845</c:v>
                </c:pt>
                <c:pt idx="11">
                  <c:v>11.91465378421899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43</c:v>
                </c:pt>
                <c:pt idx="1">
                  <c:v>Av Price/Unit 97.96</c:v>
                </c:pt>
                <c:pt idx="2">
                  <c:v>Av Price/Unit 35.12</c:v>
                </c:pt>
                <c:pt idx="3">
                  <c:v>Av Price/Unit 224.26</c:v>
                </c:pt>
                <c:pt idx="4">
                  <c:v>Av Price/Unit 38.61</c:v>
                </c:pt>
                <c:pt idx="5">
                  <c:v>Av Price/Unit 60.50</c:v>
                </c:pt>
                <c:pt idx="6">
                  <c:v>Av Price/Unit 37.39</c:v>
                </c:pt>
                <c:pt idx="7">
                  <c:v>Av Price/Unit 46.56</c:v>
                </c:pt>
                <c:pt idx="8">
                  <c:v>Av Price/Unit 56.75</c:v>
                </c:pt>
                <c:pt idx="9">
                  <c:v>Av Price/Unit 52.57</c:v>
                </c:pt>
                <c:pt idx="10">
                  <c:v>Av Price/Unit 70.69</c:v>
                </c:pt>
                <c:pt idx="11">
                  <c:v>Av Price/Unit 46.94</c:v>
                </c:pt>
              </c:strCache>
            </c:strRef>
          </c:cat>
          <c:val>
            <c:numRef>
              <c:f>Sheet1!$B$2:$B$13</c:f>
              <c:numCache>
                <c:formatCode>General</c:formatCode>
                <c:ptCount val="12"/>
                <c:pt idx="0">
                  <c:v>30.100035759062418</c:v>
                </c:pt>
                <c:pt idx="1">
                  <c:v>31.688268710359413</c:v>
                </c:pt>
                <c:pt idx="2">
                  <c:v>12.49395433937824</c:v>
                </c:pt>
                <c:pt idx="3">
                  <c:v>74.530505760368655</c:v>
                </c:pt>
                <c:pt idx="4">
                  <c:v>13.306992886645252</c:v>
                </c:pt>
                <c:pt idx="5">
                  <c:v>21.346459585492227</c:v>
                </c:pt>
                <c:pt idx="6">
                  <c:v>14.773290499510283</c:v>
                </c:pt>
                <c:pt idx="7">
                  <c:v>16.10841269035533</c:v>
                </c:pt>
                <c:pt idx="8">
                  <c:v>18.479150822368421</c:v>
                </c:pt>
                <c:pt idx="9">
                  <c:v>18.053214018691584</c:v>
                </c:pt>
                <c:pt idx="10">
                  <c:v>26.016085333333333</c:v>
                </c:pt>
                <c:pt idx="11">
                  <c:v>15.95964545454545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43</c:v>
                </c:pt>
                <c:pt idx="1">
                  <c:v>Av Price/Unit 97.96</c:v>
                </c:pt>
                <c:pt idx="2">
                  <c:v>Av Price/Unit 35.12</c:v>
                </c:pt>
                <c:pt idx="3">
                  <c:v>Av Price/Unit 224.26</c:v>
                </c:pt>
                <c:pt idx="4">
                  <c:v>Av Price/Unit 38.61</c:v>
                </c:pt>
                <c:pt idx="5">
                  <c:v>Av Price/Unit 60.50</c:v>
                </c:pt>
                <c:pt idx="6">
                  <c:v>Av Price/Unit 37.39</c:v>
                </c:pt>
                <c:pt idx="7">
                  <c:v>Av Price/Unit 46.56</c:v>
                </c:pt>
                <c:pt idx="8">
                  <c:v>Av Price/Unit 56.75</c:v>
                </c:pt>
                <c:pt idx="9">
                  <c:v>Av Price/Unit 52.57</c:v>
                </c:pt>
                <c:pt idx="10">
                  <c:v>Av Price/Unit 70.69</c:v>
                </c:pt>
                <c:pt idx="11">
                  <c:v>Av Price/Unit 46.94</c:v>
                </c:pt>
              </c:strCache>
            </c:strRef>
          </c:cat>
          <c:val>
            <c:numRef>
              <c:f>Sheet1!$C$2:$C$13</c:f>
              <c:numCache>
                <c:formatCode>General</c:formatCode>
                <c:ptCount val="12"/>
                <c:pt idx="0">
                  <c:v>47.769411692559281</c:v>
                </c:pt>
                <c:pt idx="1">
                  <c:v>49.767854122621557</c:v>
                </c:pt>
                <c:pt idx="2">
                  <c:v>16.776965414507771</c:v>
                </c:pt>
                <c:pt idx="3">
                  <c:v>109.92799999999998</c:v>
                </c:pt>
                <c:pt idx="4">
                  <c:v>16.206</c:v>
                </c:pt>
                <c:pt idx="5">
                  <c:v>28.583718480138174</c:v>
                </c:pt>
                <c:pt idx="6">
                  <c:v>18.309475318315378</c:v>
                </c:pt>
                <c:pt idx="7">
                  <c:v>22.149518274111674</c:v>
                </c:pt>
                <c:pt idx="8">
                  <c:v>28.276585526315785</c:v>
                </c:pt>
                <c:pt idx="9">
                  <c:v>24.484735981308411</c:v>
                </c:pt>
                <c:pt idx="10">
                  <c:v>32.141808266666672</c:v>
                </c:pt>
                <c:pt idx="11">
                  <c:v>22.21255090909091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43</c:v>
                </c:pt>
                <c:pt idx="1">
                  <c:v>Av Price/Unit 97.96</c:v>
                </c:pt>
                <c:pt idx="2">
                  <c:v>Av Price/Unit 35.12</c:v>
                </c:pt>
                <c:pt idx="3">
                  <c:v>Av Price/Unit 224.26</c:v>
                </c:pt>
                <c:pt idx="4">
                  <c:v>Av Price/Unit 38.61</c:v>
                </c:pt>
                <c:pt idx="5">
                  <c:v>Av Price/Unit 60.50</c:v>
                </c:pt>
                <c:pt idx="6">
                  <c:v>Av Price/Unit 37.39</c:v>
                </c:pt>
                <c:pt idx="7">
                  <c:v>Av Price/Unit 46.56</c:v>
                </c:pt>
                <c:pt idx="8">
                  <c:v>Av Price/Unit 56.75</c:v>
                </c:pt>
                <c:pt idx="9">
                  <c:v>Av Price/Unit 52.57</c:v>
                </c:pt>
                <c:pt idx="10">
                  <c:v>Av Price/Unit 70.69</c:v>
                </c:pt>
                <c:pt idx="11">
                  <c:v>Av Price/Unit 46.94</c:v>
                </c:pt>
              </c:strCache>
            </c:strRef>
          </c:cat>
          <c:val>
            <c:numRef>
              <c:f>Sheet1!$D$2:$D$13</c:f>
              <c:numCache>
                <c:formatCode>General</c:formatCode>
                <c:ptCount val="12"/>
                <c:pt idx="0">
                  <c:v>-9.3357045516455628E-3</c:v>
                </c:pt>
                <c:pt idx="1">
                  <c:v>0.17472048390887096</c:v>
                </c:pt>
                <c:pt idx="2">
                  <c:v>-7.3726899827200043E-3</c:v>
                </c:pt>
                <c:pt idx="3">
                  <c:v>2.4251347926267215</c:v>
                </c:pt>
                <c:pt idx="4">
                  <c:v>2.6581100657794039</c:v>
                </c:pt>
                <c:pt idx="5">
                  <c:v>0.48576896948762283</c:v>
                </c:pt>
                <c:pt idx="6">
                  <c:v>-1.9213227881162283</c:v>
                </c:pt>
                <c:pt idx="7">
                  <c:v>0.54494551607444919</c:v>
                </c:pt>
                <c:pt idx="8">
                  <c:v>0.53730093201754414</c:v>
                </c:pt>
                <c:pt idx="9">
                  <c:v>1.2691631879542982</c:v>
                </c:pt>
                <c:pt idx="10">
                  <c:v>0.74882933333332602</c:v>
                </c:pt>
                <c:pt idx="11">
                  <c:v>0.9444703030303003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43</c:v>
                </c:pt>
                <c:pt idx="1">
                  <c:v>Av Price/Unit 97.96</c:v>
                </c:pt>
                <c:pt idx="2">
                  <c:v>Av Price/Unit 35.12</c:v>
                </c:pt>
                <c:pt idx="3">
                  <c:v>Av Price/Unit 224.26</c:v>
                </c:pt>
                <c:pt idx="4">
                  <c:v>Av Price/Unit 38.61</c:v>
                </c:pt>
                <c:pt idx="5">
                  <c:v>Av Price/Unit 60.50</c:v>
                </c:pt>
                <c:pt idx="6">
                  <c:v>Av Price/Unit 37.39</c:v>
                </c:pt>
                <c:pt idx="7">
                  <c:v>Av Price/Unit 46.56</c:v>
                </c:pt>
                <c:pt idx="8">
                  <c:v>Av Price/Unit 56.75</c:v>
                </c:pt>
                <c:pt idx="9">
                  <c:v>Av Price/Unit 52.57</c:v>
                </c:pt>
                <c:pt idx="10">
                  <c:v>Av Price/Unit 70.69</c:v>
                </c:pt>
                <c:pt idx="11">
                  <c:v>Av Price/Unit 46.94</c:v>
                </c:pt>
              </c:strCache>
            </c:strRef>
          </c:cat>
          <c:val>
            <c:numRef>
              <c:f>Sheet1!$E$2:$E$13</c:f>
              <c:numCache>
                <c:formatCode>General</c:formatCode>
                <c:ptCount val="12"/>
                <c:pt idx="0">
                  <c:v>15.572022349414009</c:v>
                </c:pt>
                <c:pt idx="1">
                  <c:v>16.326168663377953</c:v>
                </c:pt>
                <c:pt idx="2">
                  <c:v>5.8527094127806532</c:v>
                </c:pt>
                <c:pt idx="3">
                  <c:v>37.376728110599082</c:v>
                </c:pt>
                <c:pt idx="4">
                  <c:v>6.4342205904849346</c:v>
                </c:pt>
                <c:pt idx="5">
                  <c:v>10.0831894070236</c:v>
                </c:pt>
                <c:pt idx="6">
                  <c:v>6.2322886059418847</c:v>
                </c:pt>
                <c:pt idx="7">
                  <c:v>7.7605752961082892</c:v>
                </c:pt>
                <c:pt idx="8">
                  <c:v>9.4586074561403422</c:v>
                </c:pt>
                <c:pt idx="9">
                  <c:v>8.761422637590865</c:v>
                </c:pt>
                <c:pt idx="10">
                  <c:v>11.781333333333333</c:v>
                </c:pt>
                <c:pt idx="11">
                  <c:v>7.823333333333337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51</c:v>
                </c:pt>
                <c:pt idx="1">
                  <c:v>Av Price/Unit 97.94</c:v>
                </c:pt>
                <c:pt idx="2">
                  <c:v>Av Price/Unit 35.32</c:v>
                </c:pt>
                <c:pt idx="3">
                  <c:v>Av Price/Unit 38.72</c:v>
                </c:pt>
                <c:pt idx="4">
                  <c:v>Av Price/Unit 226.07</c:v>
                </c:pt>
                <c:pt idx="5">
                  <c:v>Av Price/Unit 61.01</c:v>
                </c:pt>
                <c:pt idx="6">
                  <c:v>Av Price/Unit 37.98</c:v>
                </c:pt>
                <c:pt idx="7">
                  <c:v>Av Price/Unit 46.77</c:v>
                </c:pt>
                <c:pt idx="8">
                  <c:v>Av Price/Unit 52.65</c:v>
                </c:pt>
                <c:pt idx="9">
                  <c:v>Av Price/Unit 71.38</c:v>
                </c:pt>
                <c:pt idx="10">
                  <c:v>Av Price/Unit 57.17</c:v>
                </c:pt>
                <c:pt idx="11">
                  <c:v>Av Price/Unit 47.42</c:v>
                </c:pt>
              </c:strCache>
            </c:strRef>
          </c:cat>
          <c:val>
            <c:numRef>
              <c:f>Sheet1!$B$2:$B$13</c:f>
              <c:numCache>
                <c:formatCode>General</c:formatCode>
                <c:ptCount val="12"/>
                <c:pt idx="0">
                  <c:v>30.086455169082129</c:v>
                </c:pt>
                <c:pt idx="1">
                  <c:v>31.658633909287254</c:v>
                </c:pt>
                <c:pt idx="2">
                  <c:v>12.521248262871495</c:v>
                </c:pt>
                <c:pt idx="3">
                  <c:v>13.334985188916876</c:v>
                </c:pt>
                <c:pt idx="4">
                  <c:v>74.403717571884982</c:v>
                </c:pt>
                <c:pt idx="5">
                  <c:v>21.291602068965517</c:v>
                </c:pt>
                <c:pt idx="6">
                  <c:v>14.865100158478604</c:v>
                </c:pt>
                <c:pt idx="7">
                  <c:v>16.11249512195122</c:v>
                </c:pt>
                <c:pt idx="8">
                  <c:v>18.142382926829271</c:v>
                </c:pt>
                <c:pt idx="9">
                  <c:v>25.988640687679087</c:v>
                </c:pt>
                <c:pt idx="10">
                  <c:v>18.340471220930233</c:v>
                </c:pt>
                <c:pt idx="11">
                  <c:v>15.96179905362776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51</c:v>
                </c:pt>
                <c:pt idx="1">
                  <c:v>Av Price/Unit 97.94</c:v>
                </c:pt>
                <c:pt idx="2">
                  <c:v>Av Price/Unit 35.32</c:v>
                </c:pt>
                <c:pt idx="3">
                  <c:v>Av Price/Unit 38.72</c:v>
                </c:pt>
                <c:pt idx="4">
                  <c:v>Av Price/Unit 226.07</c:v>
                </c:pt>
                <c:pt idx="5">
                  <c:v>Av Price/Unit 61.01</c:v>
                </c:pt>
                <c:pt idx="6">
                  <c:v>Av Price/Unit 37.98</c:v>
                </c:pt>
                <c:pt idx="7">
                  <c:v>Av Price/Unit 46.77</c:v>
                </c:pt>
                <c:pt idx="8">
                  <c:v>Av Price/Unit 52.65</c:v>
                </c:pt>
                <c:pt idx="9">
                  <c:v>Av Price/Unit 71.38</c:v>
                </c:pt>
                <c:pt idx="10">
                  <c:v>Av Price/Unit 57.17</c:v>
                </c:pt>
                <c:pt idx="11">
                  <c:v>Av Price/Unit 47.42</c:v>
                </c:pt>
              </c:strCache>
            </c:strRef>
          </c:cat>
          <c:val>
            <c:numRef>
              <c:f>Sheet1!$C$2:$C$13</c:f>
              <c:numCache>
                <c:formatCode>General</c:formatCode>
                <c:ptCount val="12"/>
                <c:pt idx="0">
                  <c:v>47.776071884057977</c:v>
                </c:pt>
                <c:pt idx="1">
                  <c:v>49.780343412527003</c:v>
                </c:pt>
                <c:pt idx="2">
                  <c:v>16.767982042695689</c:v>
                </c:pt>
                <c:pt idx="3">
                  <c:v>16.206</c:v>
                </c:pt>
                <c:pt idx="4">
                  <c:v>109.928</c:v>
                </c:pt>
                <c:pt idx="5">
                  <c:v>28.557997701149425</c:v>
                </c:pt>
                <c:pt idx="6">
                  <c:v>18.330718383518224</c:v>
                </c:pt>
                <c:pt idx="7">
                  <c:v>22.150934146341463</c:v>
                </c:pt>
                <c:pt idx="8">
                  <c:v>24.519355691056909</c:v>
                </c:pt>
                <c:pt idx="9">
                  <c:v>32.111457593123212</c:v>
                </c:pt>
                <c:pt idx="10">
                  <c:v>28.338290697674417</c:v>
                </c:pt>
                <c:pt idx="11">
                  <c:v>22.20986403785489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51</c:v>
                </c:pt>
                <c:pt idx="1">
                  <c:v>Av Price/Unit 97.94</c:v>
                </c:pt>
                <c:pt idx="2">
                  <c:v>Av Price/Unit 35.32</c:v>
                </c:pt>
                <c:pt idx="3">
                  <c:v>Av Price/Unit 38.72</c:v>
                </c:pt>
                <c:pt idx="4">
                  <c:v>Av Price/Unit 226.07</c:v>
                </c:pt>
                <c:pt idx="5">
                  <c:v>Av Price/Unit 61.01</c:v>
                </c:pt>
                <c:pt idx="6">
                  <c:v>Av Price/Unit 37.98</c:v>
                </c:pt>
                <c:pt idx="7">
                  <c:v>Av Price/Unit 46.77</c:v>
                </c:pt>
                <c:pt idx="8">
                  <c:v>Av Price/Unit 52.65</c:v>
                </c:pt>
                <c:pt idx="9">
                  <c:v>Av Price/Unit 71.38</c:v>
                </c:pt>
                <c:pt idx="10">
                  <c:v>Av Price/Unit 57.17</c:v>
                </c:pt>
                <c:pt idx="11">
                  <c:v>Av Price/Unit 47.42</c:v>
                </c:pt>
              </c:strCache>
            </c:strRef>
          </c:cat>
          <c:val>
            <c:numRef>
              <c:f>Sheet1!$D$2:$D$13</c:f>
              <c:numCache>
                <c:formatCode>General</c:formatCode>
                <c:ptCount val="12"/>
                <c:pt idx="0">
                  <c:v>5.921207729468847E-2</c:v>
                </c:pt>
                <c:pt idx="1">
                  <c:v>0.17459359251259343</c:v>
                </c:pt>
                <c:pt idx="2">
                  <c:v>0.14777262452908957</c:v>
                </c:pt>
                <c:pt idx="3">
                  <c:v>2.7251776994122601</c:v>
                </c:pt>
                <c:pt idx="4">
                  <c:v>4.0601887113950852</c:v>
                </c:pt>
                <c:pt idx="5">
                  <c:v>0.99618567049808604</c:v>
                </c:pt>
                <c:pt idx="6">
                  <c:v>-1.5430187533016344</c:v>
                </c:pt>
                <c:pt idx="7">
                  <c:v>0.7152292682926884</c:v>
                </c:pt>
                <c:pt idx="8">
                  <c:v>1.2119063685636817</c:v>
                </c:pt>
                <c:pt idx="9">
                  <c:v>1.3818087870105131</c:v>
                </c:pt>
                <c:pt idx="10">
                  <c:v>0.96658691860465495</c:v>
                </c:pt>
                <c:pt idx="11">
                  <c:v>1.347264353312304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51</c:v>
                </c:pt>
                <c:pt idx="1">
                  <c:v>Av Price/Unit 97.94</c:v>
                </c:pt>
                <c:pt idx="2">
                  <c:v>Av Price/Unit 35.32</c:v>
                </c:pt>
                <c:pt idx="3">
                  <c:v>Av Price/Unit 38.72</c:v>
                </c:pt>
                <c:pt idx="4">
                  <c:v>Av Price/Unit 226.07</c:v>
                </c:pt>
                <c:pt idx="5">
                  <c:v>Av Price/Unit 61.01</c:v>
                </c:pt>
                <c:pt idx="6">
                  <c:v>Av Price/Unit 37.98</c:v>
                </c:pt>
                <c:pt idx="7">
                  <c:v>Av Price/Unit 46.77</c:v>
                </c:pt>
                <c:pt idx="8">
                  <c:v>Av Price/Unit 52.65</c:v>
                </c:pt>
                <c:pt idx="9">
                  <c:v>Av Price/Unit 71.38</c:v>
                </c:pt>
                <c:pt idx="10">
                  <c:v>Av Price/Unit 57.17</c:v>
                </c:pt>
                <c:pt idx="11">
                  <c:v>Av Price/Unit 47.42</c:v>
                </c:pt>
              </c:strCache>
            </c:strRef>
          </c:cat>
          <c:val>
            <c:numRef>
              <c:f>Sheet1!$E$2:$E$13</c:f>
              <c:numCache>
                <c:formatCode>General</c:formatCode>
                <c:ptCount val="12"/>
                <c:pt idx="0">
                  <c:v>15.584347826086956</c:v>
                </c:pt>
                <c:pt idx="1">
                  <c:v>16.322714182865365</c:v>
                </c:pt>
                <c:pt idx="2">
                  <c:v>5.8874005860192549</c:v>
                </c:pt>
                <c:pt idx="3">
                  <c:v>6.4532325776658261</c:v>
                </c:pt>
                <c:pt idx="4">
                  <c:v>37.678381256656003</c:v>
                </c:pt>
                <c:pt idx="5">
                  <c:v>10.169157088122603</c:v>
                </c:pt>
                <c:pt idx="6">
                  <c:v>6.3305599577390366</c:v>
                </c:pt>
                <c:pt idx="7">
                  <c:v>7.7957317073170733</c:v>
                </c:pt>
                <c:pt idx="8">
                  <c:v>8.7747289972899747</c:v>
                </c:pt>
                <c:pt idx="9">
                  <c:v>11.896370582616997</c:v>
                </c:pt>
                <c:pt idx="10">
                  <c:v>9.529069767441861</c:v>
                </c:pt>
                <c:pt idx="11">
                  <c:v>7.903785488958990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C28C7335-D7D8-4689-9871-7AD71D0BD8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AC61D016-C960-42B2-85B6-CBFF221628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FF5-4D9B-9947-2A90D7752FBB}"/>
                </c:ext>
              </c:extLst>
            </c:dLbl>
            <c:dLbl>
              <c:idx val="2"/>
              <c:tx>
                <c:rich>
                  <a:bodyPr/>
                  <a:lstStyle/>
                  <a:p>
                    <a:fld id="{048DC7FB-4EA3-4AE9-8741-F50C4B4A6D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FF5-4D9B-9947-2A90D7752FBB}"/>
                </c:ext>
              </c:extLst>
            </c:dLbl>
            <c:dLbl>
              <c:idx val="3"/>
              <c:tx>
                <c:rich>
                  <a:bodyPr/>
                  <a:lstStyle/>
                  <a:p>
                    <a:fld id="{DD9CA2AD-6CF7-4A48-B604-244AEE9D06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E1FE9149-33B6-4370-BB8D-0AAEDD2196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F9120B26-97E8-4298-A319-4838C9CCA7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B3488A36-0DE3-473A-A099-8739623B34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8B814F51-7FA2-426A-817F-5A57F4601B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80.215699999999998</c:v>
                </c:pt>
              </c:numCache>
            </c:numRef>
          </c:xVal>
          <c:yVal>
            <c:numRef>
              <c:f>Sheet1!$B$2:$B$2</c:f>
              <c:numCache>
                <c:formatCode>General</c:formatCode>
                <c:ptCount val="1"/>
                <c:pt idx="0">
                  <c:v>0.4032</c:v>
                </c:pt>
              </c:numCache>
            </c:numRef>
          </c:yVal>
          <c:bubbleSize>
            <c:numRef>
              <c:f>Sheet1!$C$2:$C$2</c:f>
              <c:numCache>
                <c:formatCode>General</c:formatCode>
                <c:ptCount val="1"/>
                <c:pt idx="0">
                  <c:v>6554587.2628000388</c:v>
                </c:pt>
              </c:numCache>
            </c:numRef>
          </c:bubbleSize>
          <c:bubble3D val="0"/>
          <c:extLst>
            <c:ext xmlns:c15="http://schemas.microsoft.com/office/drawing/2012/chart" uri="{02D57815-91ED-43cb-92C2-25804820EDAC}">
              <c15:datalabelsRange>
                <c15:f>Sheet1!$E$2:$E$29</c15:f>
                <c15:dlblRangeCache>
                  <c:ptCount val="28"/>
                  <c:pt idx="0">
                    <c:v>NICOLAS</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96.258839999999992"/>
          <c:min val="64.17256000000000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32"/>
        <c:crossBetween val="midCat"/>
      </c:valAx>
      <c:valAx>
        <c:axId val="1011451359"/>
        <c:scaling>
          <c:orientation val="minMax"/>
          <c:max val="0.84384000000000003"/>
          <c:min val="8.2560000000000022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80.21569999999999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E6E5E5"/>
              </a:solidFill>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46BB244D-AF7F-4DB6-AC14-616DE31F87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51A4314E-5EB5-476E-A158-324F061777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FA43FB55-D414-4D81-BD23-01075CC7A2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9E9131A3-5B12-4A5A-99EC-AB23468D45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B4F0D159-280C-4472-9E90-4AB341CEFF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DC56B41A-945A-456E-95F0-62609E478B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14EEFA6B-97E0-49CC-ADC3-9346567F10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260D5488-155A-4B4D-B86A-56AD2839BD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8.819500000000001</c:v>
                </c:pt>
                <c:pt idx="1">
                  <c:v>14.4072</c:v>
                </c:pt>
                <c:pt idx="2">
                  <c:v>16.968299999999999</c:v>
                </c:pt>
                <c:pt idx="3">
                  <c:v>15.7431</c:v>
                </c:pt>
                <c:pt idx="4">
                  <c:v>18.409300000000002</c:v>
                </c:pt>
              </c:numCache>
            </c:numRef>
          </c:xVal>
          <c:yVal>
            <c:numRef>
              <c:f>Sheet1!$B$2:$B$6</c:f>
              <c:numCache>
                <c:formatCode>General</c:formatCode>
                <c:ptCount val="5"/>
                <c:pt idx="0">
                  <c:v>0.45800000000000002</c:v>
                </c:pt>
                <c:pt idx="1">
                  <c:v>0.4148</c:v>
                </c:pt>
                <c:pt idx="2">
                  <c:v>0.44090000000000001</c:v>
                </c:pt>
                <c:pt idx="3">
                  <c:v>0.41520000000000001</c:v>
                </c:pt>
                <c:pt idx="4">
                  <c:v>0.45650000000000002</c:v>
                </c:pt>
              </c:numCache>
            </c:numRef>
          </c:yVal>
          <c:bubbleSize>
            <c:numRef>
              <c:f>Sheet1!$C$2:$C$6</c:f>
              <c:numCache>
                <c:formatCode>General</c:formatCode>
                <c:ptCount val="5"/>
                <c:pt idx="0">
                  <c:v>13681.7948</c:v>
                </c:pt>
                <c:pt idx="1">
                  <c:v>28007.555499999999</c:v>
                </c:pt>
                <c:pt idx="2">
                  <c:v>170870.4178</c:v>
                </c:pt>
                <c:pt idx="3">
                  <c:v>61240.477499999994</c:v>
                </c:pt>
                <c:pt idx="4">
                  <c:v>61450.268099999987</c:v>
                </c:pt>
              </c:numCache>
            </c:numRef>
          </c:bubbleSize>
          <c:bubble3D val="0"/>
          <c:extLst>
            <c:ext xmlns:c15="http://schemas.microsoft.com/office/drawing/2012/chart" uri="{02D57815-91ED-43cb-92C2-25804820EDAC}">
              <c15:datalabelsRange>
                <c15:f>Sheet1!$E$2:$E$29</c15:f>
                <c15:dlblRangeCache>
                  <c:ptCount val="28"/>
                  <c:pt idx="0">
                    <c:v>NICOLAS QCA</c:v>
                  </c:pt>
                  <c:pt idx="1">
                    <c:v>NICOLAS CCP</c:v>
                  </c:pt>
                  <c:pt idx="2">
                    <c:v>NICOLAS QCN</c:v>
                  </c:pt>
                  <c:pt idx="3">
                    <c:v>NICOLAS QCT</c:v>
                  </c:pt>
                  <c:pt idx="4">
                    <c:v>NICOLAS VCN</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2.583400000000001"/>
          <c:min val="11.52576"/>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758219868007325"/>
        <c:crossBetween val="midCat"/>
      </c:valAx>
      <c:valAx>
        <c:axId val="1011451359"/>
        <c:scaling>
          <c:orientation val="minMax"/>
          <c:max val="0.90959999999999996"/>
          <c:min val="9.1840000000000019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6.87021093759928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66</c:v>
                </c:pt>
                <c:pt idx="1">
                  <c:v>Av Price/Unit 98.00</c:v>
                </c:pt>
                <c:pt idx="2">
                  <c:v>Av Price/Unit 225.20</c:v>
                </c:pt>
                <c:pt idx="3">
                  <c:v>Av Price/Unit 35.23</c:v>
                </c:pt>
                <c:pt idx="4">
                  <c:v>Av Price/Unit 38.80</c:v>
                </c:pt>
                <c:pt idx="5">
                  <c:v>Av Price/Unit 60.89</c:v>
                </c:pt>
                <c:pt idx="6">
                  <c:v>Av Price/Unit 37.88</c:v>
                </c:pt>
                <c:pt idx="7">
                  <c:v>Av Price/Unit 46.33</c:v>
                </c:pt>
                <c:pt idx="8">
                  <c:v>Av Price/Unit 52.68</c:v>
                </c:pt>
                <c:pt idx="9">
                  <c:v>Av Price/Unit 70.47</c:v>
                </c:pt>
                <c:pt idx="10">
                  <c:v>Av Price/Unit 56.75</c:v>
                </c:pt>
                <c:pt idx="11">
                  <c:v>Av Price/Unit 47.23</c:v>
                </c:pt>
              </c:strCache>
            </c:strRef>
          </c:cat>
          <c:val>
            <c:numRef>
              <c:f>Sheet1!$B$2:$B$13</c:f>
              <c:numCache>
                <c:formatCode>General</c:formatCode>
                <c:ptCount val="12"/>
                <c:pt idx="0">
                  <c:v>30.208709491525429</c:v>
                </c:pt>
                <c:pt idx="1">
                  <c:v>31.72265995075913</c:v>
                </c:pt>
                <c:pt idx="2">
                  <c:v>74.523621243523323</c:v>
                </c:pt>
                <c:pt idx="3">
                  <c:v>12.517985814054999</c:v>
                </c:pt>
                <c:pt idx="4">
                  <c:v>13.328177029464824</c:v>
                </c:pt>
                <c:pt idx="5">
                  <c:v>21.39883076923077</c:v>
                </c:pt>
                <c:pt idx="6">
                  <c:v>14.809808357628766</c:v>
                </c:pt>
                <c:pt idx="7">
                  <c:v>16.111507957559681</c:v>
                </c:pt>
                <c:pt idx="8">
                  <c:v>18.127689660743133</c:v>
                </c:pt>
                <c:pt idx="9">
                  <c:v>26.116111711711717</c:v>
                </c:pt>
                <c:pt idx="10">
                  <c:v>18.502632843137253</c:v>
                </c:pt>
                <c:pt idx="11">
                  <c:v>15.95994929577464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66</c:v>
                </c:pt>
                <c:pt idx="1">
                  <c:v>Av Price/Unit 98.00</c:v>
                </c:pt>
                <c:pt idx="2">
                  <c:v>Av Price/Unit 225.20</c:v>
                </c:pt>
                <c:pt idx="3">
                  <c:v>Av Price/Unit 35.23</c:v>
                </c:pt>
                <c:pt idx="4">
                  <c:v>Av Price/Unit 38.80</c:v>
                </c:pt>
                <c:pt idx="5">
                  <c:v>Av Price/Unit 60.89</c:v>
                </c:pt>
                <c:pt idx="6">
                  <c:v>Av Price/Unit 37.88</c:v>
                </c:pt>
                <c:pt idx="7">
                  <c:v>Av Price/Unit 46.33</c:v>
                </c:pt>
                <c:pt idx="8">
                  <c:v>Av Price/Unit 52.68</c:v>
                </c:pt>
                <c:pt idx="9">
                  <c:v>Av Price/Unit 70.47</c:v>
                </c:pt>
                <c:pt idx="10">
                  <c:v>Av Price/Unit 56.75</c:v>
                </c:pt>
                <c:pt idx="11">
                  <c:v>Av Price/Unit 47.23</c:v>
                </c:pt>
              </c:strCache>
            </c:strRef>
          </c:cat>
          <c:val>
            <c:numRef>
              <c:f>Sheet1!$C$2:$C$13</c:f>
              <c:numCache>
                <c:formatCode>General</c:formatCode>
                <c:ptCount val="12"/>
                <c:pt idx="0">
                  <c:v>47.716115932203394</c:v>
                </c:pt>
                <c:pt idx="1">
                  <c:v>49.753360279031604</c:v>
                </c:pt>
                <c:pt idx="2">
                  <c:v>109.92799999999995</c:v>
                </c:pt>
                <c:pt idx="3">
                  <c:v>16.769055827149714</c:v>
                </c:pt>
                <c:pt idx="4">
                  <c:v>16.205999999999996</c:v>
                </c:pt>
                <c:pt idx="5">
                  <c:v>28.608273504273505</c:v>
                </c:pt>
                <c:pt idx="6">
                  <c:v>18.317924878522838</c:v>
                </c:pt>
                <c:pt idx="7">
                  <c:v>22.150591777188325</c:v>
                </c:pt>
                <c:pt idx="8">
                  <c:v>24.513651050080778</c:v>
                </c:pt>
                <c:pt idx="9">
                  <c:v>32.252426126126124</c:v>
                </c:pt>
                <c:pt idx="10">
                  <c:v>28.26613725490196</c:v>
                </c:pt>
                <c:pt idx="11">
                  <c:v>22.21217183098591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66</c:v>
                </c:pt>
                <c:pt idx="1">
                  <c:v>Av Price/Unit 98.00</c:v>
                </c:pt>
                <c:pt idx="2">
                  <c:v>Av Price/Unit 225.20</c:v>
                </c:pt>
                <c:pt idx="3">
                  <c:v>Av Price/Unit 35.23</c:v>
                </c:pt>
                <c:pt idx="4">
                  <c:v>Av Price/Unit 38.80</c:v>
                </c:pt>
                <c:pt idx="5">
                  <c:v>Av Price/Unit 60.89</c:v>
                </c:pt>
                <c:pt idx="6">
                  <c:v>Av Price/Unit 37.88</c:v>
                </c:pt>
                <c:pt idx="7">
                  <c:v>Av Price/Unit 46.33</c:v>
                </c:pt>
                <c:pt idx="8">
                  <c:v>Av Price/Unit 52.68</c:v>
                </c:pt>
                <c:pt idx="9">
                  <c:v>Av Price/Unit 70.47</c:v>
                </c:pt>
                <c:pt idx="10">
                  <c:v>Av Price/Unit 56.75</c:v>
                </c:pt>
                <c:pt idx="11">
                  <c:v>Av Price/Unit 47.23</c:v>
                </c:pt>
              </c:strCache>
            </c:strRef>
          </c:cat>
          <c:val>
            <c:numRef>
              <c:f>Sheet1!$D$2:$D$13</c:f>
              <c:numCache>
                <c:formatCode>General</c:formatCode>
                <c:ptCount val="12"/>
                <c:pt idx="0">
                  <c:v>0.12898813559321809</c:v>
                </c:pt>
                <c:pt idx="1">
                  <c:v>0.19372399124608819</c:v>
                </c:pt>
                <c:pt idx="2">
                  <c:v>3.2167725388601411</c:v>
                </c:pt>
                <c:pt idx="3">
                  <c:v>7.2044638440278419E-2</c:v>
                </c:pt>
                <c:pt idx="4">
                  <c:v>2.8019624774503953</c:v>
                </c:pt>
                <c:pt idx="5">
                  <c:v>0.73363646723646525</c:v>
                </c:pt>
                <c:pt idx="6">
                  <c:v>-1.5574384515711053</c:v>
                </c:pt>
                <c:pt idx="7">
                  <c:v>0.34311688770998927</c:v>
                </c:pt>
                <c:pt idx="8">
                  <c:v>1.2560744749596111</c:v>
                </c:pt>
                <c:pt idx="9">
                  <c:v>0.3577523523523567</c:v>
                </c:pt>
                <c:pt idx="10">
                  <c:v>0.51881160130719906</c:v>
                </c:pt>
                <c:pt idx="11">
                  <c:v>1.186251330203447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66</c:v>
                </c:pt>
                <c:pt idx="1">
                  <c:v>Av Price/Unit 98.00</c:v>
                </c:pt>
                <c:pt idx="2">
                  <c:v>Av Price/Unit 225.20</c:v>
                </c:pt>
                <c:pt idx="3">
                  <c:v>Av Price/Unit 35.23</c:v>
                </c:pt>
                <c:pt idx="4">
                  <c:v>Av Price/Unit 38.80</c:v>
                </c:pt>
                <c:pt idx="5">
                  <c:v>Av Price/Unit 60.89</c:v>
                </c:pt>
                <c:pt idx="6">
                  <c:v>Av Price/Unit 37.88</c:v>
                </c:pt>
                <c:pt idx="7">
                  <c:v>Av Price/Unit 46.33</c:v>
                </c:pt>
                <c:pt idx="8">
                  <c:v>Av Price/Unit 52.68</c:v>
                </c:pt>
                <c:pt idx="9">
                  <c:v>Av Price/Unit 70.47</c:v>
                </c:pt>
                <c:pt idx="10">
                  <c:v>Av Price/Unit 56.75</c:v>
                </c:pt>
                <c:pt idx="11">
                  <c:v>Av Price/Unit 47.23</c:v>
                </c:pt>
              </c:strCache>
            </c:strRef>
          </c:cat>
          <c:val>
            <c:numRef>
              <c:f>Sheet1!$E$2:$E$13</c:f>
              <c:numCache>
                <c:formatCode>General</c:formatCode>
                <c:ptCount val="12"/>
                <c:pt idx="0">
                  <c:v>15.610762711864417</c:v>
                </c:pt>
                <c:pt idx="1">
                  <c:v>16.333948844207352</c:v>
                </c:pt>
                <c:pt idx="2">
                  <c:v>37.533678756476647</c:v>
                </c:pt>
                <c:pt idx="3">
                  <c:v>5.8718172559289954</c:v>
                </c:pt>
                <c:pt idx="4">
                  <c:v>6.4672279013830387</c:v>
                </c:pt>
                <c:pt idx="5">
                  <c:v>10.148148148148145</c:v>
                </c:pt>
                <c:pt idx="6">
                  <c:v>6.3140589569160976</c:v>
                </c:pt>
                <c:pt idx="7">
                  <c:v>7.721043324491597</c:v>
                </c:pt>
                <c:pt idx="8">
                  <c:v>8.7794830371567052</c:v>
                </c:pt>
                <c:pt idx="9">
                  <c:v>11.745245245245249</c:v>
                </c:pt>
                <c:pt idx="10">
                  <c:v>9.4575163398692759</c:v>
                </c:pt>
                <c:pt idx="11">
                  <c:v>7.871674491392798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86</c:v>
                </c:pt>
                <c:pt idx="1">
                  <c:v>Av Price/Unit 21.20</c:v>
                </c:pt>
                <c:pt idx="2">
                  <c:v>Av Price/Unit 45.92</c:v>
                </c:pt>
                <c:pt idx="3">
                  <c:v>Av Price/Unit 29.14</c:v>
                </c:pt>
                <c:pt idx="4">
                  <c:v>Av Price/Unit 29.94</c:v>
                </c:pt>
                <c:pt idx="5">
                  <c:v>Av Price/Unit 36.69</c:v>
                </c:pt>
                <c:pt idx="6">
                  <c:v>Av Price/Unit 28.53</c:v>
                </c:pt>
                <c:pt idx="7">
                  <c:v>Av Price/Unit 41.63</c:v>
                </c:pt>
                <c:pt idx="8">
                  <c:v>Av Price/Unit 60.14</c:v>
                </c:pt>
                <c:pt idx="9">
                  <c:v>Av Price/Unit 35.74</c:v>
                </c:pt>
                <c:pt idx="10">
                  <c:v>Av Price/Unit 45.29</c:v>
                </c:pt>
                <c:pt idx="11">
                  <c:v>Av Price/Unit 37.12</c:v>
                </c:pt>
              </c:strCache>
            </c:strRef>
          </c:cat>
          <c:val>
            <c:numRef>
              <c:f>Sheet1!$B$2:$B$13</c:f>
              <c:numCache>
                <c:formatCode>General</c:formatCode>
                <c:ptCount val="12"/>
                <c:pt idx="0">
                  <c:v>18.18058296550333</c:v>
                </c:pt>
                <c:pt idx="1">
                  <c:v>3.6054031585779196</c:v>
                </c:pt>
                <c:pt idx="2">
                  <c:v>15.833393870234348</c:v>
                </c:pt>
                <c:pt idx="3">
                  <c:v>10.068981396083387</c:v>
                </c:pt>
                <c:pt idx="4">
                  <c:v>11.446588387508983</c:v>
                </c:pt>
                <c:pt idx="5">
                  <c:v>12.796359307211812</c:v>
                </c:pt>
                <c:pt idx="6">
                  <c:v>11.111735131941709</c:v>
                </c:pt>
                <c:pt idx="7">
                  <c:v>14.73626874451273</c:v>
                </c:pt>
                <c:pt idx="8">
                  <c:v>20.165314498822298</c:v>
                </c:pt>
                <c:pt idx="9">
                  <c:v>11.906601611312068</c:v>
                </c:pt>
                <c:pt idx="10">
                  <c:v>15.080697764530552</c:v>
                </c:pt>
                <c:pt idx="11">
                  <c:v>13.23884869099563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86</c:v>
                </c:pt>
                <c:pt idx="1">
                  <c:v>Av Price/Unit 21.20</c:v>
                </c:pt>
                <c:pt idx="2">
                  <c:v>Av Price/Unit 45.92</c:v>
                </c:pt>
                <c:pt idx="3">
                  <c:v>Av Price/Unit 29.14</c:v>
                </c:pt>
                <c:pt idx="4">
                  <c:v>Av Price/Unit 29.94</c:v>
                </c:pt>
                <c:pt idx="5">
                  <c:v>Av Price/Unit 36.69</c:v>
                </c:pt>
                <c:pt idx="6">
                  <c:v>Av Price/Unit 28.53</c:v>
                </c:pt>
                <c:pt idx="7">
                  <c:v>Av Price/Unit 41.63</c:v>
                </c:pt>
                <c:pt idx="8">
                  <c:v>Av Price/Unit 60.14</c:v>
                </c:pt>
                <c:pt idx="9">
                  <c:v>Av Price/Unit 35.74</c:v>
                </c:pt>
                <c:pt idx="10">
                  <c:v>Av Price/Unit 45.29</c:v>
                </c:pt>
                <c:pt idx="11">
                  <c:v>Av Price/Unit 37.12</c:v>
                </c:pt>
              </c:strCache>
            </c:strRef>
          </c:cat>
          <c:val>
            <c:numRef>
              <c:f>Sheet1!$C$2:$C$13</c:f>
              <c:numCache>
                <c:formatCode>General</c:formatCode>
                <c:ptCount val="12"/>
                <c:pt idx="0">
                  <c:v>27.87501086544281</c:v>
                </c:pt>
                <c:pt idx="1">
                  <c:v>13.401637996682771</c:v>
                </c:pt>
                <c:pt idx="2">
                  <c:v>22.315113431269676</c:v>
                </c:pt>
                <c:pt idx="3">
                  <c:v>15.304786260265317</c:v>
                </c:pt>
                <c:pt idx="4">
                  <c:v>14.100163988499322</c:v>
                </c:pt>
                <c:pt idx="5">
                  <c:v>18.340139148211239</c:v>
                </c:pt>
                <c:pt idx="6">
                  <c:v>13.871748444269397</c:v>
                </c:pt>
                <c:pt idx="7">
                  <c:v>20.571545888206032</c:v>
                </c:pt>
                <c:pt idx="8">
                  <c:v>29.216898037163048</c:v>
                </c:pt>
                <c:pt idx="9">
                  <c:v>18.192579546201905</c:v>
                </c:pt>
                <c:pt idx="10">
                  <c:v>22.279397956142216</c:v>
                </c:pt>
                <c:pt idx="11">
                  <c:v>17.09219904799682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86</c:v>
                </c:pt>
                <c:pt idx="1">
                  <c:v>Av Price/Unit 21.20</c:v>
                </c:pt>
                <c:pt idx="2">
                  <c:v>Av Price/Unit 45.92</c:v>
                </c:pt>
                <c:pt idx="3">
                  <c:v>Av Price/Unit 29.14</c:v>
                </c:pt>
                <c:pt idx="4">
                  <c:v>Av Price/Unit 29.94</c:v>
                </c:pt>
                <c:pt idx="5">
                  <c:v>Av Price/Unit 36.69</c:v>
                </c:pt>
                <c:pt idx="6">
                  <c:v>Av Price/Unit 28.53</c:v>
                </c:pt>
                <c:pt idx="7">
                  <c:v>Av Price/Unit 41.63</c:v>
                </c:pt>
                <c:pt idx="8">
                  <c:v>Av Price/Unit 60.14</c:v>
                </c:pt>
                <c:pt idx="9">
                  <c:v>Av Price/Unit 35.74</c:v>
                </c:pt>
                <c:pt idx="10">
                  <c:v>Av Price/Unit 45.29</c:v>
                </c:pt>
                <c:pt idx="11">
                  <c:v>Av Price/Unit 37.12</c:v>
                </c:pt>
              </c:strCache>
            </c:strRef>
          </c:cat>
          <c:val>
            <c:numRef>
              <c:f>Sheet1!$D$2:$D$13</c:f>
              <c:numCache>
                <c:formatCode>General</c:formatCode>
                <c:ptCount val="12"/>
                <c:pt idx="0">
                  <c:v>-1.1726080505682219</c:v>
                </c:pt>
                <c:pt idx="1">
                  <c:v>0.6632672507872357</c:v>
                </c:pt>
                <c:pt idx="2">
                  <c:v>0.12066179899731821</c:v>
                </c:pt>
                <c:pt idx="3">
                  <c:v>-1.0872073278584899</c:v>
                </c:pt>
                <c:pt idx="4">
                  <c:v>-0.59340732902057525</c:v>
                </c:pt>
                <c:pt idx="5">
                  <c:v>-0.56400176793488654</c:v>
                </c:pt>
                <c:pt idx="6">
                  <c:v>-1.2059957200997786</c:v>
                </c:pt>
                <c:pt idx="7">
                  <c:v>-0.61424815139986322</c:v>
                </c:pt>
                <c:pt idx="8">
                  <c:v>0.73315865829190585</c:v>
                </c:pt>
                <c:pt idx="9">
                  <c:v>-0.31964043625999494</c:v>
                </c:pt>
                <c:pt idx="10">
                  <c:v>0.38066079057555413</c:v>
                </c:pt>
                <c:pt idx="11">
                  <c:v>0.6042623231521915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86</c:v>
                </c:pt>
                <c:pt idx="1">
                  <c:v>Av Price/Unit 21.20</c:v>
                </c:pt>
                <c:pt idx="2">
                  <c:v>Av Price/Unit 45.92</c:v>
                </c:pt>
                <c:pt idx="3">
                  <c:v>Av Price/Unit 29.14</c:v>
                </c:pt>
                <c:pt idx="4">
                  <c:v>Av Price/Unit 29.94</c:v>
                </c:pt>
                <c:pt idx="5">
                  <c:v>Av Price/Unit 36.69</c:v>
                </c:pt>
                <c:pt idx="6">
                  <c:v>Av Price/Unit 28.53</c:v>
                </c:pt>
                <c:pt idx="7">
                  <c:v>Av Price/Unit 41.63</c:v>
                </c:pt>
                <c:pt idx="8">
                  <c:v>Av Price/Unit 60.14</c:v>
                </c:pt>
                <c:pt idx="9">
                  <c:v>Av Price/Unit 35.74</c:v>
                </c:pt>
                <c:pt idx="10">
                  <c:v>Av Price/Unit 45.29</c:v>
                </c:pt>
                <c:pt idx="11">
                  <c:v>Av Price/Unit 37.12</c:v>
                </c:pt>
              </c:strCache>
            </c:strRef>
          </c:cat>
          <c:val>
            <c:numRef>
              <c:f>Sheet1!$E$2:$E$13</c:f>
              <c:numCache>
                <c:formatCode>General</c:formatCode>
                <c:ptCount val="12"/>
                <c:pt idx="0">
                  <c:v>8.9765920247461466</c:v>
                </c:pt>
                <c:pt idx="1">
                  <c:v>3.5340616812095864</c:v>
                </c:pt>
                <c:pt idx="2">
                  <c:v>7.6538270957211116</c:v>
                </c:pt>
                <c:pt idx="3">
                  <c:v>4.8573120656980375</c:v>
                </c:pt>
                <c:pt idx="4">
                  <c:v>4.9906690093975428</c:v>
                </c:pt>
                <c:pt idx="5">
                  <c:v>6.1144993374976364</c:v>
                </c:pt>
                <c:pt idx="6">
                  <c:v>4.7554975712222642</c:v>
                </c:pt>
                <c:pt idx="7">
                  <c:v>6.9387132962637779</c:v>
                </c:pt>
                <c:pt idx="8">
                  <c:v>10.023074238855445</c:v>
                </c:pt>
                <c:pt idx="9">
                  <c:v>5.9559081442507864</c:v>
                </c:pt>
                <c:pt idx="10">
                  <c:v>7.5481513022496545</c:v>
                </c:pt>
                <c:pt idx="11">
                  <c:v>6.187062012428928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4</c:v>
                </c:pt>
                <c:pt idx="1">
                  <c:v>Av Price/Unit 21.28</c:v>
                </c:pt>
                <c:pt idx="2">
                  <c:v>Av Price/Unit 46.06</c:v>
                </c:pt>
                <c:pt idx="3">
                  <c:v>Av Price/Unit 29.27</c:v>
                </c:pt>
                <c:pt idx="4">
                  <c:v>Av Price/Unit 42.05</c:v>
                </c:pt>
                <c:pt idx="5">
                  <c:v>Av Price/Unit 37.16</c:v>
                </c:pt>
                <c:pt idx="6">
                  <c:v>Av Price/Unit 30.10</c:v>
                </c:pt>
                <c:pt idx="7">
                  <c:v>Av Price/Unit 29.12</c:v>
                </c:pt>
                <c:pt idx="8">
                  <c:v>Av Price/Unit 45.48</c:v>
                </c:pt>
                <c:pt idx="9">
                  <c:v>Av Price/Unit 60.25</c:v>
                </c:pt>
                <c:pt idx="10">
                  <c:v>Av Price/Unit 57.51</c:v>
                </c:pt>
                <c:pt idx="11">
                  <c:v>Av Price/Unit 37.36</c:v>
                </c:pt>
              </c:strCache>
            </c:strRef>
          </c:cat>
          <c:val>
            <c:numRef>
              <c:f>Sheet1!$B$2:$B$13</c:f>
              <c:numCache>
                <c:formatCode>General</c:formatCode>
                <c:ptCount val="12"/>
                <c:pt idx="0">
                  <c:v>18.183700159560466</c:v>
                </c:pt>
                <c:pt idx="1">
                  <c:v>3.6043271779713746</c:v>
                </c:pt>
                <c:pt idx="2">
                  <c:v>15.840063378110232</c:v>
                </c:pt>
                <c:pt idx="3">
                  <c:v>10.084361500783702</c:v>
                </c:pt>
                <c:pt idx="4">
                  <c:v>14.644514153224035</c:v>
                </c:pt>
                <c:pt idx="5">
                  <c:v>12.784544722280884</c:v>
                </c:pt>
                <c:pt idx="6">
                  <c:v>11.443937414565607</c:v>
                </c:pt>
                <c:pt idx="7">
                  <c:v>11.105190490560743</c:v>
                </c:pt>
                <c:pt idx="8">
                  <c:v>15.080345218299097</c:v>
                </c:pt>
                <c:pt idx="9">
                  <c:v>20.14262956039973</c:v>
                </c:pt>
                <c:pt idx="10">
                  <c:v>19.519801354792701</c:v>
                </c:pt>
                <c:pt idx="11">
                  <c:v>13.2345165947811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4</c:v>
                </c:pt>
                <c:pt idx="1">
                  <c:v>Av Price/Unit 21.28</c:v>
                </c:pt>
                <c:pt idx="2">
                  <c:v>Av Price/Unit 46.06</c:v>
                </c:pt>
                <c:pt idx="3">
                  <c:v>Av Price/Unit 29.27</c:v>
                </c:pt>
                <c:pt idx="4">
                  <c:v>Av Price/Unit 42.05</c:v>
                </c:pt>
                <c:pt idx="5">
                  <c:v>Av Price/Unit 37.16</c:v>
                </c:pt>
                <c:pt idx="6">
                  <c:v>Av Price/Unit 30.10</c:v>
                </c:pt>
                <c:pt idx="7">
                  <c:v>Av Price/Unit 29.12</c:v>
                </c:pt>
                <c:pt idx="8">
                  <c:v>Av Price/Unit 45.48</c:v>
                </c:pt>
                <c:pt idx="9">
                  <c:v>Av Price/Unit 60.25</c:v>
                </c:pt>
                <c:pt idx="10">
                  <c:v>Av Price/Unit 57.51</c:v>
                </c:pt>
                <c:pt idx="11">
                  <c:v>Av Price/Unit 37.36</c:v>
                </c:pt>
              </c:strCache>
            </c:strRef>
          </c:cat>
          <c:val>
            <c:numRef>
              <c:f>Sheet1!$C$2:$C$13</c:f>
              <c:numCache>
                <c:formatCode>General</c:formatCode>
                <c:ptCount val="12"/>
                <c:pt idx="0">
                  <c:v>27.865328240557965</c:v>
                </c:pt>
                <c:pt idx="1">
                  <c:v>13.403335146235221</c:v>
                </c:pt>
                <c:pt idx="2">
                  <c:v>22.314758607300391</c:v>
                </c:pt>
                <c:pt idx="3">
                  <c:v>15.286686226489023</c:v>
                </c:pt>
                <c:pt idx="4">
                  <c:v>20.568087974154992</c:v>
                </c:pt>
                <c:pt idx="5">
                  <c:v>18.344027235480464</c:v>
                </c:pt>
                <c:pt idx="6">
                  <c:v>14.097366255315915</c:v>
                </c:pt>
                <c:pt idx="7">
                  <c:v>13.863332886518352</c:v>
                </c:pt>
                <c:pt idx="8">
                  <c:v>22.274837049327019</c:v>
                </c:pt>
                <c:pt idx="9">
                  <c:v>29.21094192512815</c:v>
                </c:pt>
                <c:pt idx="10">
                  <c:v>27.616817571559537</c:v>
                </c:pt>
                <c:pt idx="11">
                  <c:v>17.09124416648694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4</c:v>
                </c:pt>
                <c:pt idx="1">
                  <c:v>Av Price/Unit 21.28</c:v>
                </c:pt>
                <c:pt idx="2">
                  <c:v>Av Price/Unit 46.06</c:v>
                </c:pt>
                <c:pt idx="3">
                  <c:v>Av Price/Unit 29.27</c:v>
                </c:pt>
                <c:pt idx="4">
                  <c:v>Av Price/Unit 42.05</c:v>
                </c:pt>
                <c:pt idx="5">
                  <c:v>Av Price/Unit 37.16</c:v>
                </c:pt>
                <c:pt idx="6">
                  <c:v>Av Price/Unit 30.10</c:v>
                </c:pt>
                <c:pt idx="7">
                  <c:v>Av Price/Unit 29.12</c:v>
                </c:pt>
                <c:pt idx="8">
                  <c:v>Av Price/Unit 45.48</c:v>
                </c:pt>
                <c:pt idx="9">
                  <c:v>Av Price/Unit 60.25</c:v>
                </c:pt>
                <c:pt idx="10">
                  <c:v>Av Price/Unit 57.51</c:v>
                </c:pt>
                <c:pt idx="11">
                  <c:v>Av Price/Unit 37.36</c:v>
                </c:pt>
              </c:strCache>
            </c:strRef>
          </c:cat>
          <c:val>
            <c:numRef>
              <c:f>Sheet1!$D$2:$D$13</c:f>
              <c:numCache>
                <c:formatCode>General</c:formatCode>
                <c:ptCount val="12"/>
                <c:pt idx="0">
                  <c:v>-1.0128061683006564</c:v>
                </c:pt>
                <c:pt idx="1">
                  <c:v>0.72432187685818405</c:v>
                </c:pt>
                <c:pt idx="2">
                  <c:v>0.23010382721160738</c:v>
                </c:pt>
                <c:pt idx="3">
                  <c:v>-0.98256623749813343</c:v>
                </c:pt>
                <c:pt idx="4">
                  <c:v>-0.17256725711689569</c:v>
                </c:pt>
                <c:pt idx="5">
                  <c:v>-0.15780462231608539</c:v>
                </c:pt>
                <c:pt idx="6">
                  <c:v>-0.45816335497671901</c:v>
                </c:pt>
                <c:pt idx="7">
                  <c:v>-0.70510528146224871</c:v>
                </c:pt>
                <c:pt idx="8">
                  <c:v>0.54618233473770772</c:v>
                </c:pt>
                <c:pt idx="9">
                  <c:v>0.85613182312432201</c:v>
                </c:pt>
                <c:pt idx="10">
                  <c:v>0.78635649383723205</c:v>
                </c:pt>
                <c:pt idx="11">
                  <c:v>0.8110494368964644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4</c:v>
                </c:pt>
                <c:pt idx="1">
                  <c:v>Av Price/Unit 21.28</c:v>
                </c:pt>
                <c:pt idx="2">
                  <c:v>Av Price/Unit 46.06</c:v>
                </c:pt>
                <c:pt idx="3">
                  <c:v>Av Price/Unit 29.27</c:v>
                </c:pt>
                <c:pt idx="4">
                  <c:v>Av Price/Unit 42.05</c:v>
                </c:pt>
                <c:pt idx="5">
                  <c:v>Av Price/Unit 37.16</c:v>
                </c:pt>
                <c:pt idx="6">
                  <c:v>Av Price/Unit 30.10</c:v>
                </c:pt>
                <c:pt idx="7">
                  <c:v>Av Price/Unit 29.12</c:v>
                </c:pt>
                <c:pt idx="8">
                  <c:v>Av Price/Unit 45.48</c:v>
                </c:pt>
                <c:pt idx="9">
                  <c:v>Av Price/Unit 60.25</c:v>
                </c:pt>
                <c:pt idx="10">
                  <c:v>Av Price/Unit 57.51</c:v>
                </c:pt>
                <c:pt idx="11">
                  <c:v>Av Price/Unit 37.36</c:v>
                </c:pt>
              </c:strCache>
            </c:strRef>
          </c:cat>
          <c:val>
            <c:numRef>
              <c:f>Sheet1!$E$2:$E$13</c:f>
              <c:numCache>
                <c:formatCode>General</c:formatCode>
                <c:ptCount val="12"/>
                <c:pt idx="0">
                  <c:v>9.0072391652410282</c:v>
                </c:pt>
                <c:pt idx="1">
                  <c:v>3.5463968402129611</c:v>
                </c:pt>
                <c:pt idx="2">
                  <c:v>7.67697820159598</c:v>
                </c:pt>
                <c:pt idx="3">
                  <c:v>4.8776962979549134</c:v>
                </c:pt>
                <c:pt idx="4">
                  <c:v>7.0080069740524209</c:v>
                </c:pt>
                <c:pt idx="5">
                  <c:v>6.1941534670890546</c:v>
                </c:pt>
                <c:pt idx="6">
                  <c:v>5.016628062980967</c:v>
                </c:pt>
                <c:pt idx="7">
                  <c:v>4.8526836191233738</c:v>
                </c:pt>
                <c:pt idx="8">
                  <c:v>7.5802729204727637</c:v>
                </c:pt>
                <c:pt idx="9">
                  <c:v>10.041940661730441</c:v>
                </c:pt>
                <c:pt idx="10">
                  <c:v>9.584598146073132</c:v>
                </c:pt>
                <c:pt idx="11">
                  <c:v>6.227362039632899</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8</c:v>
                </c:pt>
                <c:pt idx="1">
                  <c:v>Av Price/Unit 21.32</c:v>
                </c:pt>
                <c:pt idx="2">
                  <c:v>Av Price/Unit 46.08</c:v>
                </c:pt>
                <c:pt idx="3">
                  <c:v>Av Price/Unit 29.32</c:v>
                </c:pt>
                <c:pt idx="4">
                  <c:v>Av Price/Unit 42.17</c:v>
                </c:pt>
                <c:pt idx="5">
                  <c:v>Av Price/Unit 37.17</c:v>
                </c:pt>
                <c:pt idx="6">
                  <c:v>Av Price/Unit 30.17</c:v>
                </c:pt>
                <c:pt idx="7">
                  <c:v>Av Price/Unit 29.15</c:v>
                </c:pt>
                <c:pt idx="8">
                  <c:v>Av Price/Unit 45.45</c:v>
                </c:pt>
                <c:pt idx="9">
                  <c:v>Av Price/Unit 37.36</c:v>
                </c:pt>
                <c:pt idx="10">
                  <c:v>Av Price/Unit 57.41</c:v>
                </c:pt>
                <c:pt idx="11">
                  <c:v>Av Price/Unit 51.02</c:v>
                </c:pt>
              </c:strCache>
            </c:strRef>
          </c:cat>
          <c:val>
            <c:numRef>
              <c:f>Sheet1!$B$2:$B$13</c:f>
              <c:numCache>
                <c:formatCode>General</c:formatCode>
                <c:ptCount val="12"/>
                <c:pt idx="0">
                  <c:v>18.186456707247693</c:v>
                </c:pt>
                <c:pt idx="1">
                  <c:v>3.6010738107850409</c:v>
                </c:pt>
                <c:pt idx="2">
                  <c:v>15.85064746720173</c:v>
                </c:pt>
                <c:pt idx="3">
                  <c:v>10.075775032754201</c:v>
                </c:pt>
                <c:pt idx="4">
                  <c:v>14.624497382836275</c:v>
                </c:pt>
                <c:pt idx="5">
                  <c:v>12.78107721127849</c:v>
                </c:pt>
                <c:pt idx="6">
                  <c:v>11.442031177143825</c:v>
                </c:pt>
                <c:pt idx="7">
                  <c:v>11.121067275510205</c:v>
                </c:pt>
                <c:pt idx="8">
                  <c:v>15.079836810620339</c:v>
                </c:pt>
                <c:pt idx="9">
                  <c:v>13.232947319737802</c:v>
                </c:pt>
                <c:pt idx="10">
                  <c:v>19.50209560896695</c:v>
                </c:pt>
                <c:pt idx="11">
                  <c:v>14.30026241472518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8</c:v>
                </c:pt>
                <c:pt idx="1">
                  <c:v>Av Price/Unit 21.32</c:v>
                </c:pt>
                <c:pt idx="2">
                  <c:v>Av Price/Unit 46.08</c:v>
                </c:pt>
                <c:pt idx="3">
                  <c:v>Av Price/Unit 29.32</c:v>
                </c:pt>
                <c:pt idx="4">
                  <c:v>Av Price/Unit 42.17</c:v>
                </c:pt>
                <c:pt idx="5">
                  <c:v>Av Price/Unit 37.17</c:v>
                </c:pt>
                <c:pt idx="6">
                  <c:v>Av Price/Unit 30.17</c:v>
                </c:pt>
                <c:pt idx="7">
                  <c:v>Av Price/Unit 29.15</c:v>
                </c:pt>
                <c:pt idx="8">
                  <c:v>Av Price/Unit 45.45</c:v>
                </c:pt>
                <c:pt idx="9">
                  <c:v>Av Price/Unit 37.36</c:v>
                </c:pt>
                <c:pt idx="10">
                  <c:v>Av Price/Unit 57.41</c:v>
                </c:pt>
                <c:pt idx="11">
                  <c:v>Av Price/Unit 51.02</c:v>
                </c:pt>
              </c:strCache>
            </c:strRef>
          </c:cat>
          <c:val>
            <c:numRef>
              <c:f>Sheet1!$C$2:$C$13</c:f>
              <c:numCache>
                <c:formatCode>General</c:formatCode>
                <c:ptCount val="12"/>
                <c:pt idx="0">
                  <c:v>27.856765855046081</c:v>
                </c:pt>
                <c:pt idx="1">
                  <c:v>13.408466698449693</c:v>
                </c:pt>
                <c:pt idx="2">
                  <c:v>22.31419552400062</c:v>
                </c:pt>
                <c:pt idx="3">
                  <c:v>15.296791187695813</c:v>
                </c:pt>
                <c:pt idx="4">
                  <c:v>20.56733361112412</c:v>
                </c:pt>
                <c:pt idx="5">
                  <c:v>18.345168366164543</c:v>
                </c:pt>
                <c:pt idx="6">
                  <c:v>14.095354486880591</c:v>
                </c:pt>
                <c:pt idx="7">
                  <c:v>13.883748367346939</c:v>
                </c:pt>
                <c:pt idx="8">
                  <c:v>22.268259755797757</c:v>
                </c:pt>
                <c:pt idx="9">
                  <c:v>17.090898266569557</c:v>
                </c:pt>
                <c:pt idx="10">
                  <c:v>27.612855488791315</c:v>
                </c:pt>
                <c:pt idx="11">
                  <c:v>28.10440167331703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8</c:v>
                </c:pt>
                <c:pt idx="1">
                  <c:v>Av Price/Unit 21.32</c:v>
                </c:pt>
                <c:pt idx="2">
                  <c:v>Av Price/Unit 46.08</c:v>
                </c:pt>
                <c:pt idx="3">
                  <c:v>Av Price/Unit 29.32</c:v>
                </c:pt>
                <c:pt idx="4">
                  <c:v>Av Price/Unit 42.17</c:v>
                </c:pt>
                <c:pt idx="5">
                  <c:v>Av Price/Unit 37.17</c:v>
                </c:pt>
                <c:pt idx="6">
                  <c:v>Av Price/Unit 30.17</c:v>
                </c:pt>
                <c:pt idx="7">
                  <c:v>Av Price/Unit 29.15</c:v>
                </c:pt>
                <c:pt idx="8">
                  <c:v>Av Price/Unit 45.45</c:v>
                </c:pt>
                <c:pt idx="9">
                  <c:v>Av Price/Unit 37.36</c:v>
                </c:pt>
                <c:pt idx="10">
                  <c:v>Av Price/Unit 57.41</c:v>
                </c:pt>
                <c:pt idx="11">
                  <c:v>Av Price/Unit 51.02</c:v>
                </c:pt>
              </c:strCache>
            </c:strRef>
          </c:cat>
          <c:val>
            <c:numRef>
              <c:f>Sheet1!$D$2:$D$13</c:f>
              <c:numCache>
                <c:formatCode>General</c:formatCode>
                <c:ptCount val="12"/>
                <c:pt idx="0">
                  <c:v>-1.0600568488388191</c:v>
                </c:pt>
                <c:pt idx="1">
                  <c:v>0.75855521653658897</c:v>
                </c:pt>
                <c:pt idx="2">
                  <c:v>0.23283735967484631</c:v>
                </c:pt>
                <c:pt idx="3">
                  <c:v>-0.94303522263362538</c:v>
                </c:pt>
                <c:pt idx="4">
                  <c:v>-4.6146895141781386E-2</c:v>
                </c:pt>
                <c:pt idx="5">
                  <c:v>-0.14949922893152845</c:v>
                </c:pt>
                <c:pt idx="6">
                  <c:v>-0.39926802029022213</c:v>
                </c:pt>
                <c:pt idx="7">
                  <c:v>-0.71348911224489697</c:v>
                </c:pt>
                <c:pt idx="8">
                  <c:v>0.52858676281788775</c:v>
                </c:pt>
                <c:pt idx="9">
                  <c:v>0.80780044428259501</c:v>
                </c:pt>
                <c:pt idx="10">
                  <c:v>0.72380095524228238</c:v>
                </c:pt>
                <c:pt idx="11">
                  <c:v>0.1087941262281688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8</c:v>
                </c:pt>
                <c:pt idx="1">
                  <c:v>Av Price/Unit 21.32</c:v>
                </c:pt>
                <c:pt idx="2">
                  <c:v>Av Price/Unit 46.08</c:v>
                </c:pt>
                <c:pt idx="3">
                  <c:v>Av Price/Unit 29.32</c:v>
                </c:pt>
                <c:pt idx="4">
                  <c:v>Av Price/Unit 42.17</c:v>
                </c:pt>
                <c:pt idx="5">
                  <c:v>Av Price/Unit 37.17</c:v>
                </c:pt>
                <c:pt idx="6">
                  <c:v>Av Price/Unit 30.17</c:v>
                </c:pt>
                <c:pt idx="7">
                  <c:v>Av Price/Unit 29.15</c:v>
                </c:pt>
                <c:pt idx="8">
                  <c:v>Av Price/Unit 45.45</c:v>
                </c:pt>
                <c:pt idx="9">
                  <c:v>Av Price/Unit 37.36</c:v>
                </c:pt>
                <c:pt idx="10">
                  <c:v>Av Price/Unit 57.41</c:v>
                </c:pt>
                <c:pt idx="11">
                  <c:v>Av Price/Unit 51.02</c:v>
                </c:pt>
              </c:strCache>
            </c:strRef>
          </c:cat>
          <c:val>
            <c:numRef>
              <c:f>Sheet1!$E$2:$E$13</c:f>
              <c:numCache>
                <c:formatCode>General</c:formatCode>
                <c:ptCount val="12"/>
                <c:pt idx="0">
                  <c:v>8.996627729105823</c:v>
                </c:pt>
                <c:pt idx="1">
                  <c:v>3.5536191451542654</c:v>
                </c:pt>
                <c:pt idx="2">
                  <c:v>7.6795287338581035</c:v>
                </c:pt>
                <c:pt idx="3">
                  <c:v>4.8859061995632791</c:v>
                </c:pt>
                <c:pt idx="4">
                  <c:v>7.0291368197637185</c:v>
                </c:pt>
                <c:pt idx="5">
                  <c:v>6.1953492697023034</c:v>
                </c:pt>
                <c:pt idx="6">
                  <c:v>5.0276235287468367</c:v>
                </c:pt>
                <c:pt idx="7">
                  <c:v>4.8582653061224459</c:v>
                </c:pt>
                <c:pt idx="8">
                  <c:v>7.5753366658471943</c:v>
                </c:pt>
                <c:pt idx="9">
                  <c:v>6.22632920611799</c:v>
                </c:pt>
                <c:pt idx="10">
                  <c:v>9.5677528695786123</c:v>
                </c:pt>
                <c:pt idx="11">
                  <c:v>8.502681597803231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31</c:v>
                </c:pt>
                <c:pt idx="1">
                  <c:v>Av Price/Unit 21.32</c:v>
                </c:pt>
                <c:pt idx="2">
                  <c:v>Av Price/Unit 46.49</c:v>
                </c:pt>
                <c:pt idx="3">
                  <c:v>Av Price/Unit 42.09</c:v>
                </c:pt>
                <c:pt idx="4">
                  <c:v>Av Price/Unit 29.18</c:v>
                </c:pt>
                <c:pt idx="5">
                  <c:v>Av Price/Unit 37.58</c:v>
                </c:pt>
                <c:pt idx="6">
                  <c:v>Av Price/Unit 60.23</c:v>
                </c:pt>
                <c:pt idx="7">
                  <c:v>Av Price/Unit 45.62</c:v>
                </c:pt>
                <c:pt idx="8">
                  <c:v>Av Price/Unit 57.76</c:v>
                </c:pt>
                <c:pt idx="9">
                  <c:v>Av Price/Unit 30.39</c:v>
                </c:pt>
                <c:pt idx="10">
                  <c:v>Av Price/Unit 29.64</c:v>
                </c:pt>
                <c:pt idx="11">
                  <c:v>Av Price/Unit 37.60</c:v>
                </c:pt>
              </c:strCache>
            </c:strRef>
          </c:cat>
          <c:val>
            <c:numRef>
              <c:f>Sheet1!$B$2:$B$13</c:f>
              <c:numCache>
                <c:formatCode>General</c:formatCode>
                <c:ptCount val="12"/>
                <c:pt idx="0">
                  <c:v>18.187625448464576</c:v>
                </c:pt>
                <c:pt idx="1">
                  <c:v>3.6033179087506508</c:v>
                </c:pt>
                <c:pt idx="2">
                  <c:v>15.855633987008209</c:v>
                </c:pt>
                <c:pt idx="3">
                  <c:v>14.605814867617109</c:v>
                </c:pt>
                <c:pt idx="4">
                  <c:v>10.064382428979409</c:v>
                </c:pt>
                <c:pt idx="5">
                  <c:v>12.771571633888049</c:v>
                </c:pt>
                <c:pt idx="6">
                  <c:v>20.137745951704542</c:v>
                </c:pt>
                <c:pt idx="7">
                  <c:v>15.07972</c:v>
                </c:pt>
                <c:pt idx="8">
                  <c:v>19.502033609385784</c:v>
                </c:pt>
                <c:pt idx="9">
                  <c:v>11.44124147376543</c:v>
                </c:pt>
                <c:pt idx="10">
                  <c:v>11.089011042944785</c:v>
                </c:pt>
                <c:pt idx="11">
                  <c:v>13.22888245134858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31</c:v>
                </c:pt>
                <c:pt idx="1">
                  <c:v>Av Price/Unit 21.32</c:v>
                </c:pt>
                <c:pt idx="2">
                  <c:v>Av Price/Unit 46.49</c:v>
                </c:pt>
                <c:pt idx="3">
                  <c:v>Av Price/Unit 42.09</c:v>
                </c:pt>
                <c:pt idx="4">
                  <c:v>Av Price/Unit 29.18</c:v>
                </c:pt>
                <c:pt idx="5">
                  <c:v>Av Price/Unit 37.58</c:v>
                </c:pt>
                <c:pt idx="6">
                  <c:v>Av Price/Unit 60.23</c:v>
                </c:pt>
                <c:pt idx="7">
                  <c:v>Av Price/Unit 45.62</c:v>
                </c:pt>
                <c:pt idx="8">
                  <c:v>Av Price/Unit 57.76</c:v>
                </c:pt>
                <c:pt idx="9">
                  <c:v>Av Price/Unit 30.39</c:v>
                </c:pt>
                <c:pt idx="10">
                  <c:v>Av Price/Unit 29.64</c:v>
                </c:pt>
                <c:pt idx="11">
                  <c:v>Av Price/Unit 37.60</c:v>
                </c:pt>
              </c:strCache>
            </c:strRef>
          </c:cat>
          <c:val>
            <c:numRef>
              <c:f>Sheet1!$C$2:$C$13</c:f>
              <c:numCache>
                <c:formatCode>General</c:formatCode>
                <c:ptCount val="12"/>
                <c:pt idx="0">
                  <c:v>27.853135512313774</c:v>
                </c:pt>
                <c:pt idx="1">
                  <c:v>13.404927071587625</c:v>
                </c:pt>
                <c:pt idx="2">
                  <c:v>22.313930236548597</c:v>
                </c:pt>
                <c:pt idx="3">
                  <c:v>20.566629531568232</c:v>
                </c:pt>
                <c:pt idx="4">
                  <c:v>15.310198542011122</c:v>
                </c:pt>
                <c:pt idx="5">
                  <c:v>18.348296577155818</c:v>
                </c:pt>
                <c:pt idx="6">
                  <c:v>29.209659694602273</c:v>
                </c:pt>
                <c:pt idx="7">
                  <c:v>22.266748571428572</c:v>
                </c:pt>
                <c:pt idx="8">
                  <c:v>27.612841614906831</c:v>
                </c:pt>
                <c:pt idx="9">
                  <c:v>14.094521064814815</c:v>
                </c:pt>
                <c:pt idx="10">
                  <c:v>13.842528220858897</c:v>
                </c:pt>
                <c:pt idx="11">
                  <c:v>17.09000228747012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31</c:v>
                </c:pt>
                <c:pt idx="1">
                  <c:v>Av Price/Unit 21.32</c:v>
                </c:pt>
                <c:pt idx="2">
                  <c:v>Av Price/Unit 46.49</c:v>
                </c:pt>
                <c:pt idx="3">
                  <c:v>Av Price/Unit 42.09</c:v>
                </c:pt>
                <c:pt idx="4">
                  <c:v>Av Price/Unit 29.18</c:v>
                </c:pt>
                <c:pt idx="5">
                  <c:v>Av Price/Unit 37.58</c:v>
                </c:pt>
                <c:pt idx="6">
                  <c:v>Av Price/Unit 60.23</c:v>
                </c:pt>
                <c:pt idx="7">
                  <c:v>Av Price/Unit 45.62</c:v>
                </c:pt>
                <c:pt idx="8">
                  <c:v>Av Price/Unit 57.76</c:v>
                </c:pt>
                <c:pt idx="9">
                  <c:v>Av Price/Unit 30.39</c:v>
                </c:pt>
                <c:pt idx="10">
                  <c:v>Av Price/Unit 29.64</c:v>
                </c:pt>
                <c:pt idx="11">
                  <c:v>Av Price/Unit 37.60</c:v>
                </c:pt>
              </c:strCache>
            </c:strRef>
          </c:cat>
          <c:val>
            <c:numRef>
              <c:f>Sheet1!$D$2:$D$13</c:f>
              <c:numCache>
                <c:formatCode>General</c:formatCode>
                <c:ptCount val="12"/>
                <c:pt idx="0">
                  <c:v>-0.78546351981352558</c:v>
                </c:pt>
                <c:pt idx="1">
                  <c:v>0.76239982944047213</c:v>
                </c:pt>
                <c:pt idx="2">
                  <c:v>0.57623466928136935</c:v>
                </c:pt>
                <c:pt idx="3">
                  <c:v>-9.4736126466877124E-2</c:v>
                </c:pt>
                <c:pt idx="4">
                  <c:v>-1.0563536048900275</c:v>
                </c:pt>
                <c:pt idx="5">
                  <c:v>0.1960042044881547</c:v>
                </c:pt>
                <c:pt idx="6">
                  <c:v>0.84613128551136185</c:v>
                </c:pt>
                <c:pt idx="7">
                  <c:v>0.67329782569631647</c:v>
                </c:pt>
                <c:pt idx="8">
                  <c:v>1.0145695882217609</c:v>
                </c:pt>
                <c:pt idx="9">
                  <c:v>-0.2073481867283995</c:v>
                </c:pt>
                <c:pt idx="10">
                  <c:v>-0.2313347648261761</c:v>
                </c:pt>
                <c:pt idx="11">
                  <c:v>1.015757346079439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31</c:v>
                </c:pt>
                <c:pt idx="1">
                  <c:v>Av Price/Unit 21.32</c:v>
                </c:pt>
                <c:pt idx="2">
                  <c:v>Av Price/Unit 46.49</c:v>
                </c:pt>
                <c:pt idx="3">
                  <c:v>Av Price/Unit 42.09</c:v>
                </c:pt>
                <c:pt idx="4">
                  <c:v>Av Price/Unit 29.18</c:v>
                </c:pt>
                <c:pt idx="5">
                  <c:v>Av Price/Unit 37.58</c:v>
                </c:pt>
                <c:pt idx="6">
                  <c:v>Av Price/Unit 60.23</c:v>
                </c:pt>
                <c:pt idx="7">
                  <c:v>Av Price/Unit 45.62</c:v>
                </c:pt>
                <c:pt idx="8">
                  <c:v>Av Price/Unit 57.76</c:v>
                </c:pt>
                <c:pt idx="9">
                  <c:v>Av Price/Unit 30.39</c:v>
                </c:pt>
                <c:pt idx="10">
                  <c:v>Av Price/Unit 29.64</c:v>
                </c:pt>
                <c:pt idx="11">
                  <c:v>Av Price/Unit 37.60</c:v>
                </c:pt>
              </c:strCache>
            </c:strRef>
          </c:cat>
          <c:val>
            <c:numRef>
              <c:f>Sheet1!$E$2:$E$13</c:f>
              <c:numCache>
                <c:formatCode>General</c:formatCode>
                <c:ptCount val="12"/>
                <c:pt idx="0">
                  <c:v>9.0510540184453205</c:v>
                </c:pt>
                <c:pt idx="1">
                  <c:v>3.5541289619557466</c:v>
                </c:pt>
                <c:pt idx="2">
                  <c:v>7.7491522653919986</c:v>
                </c:pt>
                <c:pt idx="3">
                  <c:v>7.0155416545436884</c:v>
                </c:pt>
                <c:pt idx="4">
                  <c:v>4.8636454732201031</c:v>
                </c:pt>
                <c:pt idx="5">
                  <c:v>6.2631744831063969</c:v>
                </c:pt>
                <c:pt idx="6">
                  <c:v>10.038707386363637</c:v>
                </c:pt>
                <c:pt idx="7">
                  <c:v>7.6039532794249753</c:v>
                </c:pt>
                <c:pt idx="8">
                  <c:v>9.6258914193696832</c:v>
                </c:pt>
                <c:pt idx="9">
                  <c:v>5.0656828703703702</c:v>
                </c:pt>
                <c:pt idx="10">
                  <c:v>4.9400408997954983</c:v>
                </c:pt>
                <c:pt idx="11">
                  <c:v>6.266928416979627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26</c:v>
                </c:pt>
                <c:pt idx="1">
                  <c:v>Av Price/Unit 46.07</c:v>
                </c:pt>
                <c:pt idx="2">
                  <c:v>Av Price/Unit 21.33</c:v>
                </c:pt>
                <c:pt idx="3">
                  <c:v>Av Price/Unit 41.92</c:v>
                </c:pt>
                <c:pt idx="4">
                  <c:v>Av Price/Unit 29.46</c:v>
                </c:pt>
                <c:pt idx="5">
                  <c:v>Av Price/Unit 37.26</c:v>
                </c:pt>
                <c:pt idx="6">
                  <c:v>Av Price/Unit 57.52</c:v>
                </c:pt>
                <c:pt idx="7">
                  <c:v>Av Price/Unit 60.46</c:v>
                </c:pt>
                <c:pt idx="8">
                  <c:v>Av Price/Unit 45.47</c:v>
                </c:pt>
                <c:pt idx="9">
                  <c:v>Av Price/Unit 37.49</c:v>
                </c:pt>
                <c:pt idx="10">
                  <c:v>Av Price/Unit 136.80</c:v>
                </c:pt>
                <c:pt idx="11">
                  <c:v>Av Price/Unit 53.98</c:v>
                </c:pt>
              </c:strCache>
            </c:strRef>
          </c:cat>
          <c:val>
            <c:numRef>
              <c:f>Sheet1!$B$2:$B$13</c:f>
              <c:numCache>
                <c:formatCode>General</c:formatCode>
                <c:ptCount val="12"/>
                <c:pt idx="0">
                  <c:v>18.185763407214257</c:v>
                </c:pt>
                <c:pt idx="1">
                  <c:v>15.853434293948126</c:v>
                </c:pt>
                <c:pt idx="2">
                  <c:v>3.5979885625965999</c:v>
                </c:pt>
                <c:pt idx="3">
                  <c:v>14.506429684975767</c:v>
                </c:pt>
                <c:pt idx="4">
                  <c:v>10.093124851419766</c:v>
                </c:pt>
                <c:pt idx="5">
                  <c:v>12.770112376779847</c:v>
                </c:pt>
                <c:pt idx="6">
                  <c:v>19.508916358839052</c:v>
                </c:pt>
                <c:pt idx="7">
                  <c:v>20.155097404129798</c:v>
                </c:pt>
                <c:pt idx="8">
                  <c:v>15.079203514376996</c:v>
                </c:pt>
                <c:pt idx="9">
                  <c:v>13.219278424015009</c:v>
                </c:pt>
                <c:pt idx="10">
                  <c:v>47.660598272552782</c:v>
                </c:pt>
                <c:pt idx="11">
                  <c:v>18.71471816782139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26</c:v>
                </c:pt>
                <c:pt idx="1">
                  <c:v>Av Price/Unit 46.07</c:v>
                </c:pt>
                <c:pt idx="2">
                  <c:v>Av Price/Unit 21.33</c:v>
                </c:pt>
                <c:pt idx="3">
                  <c:v>Av Price/Unit 41.92</c:v>
                </c:pt>
                <c:pt idx="4">
                  <c:v>Av Price/Unit 29.46</c:v>
                </c:pt>
                <c:pt idx="5">
                  <c:v>Av Price/Unit 37.26</c:v>
                </c:pt>
                <c:pt idx="6">
                  <c:v>Av Price/Unit 57.52</c:v>
                </c:pt>
                <c:pt idx="7">
                  <c:v>Av Price/Unit 60.46</c:v>
                </c:pt>
                <c:pt idx="8">
                  <c:v>Av Price/Unit 45.47</c:v>
                </c:pt>
                <c:pt idx="9">
                  <c:v>Av Price/Unit 37.49</c:v>
                </c:pt>
                <c:pt idx="10">
                  <c:v>Av Price/Unit 136.80</c:v>
                </c:pt>
                <c:pt idx="11">
                  <c:v>Av Price/Unit 53.98</c:v>
                </c:pt>
              </c:strCache>
            </c:strRef>
          </c:cat>
          <c:val>
            <c:numRef>
              <c:f>Sheet1!$C$2:$C$13</c:f>
              <c:numCache>
                <c:formatCode>General</c:formatCode>
                <c:ptCount val="12"/>
                <c:pt idx="0">
                  <c:v>27.858919382877012</c:v>
                </c:pt>
                <c:pt idx="1">
                  <c:v>22.31404726224784</c:v>
                </c:pt>
                <c:pt idx="2">
                  <c:v>13.413333075734156</c:v>
                </c:pt>
                <c:pt idx="3">
                  <c:v>20.562884046849756</c:v>
                </c:pt>
                <c:pt idx="4">
                  <c:v>15.276373101474794</c:v>
                </c:pt>
                <c:pt idx="5">
                  <c:v>18.348776807228916</c:v>
                </c:pt>
                <c:pt idx="6">
                  <c:v>27.61438179419525</c:v>
                </c:pt>
                <c:pt idx="7">
                  <c:v>29.214215457227137</c:v>
                </c:pt>
                <c:pt idx="8">
                  <c:v>22.260066773162936</c:v>
                </c:pt>
                <c:pt idx="9">
                  <c:v>17.087885365853658</c:v>
                </c:pt>
                <c:pt idx="10">
                  <c:v>63.991680422264878</c:v>
                </c:pt>
                <c:pt idx="11">
                  <c:v>25.83144988452655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26</c:v>
                </c:pt>
                <c:pt idx="1">
                  <c:v>Av Price/Unit 46.07</c:v>
                </c:pt>
                <c:pt idx="2">
                  <c:v>Av Price/Unit 21.33</c:v>
                </c:pt>
                <c:pt idx="3">
                  <c:v>Av Price/Unit 41.92</c:v>
                </c:pt>
                <c:pt idx="4">
                  <c:v>Av Price/Unit 29.46</c:v>
                </c:pt>
                <c:pt idx="5">
                  <c:v>Av Price/Unit 37.26</c:v>
                </c:pt>
                <c:pt idx="6">
                  <c:v>Av Price/Unit 57.52</c:v>
                </c:pt>
                <c:pt idx="7">
                  <c:v>Av Price/Unit 60.46</c:v>
                </c:pt>
                <c:pt idx="8">
                  <c:v>Av Price/Unit 45.47</c:v>
                </c:pt>
                <c:pt idx="9">
                  <c:v>Av Price/Unit 37.49</c:v>
                </c:pt>
                <c:pt idx="10">
                  <c:v>Av Price/Unit 136.80</c:v>
                </c:pt>
                <c:pt idx="11">
                  <c:v>Av Price/Unit 53.98</c:v>
                </c:pt>
              </c:strCache>
            </c:strRef>
          </c:cat>
          <c:val>
            <c:numRef>
              <c:f>Sheet1!$D$2:$D$13</c:f>
              <c:numCache>
                <c:formatCode>General</c:formatCode>
                <c:ptCount val="12"/>
                <c:pt idx="0">
                  <c:v>-0.8273590612777042</c:v>
                </c:pt>
                <c:pt idx="1">
                  <c:v>0.22752840217739134</c:v>
                </c:pt>
                <c:pt idx="2">
                  <c:v>0.76531125422176771</c:v>
                </c:pt>
                <c:pt idx="3">
                  <c:v>-0.13629003769520409</c:v>
                </c:pt>
                <c:pt idx="4">
                  <c:v>-0.82239251595861518</c:v>
                </c:pt>
                <c:pt idx="5">
                  <c:v>-7.1746066082500448E-2</c:v>
                </c:pt>
                <c:pt idx="6">
                  <c:v>0.8120445910290286</c:v>
                </c:pt>
                <c:pt idx="7">
                  <c:v>1.0151512487708985</c:v>
                </c:pt>
                <c:pt idx="8">
                  <c:v>0.55628729651604658</c:v>
                </c:pt>
                <c:pt idx="9">
                  <c:v>0.93345534709193245</c:v>
                </c:pt>
                <c:pt idx="10">
                  <c:v>2.3448422264875006</c:v>
                </c:pt>
                <c:pt idx="11">
                  <c:v>0.4364932255581308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26</c:v>
                </c:pt>
                <c:pt idx="1">
                  <c:v>Av Price/Unit 46.07</c:v>
                </c:pt>
                <c:pt idx="2">
                  <c:v>Av Price/Unit 21.33</c:v>
                </c:pt>
                <c:pt idx="3">
                  <c:v>Av Price/Unit 41.92</c:v>
                </c:pt>
                <c:pt idx="4">
                  <c:v>Av Price/Unit 29.46</c:v>
                </c:pt>
                <c:pt idx="5">
                  <c:v>Av Price/Unit 37.26</c:v>
                </c:pt>
                <c:pt idx="6">
                  <c:v>Av Price/Unit 57.52</c:v>
                </c:pt>
                <c:pt idx="7">
                  <c:v>Av Price/Unit 60.46</c:v>
                </c:pt>
                <c:pt idx="8">
                  <c:v>Av Price/Unit 45.47</c:v>
                </c:pt>
                <c:pt idx="9">
                  <c:v>Av Price/Unit 37.49</c:v>
                </c:pt>
                <c:pt idx="10">
                  <c:v>Av Price/Unit 136.80</c:v>
                </c:pt>
                <c:pt idx="11">
                  <c:v>Av Price/Unit 53.98</c:v>
                </c:pt>
              </c:strCache>
            </c:strRef>
          </c:cat>
          <c:val>
            <c:numRef>
              <c:f>Sheet1!$E$2:$E$13</c:f>
              <c:numCache>
                <c:formatCode>General</c:formatCode>
                <c:ptCount val="12"/>
                <c:pt idx="0">
                  <c:v>9.0434593654932645</c:v>
                </c:pt>
                <c:pt idx="1">
                  <c:v>7.6789945565161704</c:v>
                </c:pt>
                <c:pt idx="2">
                  <c:v>3.5553265785105026</c:v>
                </c:pt>
                <c:pt idx="3">
                  <c:v>6.9866047388260615</c:v>
                </c:pt>
                <c:pt idx="4">
                  <c:v>4.9094210873871891</c:v>
                </c:pt>
                <c:pt idx="5">
                  <c:v>6.2094286235852447</c:v>
                </c:pt>
                <c:pt idx="6">
                  <c:v>9.5870712401055407</c:v>
                </c:pt>
                <c:pt idx="7">
                  <c:v>10.076892822025563</c:v>
                </c:pt>
                <c:pt idx="8">
                  <c:v>7.5791115168111949</c:v>
                </c:pt>
                <c:pt idx="9">
                  <c:v>6.2481238273921198</c:v>
                </c:pt>
                <c:pt idx="10">
                  <c:v>22.799424184261049</c:v>
                </c:pt>
                <c:pt idx="11">
                  <c:v>8.996535796766737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8</c:v>
                </c:pt>
                <c:pt idx="1">
                  <c:v>Av Price/Unit 21.25</c:v>
                </c:pt>
                <c:pt idx="2">
                  <c:v>Av Price/Unit 45.96</c:v>
                </c:pt>
                <c:pt idx="3">
                  <c:v>Av Price/Unit 59.90</c:v>
                </c:pt>
                <c:pt idx="4">
                  <c:v>Av Price/Unit 29.22</c:v>
                </c:pt>
                <c:pt idx="5">
                  <c:v>Av Price/Unit 29.84</c:v>
                </c:pt>
                <c:pt idx="6">
                  <c:v>Av Price/Unit 41.77</c:v>
                </c:pt>
                <c:pt idx="7">
                  <c:v>Av Price/Unit 29.52</c:v>
                </c:pt>
                <c:pt idx="8">
                  <c:v>Av Price/Unit 45.42</c:v>
                </c:pt>
                <c:pt idx="9">
                  <c:v>Av Price/Unit 136.72</c:v>
                </c:pt>
                <c:pt idx="10">
                  <c:v>Av Price/Unit 37.35</c:v>
                </c:pt>
                <c:pt idx="11">
                  <c:v>Av Price/Unit 57.41</c:v>
                </c:pt>
              </c:strCache>
            </c:strRef>
          </c:cat>
          <c:val>
            <c:numRef>
              <c:f>Sheet1!$B$2:$B$13</c:f>
              <c:numCache>
                <c:formatCode>General</c:formatCode>
                <c:ptCount val="12"/>
                <c:pt idx="0">
                  <c:v>18.173055143522113</c:v>
                </c:pt>
                <c:pt idx="1">
                  <c:v>3.6134988670970882</c:v>
                </c:pt>
                <c:pt idx="2">
                  <c:v>15.806317351298063</c:v>
                </c:pt>
                <c:pt idx="3">
                  <c:v>20.131353289473683</c:v>
                </c:pt>
                <c:pt idx="4">
                  <c:v>10.12196360770578</c:v>
                </c:pt>
                <c:pt idx="5">
                  <c:v>11.450670696557244</c:v>
                </c:pt>
                <c:pt idx="6">
                  <c:v>14.943870006863419</c:v>
                </c:pt>
                <c:pt idx="7">
                  <c:v>11.009849308983219</c:v>
                </c:pt>
                <c:pt idx="8">
                  <c:v>15.084260590015131</c:v>
                </c:pt>
                <c:pt idx="9">
                  <c:v>47.675962628865967</c:v>
                </c:pt>
                <c:pt idx="10">
                  <c:v>12.806722865853658</c:v>
                </c:pt>
                <c:pt idx="11">
                  <c:v>19.5177379269729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8</c:v>
                </c:pt>
                <c:pt idx="1">
                  <c:v>Av Price/Unit 21.25</c:v>
                </c:pt>
                <c:pt idx="2">
                  <c:v>Av Price/Unit 45.96</c:v>
                </c:pt>
                <c:pt idx="3">
                  <c:v>Av Price/Unit 59.90</c:v>
                </c:pt>
                <c:pt idx="4">
                  <c:v>Av Price/Unit 29.22</c:v>
                </c:pt>
                <c:pt idx="5">
                  <c:v>Av Price/Unit 29.84</c:v>
                </c:pt>
                <c:pt idx="6">
                  <c:v>Av Price/Unit 41.77</c:v>
                </c:pt>
                <c:pt idx="7">
                  <c:v>Av Price/Unit 29.52</c:v>
                </c:pt>
                <c:pt idx="8">
                  <c:v>Av Price/Unit 45.42</c:v>
                </c:pt>
                <c:pt idx="9">
                  <c:v>Av Price/Unit 136.72</c:v>
                </c:pt>
                <c:pt idx="10">
                  <c:v>Av Price/Unit 37.35</c:v>
                </c:pt>
                <c:pt idx="11">
                  <c:v>Av Price/Unit 57.41</c:v>
                </c:pt>
              </c:strCache>
            </c:strRef>
          </c:cat>
          <c:val>
            <c:numRef>
              <c:f>Sheet1!$C$2:$C$13</c:f>
              <c:numCache>
                <c:formatCode>General</c:formatCode>
                <c:ptCount val="12"/>
                <c:pt idx="0">
                  <c:v>27.898393778122578</c:v>
                </c:pt>
                <c:pt idx="1">
                  <c:v>13.388868595444023</c:v>
                </c:pt>
                <c:pt idx="2">
                  <c:v>22.316553927045678</c:v>
                </c:pt>
                <c:pt idx="3">
                  <c:v>29.20798125</c:v>
                </c:pt>
                <c:pt idx="4">
                  <c:v>15.242434290718037</c:v>
                </c:pt>
                <c:pt idx="5">
                  <c:v>14.104472297838271</c:v>
                </c:pt>
                <c:pt idx="6">
                  <c:v>20.579369663692521</c:v>
                </c:pt>
                <c:pt idx="7">
                  <c:v>13.740736525172755</c:v>
                </c:pt>
                <c:pt idx="8">
                  <c:v>22.325490393343422</c:v>
                </c:pt>
                <c:pt idx="9">
                  <c:v>63.988075257731957</c:v>
                </c:pt>
                <c:pt idx="10">
                  <c:v>18.336728582317072</c:v>
                </c:pt>
                <c:pt idx="11">
                  <c:v>27.61635583038868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8</c:v>
                </c:pt>
                <c:pt idx="1">
                  <c:v>Av Price/Unit 21.25</c:v>
                </c:pt>
                <c:pt idx="2">
                  <c:v>Av Price/Unit 45.96</c:v>
                </c:pt>
                <c:pt idx="3">
                  <c:v>Av Price/Unit 59.90</c:v>
                </c:pt>
                <c:pt idx="4">
                  <c:v>Av Price/Unit 29.22</c:v>
                </c:pt>
                <c:pt idx="5">
                  <c:v>Av Price/Unit 29.84</c:v>
                </c:pt>
                <c:pt idx="6">
                  <c:v>Av Price/Unit 41.77</c:v>
                </c:pt>
                <c:pt idx="7">
                  <c:v>Av Price/Unit 29.52</c:v>
                </c:pt>
                <c:pt idx="8">
                  <c:v>Av Price/Unit 45.42</c:v>
                </c:pt>
                <c:pt idx="9">
                  <c:v>Av Price/Unit 136.72</c:v>
                </c:pt>
                <c:pt idx="10">
                  <c:v>Av Price/Unit 37.35</c:v>
                </c:pt>
                <c:pt idx="11">
                  <c:v>Av Price/Unit 57.41</c:v>
                </c:pt>
              </c:strCache>
            </c:strRef>
          </c:cat>
          <c:val>
            <c:numRef>
              <c:f>Sheet1!$D$2:$D$13</c:f>
              <c:numCache>
                <c:formatCode>General</c:formatCode>
                <c:ptCount val="12"/>
                <c:pt idx="0">
                  <c:v>-1.0881046702870449</c:v>
                </c:pt>
                <c:pt idx="1">
                  <c:v>0.70756472570755236</c:v>
                </c:pt>
                <c:pt idx="2">
                  <c:v>0.17735471574103912</c:v>
                </c:pt>
                <c:pt idx="3">
                  <c:v>0.57607899436091259</c:v>
                </c:pt>
                <c:pt idx="4">
                  <c:v>-1.0126757734967811</c:v>
                </c:pt>
                <c:pt idx="5">
                  <c:v>-0.69158548171870748</c:v>
                </c:pt>
                <c:pt idx="6">
                  <c:v>-0.71484342255777023</c:v>
                </c:pt>
                <c:pt idx="7">
                  <c:v>-0.15203367884171826</c:v>
                </c:pt>
                <c:pt idx="8">
                  <c:v>0.44261916288452596</c:v>
                </c:pt>
                <c:pt idx="9">
                  <c:v>2.2706700171821552</c:v>
                </c:pt>
                <c:pt idx="10">
                  <c:v>-1.794331808942573E-2</c:v>
                </c:pt>
                <c:pt idx="11">
                  <c:v>0.7045249705535923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8</c:v>
                </c:pt>
                <c:pt idx="1">
                  <c:v>Av Price/Unit 21.25</c:v>
                </c:pt>
                <c:pt idx="2">
                  <c:v>Av Price/Unit 45.96</c:v>
                </c:pt>
                <c:pt idx="3">
                  <c:v>Av Price/Unit 59.90</c:v>
                </c:pt>
                <c:pt idx="4">
                  <c:v>Av Price/Unit 29.22</c:v>
                </c:pt>
                <c:pt idx="5">
                  <c:v>Av Price/Unit 29.84</c:v>
                </c:pt>
                <c:pt idx="6">
                  <c:v>Av Price/Unit 41.77</c:v>
                </c:pt>
                <c:pt idx="7">
                  <c:v>Av Price/Unit 29.52</c:v>
                </c:pt>
                <c:pt idx="8">
                  <c:v>Av Price/Unit 45.42</c:v>
                </c:pt>
                <c:pt idx="9">
                  <c:v>Av Price/Unit 136.72</c:v>
                </c:pt>
                <c:pt idx="10">
                  <c:v>Av Price/Unit 37.35</c:v>
                </c:pt>
                <c:pt idx="11">
                  <c:v>Av Price/Unit 57.41</c:v>
                </c:pt>
              </c:strCache>
            </c:strRef>
          </c:cat>
          <c:val>
            <c:numRef>
              <c:f>Sheet1!$E$2:$E$13</c:f>
              <c:numCache>
                <c:formatCode>General</c:formatCode>
                <c:ptCount val="12"/>
                <c:pt idx="0">
                  <c:v>8.9966640806827005</c:v>
                </c:pt>
                <c:pt idx="1">
                  <c:v>3.5419864376497365</c:v>
                </c:pt>
                <c:pt idx="2">
                  <c:v>7.6600394347683212</c:v>
                </c:pt>
                <c:pt idx="3">
                  <c:v>9.9830827067669166</c:v>
                </c:pt>
                <c:pt idx="4">
                  <c:v>4.8703444249853991</c:v>
                </c:pt>
                <c:pt idx="5">
                  <c:v>4.9727115025353594</c:v>
                </c:pt>
                <c:pt idx="6">
                  <c:v>6.9616792495996327</c:v>
                </c:pt>
                <c:pt idx="7">
                  <c:v>4.919710431062847</c:v>
                </c:pt>
                <c:pt idx="8">
                  <c:v>7.5704740292486115</c:v>
                </c:pt>
                <c:pt idx="9">
                  <c:v>22.786941580756022</c:v>
                </c:pt>
                <c:pt idx="10">
                  <c:v>6.2251016260162562</c:v>
                </c:pt>
                <c:pt idx="11">
                  <c:v>9.567726737338045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2</c:v>
                </c:pt>
                <c:pt idx="2">
                  <c:v>Av Price/Unit 46.07</c:v>
                </c:pt>
                <c:pt idx="3">
                  <c:v>Av Price/Unit 42.06</c:v>
                </c:pt>
                <c:pt idx="4">
                  <c:v>Av Price/Unit 29.28</c:v>
                </c:pt>
                <c:pt idx="5">
                  <c:v>Av Price/Unit 37.08</c:v>
                </c:pt>
                <c:pt idx="6">
                  <c:v>Av Price/Unit 30.11</c:v>
                </c:pt>
                <c:pt idx="7">
                  <c:v>Av Price/Unit 29.03</c:v>
                </c:pt>
                <c:pt idx="8">
                  <c:v>Av Price/Unit 45.41</c:v>
                </c:pt>
                <c:pt idx="9">
                  <c:v>Av Price/Unit 57.42</c:v>
                </c:pt>
                <c:pt idx="10">
                  <c:v>Av Price/Unit 60.29</c:v>
                </c:pt>
                <c:pt idx="11">
                  <c:v>Av Price/Unit 37.34</c:v>
                </c:pt>
              </c:strCache>
            </c:strRef>
          </c:cat>
          <c:val>
            <c:numRef>
              <c:f>Sheet1!$B$2:$B$13</c:f>
              <c:numCache>
                <c:formatCode>General</c:formatCode>
                <c:ptCount val="12"/>
                <c:pt idx="0">
                  <c:v>18.188374541617819</c:v>
                </c:pt>
                <c:pt idx="1">
                  <c:v>3.5993317570826271</c:v>
                </c:pt>
                <c:pt idx="2">
                  <c:v>15.851500164728099</c:v>
                </c:pt>
                <c:pt idx="3">
                  <c:v>14.590902845376265</c:v>
                </c:pt>
                <c:pt idx="4">
                  <c:v>10.060380946364267</c:v>
                </c:pt>
                <c:pt idx="5">
                  <c:v>12.780227392838828</c:v>
                </c:pt>
                <c:pt idx="6">
                  <c:v>11.443117352563188</c:v>
                </c:pt>
                <c:pt idx="7">
                  <c:v>11.123511918604652</c:v>
                </c:pt>
                <c:pt idx="8">
                  <c:v>15.07966124277306</c:v>
                </c:pt>
                <c:pt idx="9">
                  <c:v>19.492893143109928</c:v>
                </c:pt>
                <c:pt idx="10">
                  <c:v>20.132106844660193</c:v>
                </c:pt>
                <c:pt idx="11">
                  <c:v>13.22870688142016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2</c:v>
                </c:pt>
                <c:pt idx="2">
                  <c:v>Av Price/Unit 46.07</c:v>
                </c:pt>
                <c:pt idx="3">
                  <c:v>Av Price/Unit 42.06</c:v>
                </c:pt>
                <c:pt idx="4">
                  <c:v>Av Price/Unit 29.28</c:v>
                </c:pt>
                <c:pt idx="5">
                  <c:v>Av Price/Unit 37.08</c:v>
                </c:pt>
                <c:pt idx="6">
                  <c:v>Av Price/Unit 30.11</c:v>
                </c:pt>
                <c:pt idx="7">
                  <c:v>Av Price/Unit 29.03</c:v>
                </c:pt>
                <c:pt idx="8">
                  <c:v>Av Price/Unit 45.41</c:v>
                </c:pt>
                <c:pt idx="9">
                  <c:v>Av Price/Unit 57.42</c:v>
                </c:pt>
                <c:pt idx="10">
                  <c:v>Av Price/Unit 60.29</c:v>
                </c:pt>
                <c:pt idx="11">
                  <c:v>Av Price/Unit 37.34</c:v>
                </c:pt>
              </c:strCache>
            </c:strRef>
          </c:cat>
          <c:val>
            <c:numRef>
              <c:f>Sheet1!$C$2:$C$13</c:f>
              <c:numCache>
                <c:formatCode>General</c:formatCode>
                <c:ptCount val="12"/>
                <c:pt idx="0">
                  <c:v>27.850808679953104</c:v>
                </c:pt>
                <c:pt idx="1">
                  <c:v>13.411214448403008</c:v>
                </c:pt>
                <c:pt idx="2">
                  <c:v>22.314150159705903</c:v>
                </c:pt>
                <c:pt idx="3">
                  <c:v>20.566067548886902</c:v>
                </c:pt>
                <c:pt idx="4">
                  <c:v>15.31490767578495</c:v>
                </c:pt>
                <c:pt idx="5">
                  <c:v>18.345448034750081</c:v>
                </c:pt>
                <c:pt idx="6">
                  <c:v>14.096500793945452</c:v>
                </c:pt>
                <c:pt idx="7">
                  <c:v>13.886891860465118</c:v>
                </c:pt>
                <c:pt idx="8">
                  <c:v>22.265988426480547</c:v>
                </c:pt>
                <c:pt idx="9">
                  <c:v>27.610796217650961</c:v>
                </c:pt>
                <c:pt idx="10">
                  <c:v>29.208179101941749</c:v>
                </c:pt>
                <c:pt idx="11">
                  <c:v>17.08996358831155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2</c:v>
                </c:pt>
                <c:pt idx="2">
                  <c:v>Av Price/Unit 46.07</c:v>
                </c:pt>
                <c:pt idx="3">
                  <c:v>Av Price/Unit 42.06</c:v>
                </c:pt>
                <c:pt idx="4">
                  <c:v>Av Price/Unit 29.28</c:v>
                </c:pt>
                <c:pt idx="5">
                  <c:v>Av Price/Unit 37.08</c:v>
                </c:pt>
                <c:pt idx="6">
                  <c:v>Av Price/Unit 30.11</c:v>
                </c:pt>
                <c:pt idx="7">
                  <c:v>Av Price/Unit 29.03</c:v>
                </c:pt>
                <c:pt idx="8">
                  <c:v>Av Price/Unit 45.41</c:v>
                </c:pt>
                <c:pt idx="9">
                  <c:v>Av Price/Unit 57.42</c:v>
                </c:pt>
                <c:pt idx="10">
                  <c:v>Av Price/Unit 60.29</c:v>
                </c:pt>
                <c:pt idx="11">
                  <c:v>Av Price/Unit 37.34</c:v>
                </c:pt>
              </c:strCache>
            </c:strRef>
          </c:cat>
          <c:val>
            <c:numRef>
              <c:f>Sheet1!$D$2:$D$13</c:f>
              <c:numCache>
                <c:formatCode>General</c:formatCode>
                <c:ptCount val="12"/>
                <c:pt idx="0">
                  <c:v>-0.98456405549042358</c:v>
                </c:pt>
                <c:pt idx="1">
                  <c:v>0.75397298489350817</c:v>
                </c:pt>
                <c:pt idx="2">
                  <c:v>0.22778533116375144</c:v>
                </c:pt>
                <c:pt idx="3">
                  <c:v>-0.1061395328744652</c:v>
                </c:pt>
                <c:pt idx="4">
                  <c:v>-0.9781202743206947</c:v>
                </c:pt>
                <c:pt idx="5">
                  <c:v>-0.22582826360190111</c:v>
                </c:pt>
                <c:pt idx="6">
                  <c:v>-0.45070387167404391</c:v>
                </c:pt>
                <c:pt idx="7">
                  <c:v>-0.8161381367663374</c:v>
                </c:pt>
                <c:pt idx="8">
                  <c:v>0.49963741167074716</c:v>
                </c:pt>
                <c:pt idx="9">
                  <c:v>0.74762336503724214</c:v>
                </c:pt>
                <c:pt idx="10">
                  <c:v>0.90034242448759727</c:v>
                </c:pt>
                <c:pt idx="11">
                  <c:v>0.8011809314849891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2</c:v>
                </c:pt>
                <c:pt idx="2">
                  <c:v>Av Price/Unit 46.07</c:v>
                </c:pt>
                <c:pt idx="3">
                  <c:v>Av Price/Unit 42.06</c:v>
                </c:pt>
                <c:pt idx="4">
                  <c:v>Av Price/Unit 29.28</c:v>
                </c:pt>
                <c:pt idx="5">
                  <c:v>Av Price/Unit 37.08</c:v>
                </c:pt>
                <c:pt idx="6">
                  <c:v>Av Price/Unit 30.11</c:v>
                </c:pt>
                <c:pt idx="7">
                  <c:v>Av Price/Unit 29.03</c:v>
                </c:pt>
                <c:pt idx="8">
                  <c:v>Av Price/Unit 45.41</c:v>
                </c:pt>
                <c:pt idx="9">
                  <c:v>Av Price/Unit 57.42</c:v>
                </c:pt>
                <c:pt idx="10">
                  <c:v>Av Price/Unit 60.29</c:v>
                </c:pt>
                <c:pt idx="11">
                  <c:v>Av Price/Unit 37.34</c:v>
                </c:pt>
              </c:strCache>
            </c:strRef>
          </c:cat>
          <c:val>
            <c:numRef>
              <c:f>Sheet1!$E$2:$E$13</c:f>
              <c:numCache>
                <c:formatCode>General</c:formatCode>
                <c:ptCount val="12"/>
                <c:pt idx="0">
                  <c:v>9.0109183274716642</c:v>
                </c:pt>
                <c:pt idx="1">
                  <c:v>3.552903838075828</c:v>
                </c:pt>
                <c:pt idx="2">
                  <c:v>7.6786797645593481</c:v>
                </c:pt>
                <c:pt idx="3">
                  <c:v>7.0101661722777413</c:v>
                </c:pt>
                <c:pt idx="4">
                  <c:v>4.8794336695657021</c:v>
                </c:pt>
                <c:pt idx="5">
                  <c:v>6.1799694327974004</c:v>
                </c:pt>
                <c:pt idx="6">
                  <c:v>5.0177828549669181</c:v>
                </c:pt>
                <c:pt idx="7">
                  <c:v>4.8388531284606868</c:v>
                </c:pt>
                <c:pt idx="8">
                  <c:v>7.5690574161848669</c:v>
                </c:pt>
                <c:pt idx="9">
                  <c:v>9.5702646907026381</c:v>
                </c:pt>
                <c:pt idx="10">
                  <c:v>10.048125674217902</c:v>
                </c:pt>
                <c:pt idx="11">
                  <c:v>6.223970280243342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17</c:v>
                </c:pt>
                <c:pt idx="1">
                  <c:v>Av Price/Unit 21.21</c:v>
                </c:pt>
                <c:pt idx="2">
                  <c:v>Av Price/Unit 45.89</c:v>
                </c:pt>
                <c:pt idx="3">
                  <c:v>Av Price/Unit 29.33</c:v>
                </c:pt>
                <c:pt idx="4">
                  <c:v>Av Price/Unit 41.97</c:v>
                </c:pt>
                <c:pt idx="5">
                  <c:v>Av Price/Unit 59.86</c:v>
                </c:pt>
                <c:pt idx="6">
                  <c:v>Av Price/Unit 30.18</c:v>
                </c:pt>
                <c:pt idx="7">
                  <c:v>Av Price/Unit 37.38</c:v>
                </c:pt>
                <c:pt idx="8">
                  <c:v>Av Price/Unit 45.54</c:v>
                </c:pt>
                <c:pt idx="9">
                  <c:v>Av Price/Unit 57.78</c:v>
                </c:pt>
                <c:pt idx="10">
                  <c:v>Av Price/Unit 29.65</c:v>
                </c:pt>
                <c:pt idx="11">
                  <c:v>Av Price/Unit 136.23</c:v>
                </c:pt>
              </c:strCache>
            </c:strRef>
          </c:cat>
          <c:val>
            <c:numRef>
              <c:f>Sheet1!$B$2:$B$13</c:f>
              <c:numCache>
                <c:formatCode>General</c:formatCode>
                <c:ptCount val="12"/>
                <c:pt idx="0">
                  <c:v>18.173772398809042</c:v>
                </c:pt>
                <c:pt idx="1">
                  <c:v>3.6161074044990529</c:v>
                </c:pt>
                <c:pt idx="2">
                  <c:v>15.797059640928332</c:v>
                </c:pt>
                <c:pt idx="3">
                  <c:v>10.166313997036239</c:v>
                </c:pt>
                <c:pt idx="4">
                  <c:v>14.839611304347825</c:v>
                </c:pt>
                <c:pt idx="5">
                  <c:v>20.14546042848141</c:v>
                </c:pt>
                <c:pt idx="6">
                  <c:v>11.4451852336048</c:v>
                </c:pt>
                <c:pt idx="7">
                  <c:v>12.803870080695217</c:v>
                </c:pt>
                <c:pt idx="8">
                  <c:v>15.084338364282891</c:v>
                </c:pt>
                <c:pt idx="9">
                  <c:v>19.575234930139718</c:v>
                </c:pt>
                <c:pt idx="10">
                  <c:v>11.07962055993001</c:v>
                </c:pt>
                <c:pt idx="11">
                  <c:v>48.05465323450135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17</c:v>
                </c:pt>
                <c:pt idx="1">
                  <c:v>Av Price/Unit 21.21</c:v>
                </c:pt>
                <c:pt idx="2">
                  <c:v>Av Price/Unit 45.89</c:v>
                </c:pt>
                <c:pt idx="3">
                  <c:v>Av Price/Unit 29.33</c:v>
                </c:pt>
                <c:pt idx="4">
                  <c:v>Av Price/Unit 41.97</c:v>
                </c:pt>
                <c:pt idx="5">
                  <c:v>Av Price/Unit 59.86</c:v>
                </c:pt>
                <c:pt idx="6">
                  <c:v>Av Price/Unit 30.18</c:v>
                </c:pt>
                <c:pt idx="7">
                  <c:v>Av Price/Unit 37.38</c:v>
                </c:pt>
                <c:pt idx="8">
                  <c:v>Av Price/Unit 45.54</c:v>
                </c:pt>
                <c:pt idx="9">
                  <c:v>Av Price/Unit 57.78</c:v>
                </c:pt>
                <c:pt idx="10">
                  <c:v>Av Price/Unit 29.65</c:v>
                </c:pt>
                <c:pt idx="11">
                  <c:v>Av Price/Unit 136.23</c:v>
                </c:pt>
              </c:strCache>
            </c:strRef>
          </c:cat>
          <c:val>
            <c:numRef>
              <c:f>Sheet1!$C$2:$C$13</c:f>
              <c:numCache>
                <c:formatCode>General</c:formatCode>
                <c:ptCount val="12"/>
                <c:pt idx="0">
                  <c:v>27.896165840508573</c:v>
                </c:pt>
                <c:pt idx="1">
                  <c:v>13.384754136449722</c:v>
                </c:pt>
                <c:pt idx="2">
                  <c:v>22.317046445774341</c:v>
                </c:pt>
                <c:pt idx="3">
                  <c:v>15.19024065741614</c:v>
                </c:pt>
                <c:pt idx="4">
                  <c:v>20.575440512820514</c:v>
                </c:pt>
                <c:pt idx="5">
                  <c:v>29.211685192186522</c:v>
                </c:pt>
                <c:pt idx="6">
                  <c:v>14.098683154736392</c:v>
                </c:pt>
                <c:pt idx="7">
                  <c:v>18.337667411545624</c:v>
                </c:pt>
                <c:pt idx="8">
                  <c:v>22.326496562623468</c:v>
                </c:pt>
                <c:pt idx="9">
                  <c:v>27.629222155688623</c:v>
                </c:pt>
                <c:pt idx="10">
                  <c:v>13.830453280839894</c:v>
                </c:pt>
                <c:pt idx="11">
                  <c:v>63.89921752021562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17</c:v>
                </c:pt>
                <c:pt idx="1">
                  <c:v>Av Price/Unit 21.21</c:v>
                </c:pt>
                <c:pt idx="2">
                  <c:v>Av Price/Unit 45.89</c:v>
                </c:pt>
                <c:pt idx="3">
                  <c:v>Av Price/Unit 29.33</c:v>
                </c:pt>
                <c:pt idx="4">
                  <c:v>Av Price/Unit 41.97</c:v>
                </c:pt>
                <c:pt idx="5">
                  <c:v>Av Price/Unit 59.86</c:v>
                </c:pt>
                <c:pt idx="6">
                  <c:v>Av Price/Unit 30.18</c:v>
                </c:pt>
                <c:pt idx="7">
                  <c:v>Av Price/Unit 37.38</c:v>
                </c:pt>
                <c:pt idx="8">
                  <c:v>Av Price/Unit 45.54</c:v>
                </c:pt>
                <c:pt idx="9">
                  <c:v>Av Price/Unit 57.78</c:v>
                </c:pt>
                <c:pt idx="10">
                  <c:v>Av Price/Unit 29.65</c:v>
                </c:pt>
                <c:pt idx="11">
                  <c:v>Av Price/Unit 136.23</c:v>
                </c:pt>
              </c:strCache>
            </c:strRef>
          </c:cat>
          <c:val>
            <c:numRef>
              <c:f>Sheet1!$D$2:$D$13</c:f>
              <c:numCache>
                <c:formatCode>General</c:formatCode>
                <c:ptCount val="12"/>
                <c:pt idx="0">
                  <c:v>-0.92781770875244973</c:v>
                </c:pt>
                <c:pt idx="1">
                  <c:v>0.67605194235299138</c:v>
                </c:pt>
                <c:pt idx="2">
                  <c:v>0.12352630759500016</c:v>
                </c:pt>
                <c:pt idx="3">
                  <c:v>-0.9127089496609635</c:v>
                </c:pt>
                <c:pt idx="4">
                  <c:v>-0.43697675213675069</c:v>
                </c:pt>
                <c:pt idx="5">
                  <c:v>0.52654478050830988</c:v>
                </c:pt>
                <c:pt idx="6">
                  <c:v>-0.3915251964566373</c:v>
                </c:pt>
                <c:pt idx="7">
                  <c:v>5.0070970411724147E-3</c:v>
                </c:pt>
                <c:pt idx="8">
                  <c:v>0.53628742262610984</c:v>
                </c:pt>
                <c:pt idx="9">
                  <c:v>0.94297325349302241</c:v>
                </c:pt>
                <c:pt idx="10">
                  <c:v>-0.19975985224069248</c:v>
                </c:pt>
                <c:pt idx="11">
                  <c:v>1.573757277628018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17</c:v>
                </c:pt>
                <c:pt idx="1">
                  <c:v>Av Price/Unit 21.21</c:v>
                </c:pt>
                <c:pt idx="2">
                  <c:v>Av Price/Unit 45.89</c:v>
                </c:pt>
                <c:pt idx="3">
                  <c:v>Av Price/Unit 29.33</c:v>
                </c:pt>
                <c:pt idx="4">
                  <c:v>Av Price/Unit 41.97</c:v>
                </c:pt>
                <c:pt idx="5">
                  <c:v>Av Price/Unit 59.86</c:v>
                </c:pt>
                <c:pt idx="6">
                  <c:v>Av Price/Unit 30.18</c:v>
                </c:pt>
                <c:pt idx="7">
                  <c:v>Av Price/Unit 37.38</c:v>
                </c:pt>
                <c:pt idx="8">
                  <c:v>Av Price/Unit 45.54</c:v>
                </c:pt>
                <c:pt idx="9">
                  <c:v>Av Price/Unit 57.78</c:v>
                </c:pt>
                <c:pt idx="10">
                  <c:v>Av Price/Unit 29.65</c:v>
                </c:pt>
                <c:pt idx="11">
                  <c:v>Av Price/Unit 136.23</c:v>
                </c:pt>
              </c:strCache>
            </c:strRef>
          </c:cat>
          <c:val>
            <c:numRef>
              <c:f>Sheet1!$E$2:$E$13</c:f>
              <c:numCache>
                <c:formatCode>General</c:formatCode>
                <c:ptCount val="12"/>
                <c:pt idx="0">
                  <c:v>9.0284193020573458</c:v>
                </c:pt>
                <c:pt idx="1">
                  <c:v>3.5353826966603537</c:v>
                </c:pt>
                <c:pt idx="2">
                  <c:v>7.6475210431567158</c:v>
                </c:pt>
                <c:pt idx="3">
                  <c:v>4.8887691409582805</c:v>
                </c:pt>
                <c:pt idx="4">
                  <c:v>6.9956150130063133</c:v>
                </c:pt>
                <c:pt idx="5">
                  <c:v>9.9767380802352328</c:v>
                </c:pt>
                <c:pt idx="6">
                  <c:v>5.0304686383769086</c:v>
                </c:pt>
                <c:pt idx="7">
                  <c:v>6.2293089178564021</c:v>
                </c:pt>
                <c:pt idx="8">
                  <c:v>7.5894244699064854</c:v>
                </c:pt>
                <c:pt idx="9">
                  <c:v>9.6294910179640727</c:v>
                </c:pt>
                <c:pt idx="10">
                  <c:v>4.9420627977058409</c:v>
                </c:pt>
                <c:pt idx="11">
                  <c:v>22.70552560646900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0</c:v>
                </c:pt>
                <c:pt idx="1">
                  <c:v>Av Price/Unit 46.05</c:v>
                </c:pt>
                <c:pt idx="2">
                  <c:v>Av Price/Unit 21.36</c:v>
                </c:pt>
                <c:pt idx="3">
                  <c:v>Av Price/Unit 29.24</c:v>
                </c:pt>
                <c:pt idx="4">
                  <c:v>Av Price/Unit 37.61</c:v>
                </c:pt>
                <c:pt idx="5">
                  <c:v>Av Price/Unit 30.34</c:v>
                </c:pt>
                <c:pt idx="6">
                  <c:v>Av Price/Unit 29.63</c:v>
                </c:pt>
                <c:pt idx="7">
                  <c:v>Av Price/Unit 41.95</c:v>
                </c:pt>
                <c:pt idx="8">
                  <c:v>Av Price/Unit 45.77</c:v>
                </c:pt>
                <c:pt idx="9">
                  <c:v>Av Price/Unit 60.28</c:v>
                </c:pt>
                <c:pt idx="10">
                  <c:v>Av Price/Unit 57.77</c:v>
                </c:pt>
                <c:pt idx="11">
                  <c:v>Av Price/Unit 93.90</c:v>
                </c:pt>
              </c:strCache>
            </c:strRef>
          </c:cat>
          <c:val>
            <c:numRef>
              <c:f>Sheet1!$B$2:$B$13</c:f>
              <c:numCache>
                <c:formatCode>General</c:formatCode>
                <c:ptCount val="12"/>
                <c:pt idx="0">
                  <c:v>18.170999103554866</c:v>
                </c:pt>
                <c:pt idx="1">
                  <c:v>15.821081786542925</c:v>
                </c:pt>
                <c:pt idx="2">
                  <c:v>3.614221763445979</c:v>
                </c:pt>
                <c:pt idx="3">
                  <c:v>10.135968718067813</c:v>
                </c:pt>
                <c:pt idx="4">
                  <c:v>12.792391918832324</c:v>
                </c:pt>
                <c:pt idx="5">
                  <c:v>11.446920696791993</c:v>
                </c:pt>
                <c:pt idx="6">
                  <c:v>11.068651501668521</c:v>
                </c:pt>
                <c:pt idx="7">
                  <c:v>14.80851888111888</c:v>
                </c:pt>
                <c:pt idx="8">
                  <c:v>15.081852920962197</c:v>
                </c:pt>
                <c:pt idx="9">
                  <c:v>20.160048686244206</c:v>
                </c:pt>
                <c:pt idx="10">
                  <c:v>19.546069397217931</c:v>
                </c:pt>
                <c:pt idx="11">
                  <c:v>31.3430859649122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0</c:v>
                </c:pt>
                <c:pt idx="1">
                  <c:v>Av Price/Unit 46.05</c:v>
                </c:pt>
                <c:pt idx="2">
                  <c:v>Av Price/Unit 21.36</c:v>
                </c:pt>
                <c:pt idx="3">
                  <c:v>Av Price/Unit 29.24</c:v>
                </c:pt>
                <c:pt idx="4">
                  <c:v>Av Price/Unit 37.61</c:v>
                </c:pt>
                <c:pt idx="5">
                  <c:v>Av Price/Unit 30.34</c:v>
                </c:pt>
                <c:pt idx="6">
                  <c:v>Av Price/Unit 29.63</c:v>
                </c:pt>
                <c:pt idx="7">
                  <c:v>Av Price/Unit 41.95</c:v>
                </c:pt>
                <c:pt idx="8">
                  <c:v>Av Price/Unit 45.77</c:v>
                </c:pt>
                <c:pt idx="9">
                  <c:v>Av Price/Unit 60.28</c:v>
                </c:pt>
                <c:pt idx="10">
                  <c:v>Av Price/Unit 57.77</c:v>
                </c:pt>
                <c:pt idx="11">
                  <c:v>Av Price/Unit 93.90</c:v>
                </c:pt>
              </c:strCache>
            </c:strRef>
          </c:cat>
          <c:val>
            <c:numRef>
              <c:f>Sheet1!$C$2:$C$13</c:f>
              <c:numCache>
                <c:formatCode>General</c:formatCode>
                <c:ptCount val="12"/>
                <c:pt idx="0">
                  <c:v>27.904780247295211</c:v>
                </c:pt>
                <c:pt idx="1">
                  <c:v>22.315768445475637</c:v>
                </c:pt>
                <c:pt idx="2">
                  <c:v>13.387728367444076</c:v>
                </c:pt>
                <c:pt idx="3">
                  <c:v>15.225952415234557</c:v>
                </c:pt>
                <c:pt idx="4">
                  <c:v>18.341444784620858</c:v>
                </c:pt>
                <c:pt idx="5">
                  <c:v>14.100514694722317</c:v>
                </c:pt>
                <c:pt idx="6">
                  <c:v>13.816348498331481</c:v>
                </c:pt>
                <c:pt idx="7">
                  <c:v>20.57426874663798</c:v>
                </c:pt>
                <c:pt idx="8">
                  <c:v>22.294342268041238</c:v>
                </c:pt>
                <c:pt idx="9">
                  <c:v>29.215515455950548</c:v>
                </c:pt>
                <c:pt idx="10">
                  <c:v>27.622695672333847</c:v>
                </c:pt>
                <c:pt idx="11">
                  <c:v>45.13301100478468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0</c:v>
                </c:pt>
                <c:pt idx="1">
                  <c:v>Av Price/Unit 46.05</c:v>
                </c:pt>
                <c:pt idx="2">
                  <c:v>Av Price/Unit 21.36</c:v>
                </c:pt>
                <c:pt idx="3">
                  <c:v>Av Price/Unit 29.24</c:v>
                </c:pt>
                <c:pt idx="4">
                  <c:v>Av Price/Unit 37.61</c:v>
                </c:pt>
                <c:pt idx="5">
                  <c:v>Av Price/Unit 30.34</c:v>
                </c:pt>
                <c:pt idx="6">
                  <c:v>Av Price/Unit 29.63</c:v>
                </c:pt>
                <c:pt idx="7">
                  <c:v>Av Price/Unit 41.95</c:v>
                </c:pt>
                <c:pt idx="8">
                  <c:v>Av Price/Unit 45.77</c:v>
                </c:pt>
                <c:pt idx="9">
                  <c:v>Av Price/Unit 60.28</c:v>
                </c:pt>
                <c:pt idx="10">
                  <c:v>Av Price/Unit 57.77</c:v>
                </c:pt>
                <c:pt idx="11">
                  <c:v>Av Price/Unit 93.90</c:v>
                </c:pt>
              </c:strCache>
            </c:strRef>
          </c:cat>
          <c:val>
            <c:numRef>
              <c:f>Sheet1!$D$2:$D$13</c:f>
              <c:numCache>
                <c:formatCode>General</c:formatCode>
                <c:ptCount val="12"/>
                <c:pt idx="0">
                  <c:v>-1.161278923235443</c:v>
                </c:pt>
                <c:pt idx="1">
                  <c:v>0.24233820572312226</c:v>
                </c:pt>
                <c:pt idx="2">
                  <c:v>0.79522978343645434</c:v>
                </c:pt>
                <c:pt idx="3">
                  <c:v>-0.99901665892553027</c:v>
                </c:pt>
                <c:pt idx="4">
                  <c:v>0.2056079387682388</c:v>
                </c:pt>
                <c:pt idx="5">
                  <c:v>-0.26314195699666953</c:v>
                </c:pt>
                <c:pt idx="6">
                  <c:v>-0.19367630700778804</c:v>
                </c:pt>
                <c:pt idx="7">
                  <c:v>-0.42358016854939962</c:v>
                </c:pt>
                <c:pt idx="8">
                  <c:v>0.76813470790378346</c:v>
                </c:pt>
                <c:pt idx="9">
                  <c:v>0.85627511591963668</c:v>
                </c:pt>
                <c:pt idx="10">
                  <c:v>0.97650108191654539</c:v>
                </c:pt>
                <c:pt idx="11">
                  <c:v>1.773504306220104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0</c:v>
                </c:pt>
                <c:pt idx="1">
                  <c:v>Av Price/Unit 46.05</c:v>
                </c:pt>
                <c:pt idx="2">
                  <c:v>Av Price/Unit 21.36</c:v>
                </c:pt>
                <c:pt idx="3">
                  <c:v>Av Price/Unit 29.24</c:v>
                </c:pt>
                <c:pt idx="4">
                  <c:v>Av Price/Unit 37.61</c:v>
                </c:pt>
                <c:pt idx="5">
                  <c:v>Av Price/Unit 30.34</c:v>
                </c:pt>
                <c:pt idx="6">
                  <c:v>Av Price/Unit 29.63</c:v>
                </c:pt>
                <c:pt idx="7">
                  <c:v>Av Price/Unit 41.95</c:v>
                </c:pt>
                <c:pt idx="8">
                  <c:v>Av Price/Unit 45.77</c:v>
                </c:pt>
                <c:pt idx="9">
                  <c:v>Av Price/Unit 60.28</c:v>
                </c:pt>
                <c:pt idx="10">
                  <c:v>Av Price/Unit 57.77</c:v>
                </c:pt>
                <c:pt idx="11">
                  <c:v>Av Price/Unit 93.90</c:v>
                </c:pt>
              </c:strCache>
            </c:strRef>
          </c:cat>
          <c:val>
            <c:numRef>
              <c:f>Sheet1!$E$2:$E$13</c:f>
              <c:numCache>
                <c:formatCode>General</c:formatCode>
                <c:ptCount val="12"/>
                <c:pt idx="0">
                  <c:v>8.9828954147346707</c:v>
                </c:pt>
                <c:pt idx="1">
                  <c:v>7.6758313998453165</c:v>
                </c:pt>
                <c:pt idx="2">
                  <c:v>3.5594359828653022</c:v>
                </c:pt>
                <c:pt idx="3">
                  <c:v>4.8725808948753704</c:v>
                </c:pt>
                <c:pt idx="4">
                  <c:v>6.267888928444286</c:v>
                </c:pt>
                <c:pt idx="5">
                  <c:v>5.0568586869035279</c:v>
                </c:pt>
                <c:pt idx="6">
                  <c:v>4.9382647385984431</c:v>
                </c:pt>
                <c:pt idx="7">
                  <c:v>6.9918414918414893</c:v>
                </c:pt>
                <c:pt idx="8">
                  <c:v>7.6288659793814437</c:v>
                </c:pt>
                <c:pt idx="9">
                  <c:v>10.046367851622875</c:v>
                </c:pt>
                <c:pt idx="10">
                  <c:v>9.6290571870169952</c:v>
                </c:pt>
                <c:pt idx="11">
                  <c:v>15.6499202551834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006C6D"/>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0D84B24F-4617-47E2-9FCB-0AA194F916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E70242CF-33C5-4705-A9D8-DEA04FBC5E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D9E61D5-F4C4-49A2-84A2-5C03A84209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CDBE6C2A-7FF9-43C6-9CBA-D75D856A99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C0BDFE7-0923-4E7B-84C4-188DCBD8BE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977CF06E-2D0B-468B-84A0-0BE6E606DB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CC7C3FE4-C2CD-4422-97DF-1C9FC80E8D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1A1F40BD-133B-480E-BF3D-0716F236DA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4.770600000000002</c:v>
                </c:pt>
                <c:pt idx="1">
                  <c:v>24.6859</c:v>
                </c:pt>
                <c:pt idx="2">
                  <c:v>22.726199999999999</c:v>
                </c:pt>
                <c:pt idx="3">
                  <c:v>23.498999999999999</c:v>
                </c:pt>
                <c:pt idx="4">
                  <c:v>21.497800000000002</c:v>
                </c:pt>
              </c:numCache>
            </c:numRef>
          </c:xVal>
          <c:yVal>
            <c:numRef>
              <c:f>Sheet1!$B$2:$B$6</c:f>
              <c:numCache>
                <c:formatCode>General</c:formatCode>
                <c:ptCount val="5"/>
                <c:pt idx="0">
                  <c:v>0.53159999999999996</c:v>
                </c:pt>
                <c:pt idx="1">
                  <c:v>0.53129999999999999</c:v>
                </c:pt>
                <c:pt idx="2">
                  <c:v>0.52300000000000002</c:v>
                </c:pt>
                <c:pt idx="3">
                  <c:v>0.53239999999999998</c:v>
                </c:pt>
                <c:pt idx="4">
                  <c:v>0.51800000000000002</c:v>
                </c:pt>
              </c:numCache>
            </c:numRef>
          </c:yVal>
          <c:bubbleSize>
            <c:numRef>
              <c:f>Sheet1!$C$2:$C$6</c:f>
              <c:numCache>
                <c:formatCode>General</c:formatCode>
                <c:ptCount val="5"/>
                <c:pt idx="0">
                  <c:v>385875.91470000002</c:v>
                </c:pt>
                <c:pt idx="1">
                  <c:v>43052.163600000007</c:v>
                </c:pt>
                <c:pt idx="2">
                  <c:v>10749.482900000001</c:v>
                </c:pt>
                <c:pt idx="3">
                  <c:v>32052.593099999998</c:v>
                </c:pt>
                <c:pt idx="4">
                  <c:v>16746.812700000009</c:v>
                </c:pt>
              </c:numCache>
            </c:numRef>
          </c:bubbleSize>
          <c:bubble3D val="0"/>
          <c:extLst>
            <c:ext xmlns:c15="http://schemas.microsoft.com/office/drawing/2012/chart" uri="{02D57815-91ED-43cb-92C2-25804820EDAC}">
              <c15:datalabelsRange>
                <c15:f>Sheet1!$E$2:$E$29</c15:f>
                <c15:dlblRangeCache>
                  <c:ptCount val="28"/>
                  <c:pt idx="0">
                    <c:v>NICOLAS IDF</c:v>
                  </c:pt>
                  <c:pt idx="1">
                    <c:v>NICOLAS PAC</c:v>
                  </c:pt>
                  <c:pt idx="2">
                    <c:v>NICOLAS EST</c:v>
                  </c:pt>
                  <c:pt idx="3">
                    <c:v>NICOLAS RHO</c:v>
                  </c:pt>
                  <c:pt idx="4">
                    <c:v>NICOLAS AQU</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9.724720000000001"/>
          <c:min val="17.198240000000002"/>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530970541906718"/>
        <c:crossBetween val="midCat"/>
      </c:valAx>
      <c:valAx>
        <c:axId val="1011451359"/>
        <c:scaling>
          <c:orientation val="minMax"/>
          <c:max val="0.99887999999999999"/>
          <c:min val="0.17440000000000003"/>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4.52250271952331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9</c:v>
                </c:pt>
                <c:pt idx="1">
                  <c:v>Av Price/Unit 20.79</c:v>
                </c:pt>
                <c:pt idx="2">
                  <c:v>Av Price/Unit 45.75</c:v>
                </c:pt>
                <c:pt idx="3">
                  <c:v>Av Price/Unit 37.34</c:v>
                </c:pt>
                <c:pt idx="4">
                  <c:v>Av Price/Unit 56.56</c:v>
                </c:pt>
                <c:pt idx="5">
                  <c:v>Av Price/Unit 30.60</c:v>
                </c:pt>
                <c:pt idx="6">
                  <c:v>Av Price/Unit 41.58</c:v>
                </c:pt>
                <c:pt idx="7">
                  <c:v>Av Price/Unit 29.41</c:v>
                </c:pt>
                <c:pt idx="8">
                  <c:v>Av Price/Unit 29.66</c:v>
                </c:pt>
                <c:pt idx="9">
                  <c:v>Av Price/Unit 59.68</c:v>
                </c:pt>
                <c:pt idx="10">
                  <c:v>Av Price/Unit 27.23</c:v>
                </c:pt>
                <c:pt idx="11">
                  <c:v>Av Price/Unit 44.69</c:v>
                </c:pt>
              </c:strCache>
            </c:strRef>
          </c:cat>
          <c:val>
            <c:numRef>
              <c:f>Sheet1!$B$2:$B$13</c:f>
              <c:numCache>
                <c:formatCode>General</c:formatCode>
                <c:ptCount val="12"/>
                <c:pt idx="0">
                  <c:v>18.173492797319931</c:v>
                </c:pt>
                <c:pt idx="1">
                  <c:v>3.6024420990566037</c:v>
                </c:pt>
                <c:pt idx="2">
                  <c:v>15.818157495741055</c:v>
                </c:pt>
                <c:pt idx="3">
                  <c:v>12.780187398005438</c:v>
                </c:pt>
                <c:pt idx="4">
                  <c:v>19.607055254237288</c:v>
                </c:pt>
                <c:pt idx="5">
                  <c:v>11.45042534562212</c:v>
                </c:pt>
                <c:pt idx="6">
                  <c:v>14.899060617760618</c:v>
                </c:pt>
                <c:pt idx="7">
                  <c:v>10.160912136929463</c:v>
                </c:pt>
                <c:pt idx="8">
                  <c:v>11.063818855218855</c:v>
                </c:pt>
                <c:pt idx="9">
                  <c:v>20.229023502304148</c:v>
                </c:pt>
                <c:pt idx="10">
                  <c:v>10.115975709001233</c:v>
                </c:pt>
                <c:pt idx="11">
                  <c:v>15.0806079207920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9</c:v>
                </c:pt>
                <c:pt idx="1">
                  <c:v>Av Price/Unit 20.79</c:v>
                </c:pt>
                <c:pt idx="2">
                  <c:v>Av Price/Unit 45.75</c:v>
                </c:pt>
                <c:pt idx="3">
                  <c:v>Av Price/Unit 37.34</c:v>
                </c:pt>
                <c:pt idx="4">
                  <c:v>Av Price/Unit 56.56</c:v>
                </c:pt>
                <c:pt idx="5">
                  <c:v>Av Price/Unit 30.60</c:v>
                </c:pt>
                <c:pt idx="6">
                  <c:v>Av Price/Unit 41.58</c:v>
                </c:pt>
                <c:pt idx="7">
                  <c:v>Av Price/Unit 29.41</c:v>
                </c:pt>
                <c:pt idx="8">
                  <c:v>Av Price/Unit 29.66</c:v>
                </c:pt>
                <c:pt idx="9">
                  <c:v>Av Price/Unit 59.68</c:v>
                </c:pt>
                <c:pt idx="10">
                  <c:v>Av Price/Unit 27.23</c:v>
                </c:pt>
                <c:pt idx="11">
                  <c:v>Av Price/Unit 44.69</c:v>
                </c:pt>
              </c:strCache>
            </c:strRef>
          </c:cat>
          <c:val>
            <c:numRef>
              <c:f>Sheet1!$C$2:$C$13</c:f>
              <c:numCache>
                <c:formatCode>General</c:formatCode>
                <c:ptCount val="12"/>
                <c:pt idx="0">
                  <c:v>27.897034338358459</c:v>
                </c:pt>
                <c:pt idx="1">
                  <c:v>13.406308490566039</c:v>
                </c:pt>
                <c:pt idx="2">
                  <c:v>22.315924020442928</c:v>
                </c:pt>
                <c:pt idx="3">
                  <c:v>18.345461196736174</c:v>
                </c:pt>
                <c:pt idx="4">
                  <c:v>27.636342711864405</c:v>
                </c:pt>
                <c:pt idx="5">
                  <c:v>14.104213364055301</c:v>
                </c:pt>
                <c:pt idx="6">
                  <c:v>20.577680952380955</c:v>
                </c:pt>
                <c:pt idx="7">
                  <c:v>15.196597821576766</c:v>
                </c:pt>
                <c:pt idx="8">
                  <c:v>13.810134343434344</c:v>
                </c:pt>
                <c:pt idx="9">
                  <c:v>29.233625345622116</c:v>
                </c:pt>
                <c:pt idx="10">
                  <c:v>14.130702836004934</c:v>
                </c:pt>
                <c:pt idx="11">
                  <c:v>22.27823564356436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9</c:v>
                </c:pt>
                <c:pt idx="1">
                  <c:v>Av Price/Unit 20.79</c:v>
                </c:pt>
                <c:pt idx="2">
                  <c:v>Av Price/Unit 45.75</c:v>
                </c:pt>
                <c:pt idx="3">
                  <c:v>Av Price/Unit 37.34</c:v>
                </c:pt>
                <c:pt idx="4">
                  <c:v>Av Price/Unit 56.56</c:v>
                </c:pt>
                <c:pt idx="5">
                  <c:v>Av Price/Unit 30.60</c:v>
                </c:pt>
                <c:pt idx="6">
                  <c:v>Av Price/Unit 41.58</c:v>
                </c:pt>
                <c:pt idx="7">
                  <c:v>Av Price/Unit 29.41</c:v>
                </c:pt>
                <c:pt idx="8">
                  <c:v>Av Price/Unit 29.66</c:v>
                </c:pt>
                <c:pt idx="9">
                  <c:v>Av Price/Unit 59.68</c:v>
                </c:pt>
                <c:pt idx="10">
                  <c:v>Av Price/Unit 27.23</c:v>
                </c:pt>
                <c:pt idx="11">
                  <c:v>Av Price/Unit 44.69</c:v>
                </c:pt>
              </c:strCache>
            </c:strRef>
          </c:cat>
          <c:val>
            <c:numRef>
              <c:f>Sheet1!$D$2:$D$13</c:f>
              <c:numCache>
                <c:formatCode>General</c:formatCode>
                <c:ptCount val="12"/>
                <c:pt idx="0">
                  <c:v>-0.99617319932996651</c:v>
                </c:pt>
                <c:pt idx="1">
                  <c:v>0.31894857180293457</c:v>
                </c:pt>
                <c:pt idx="2">
                  <c:v>-8.6956842703074244E-3</c:v>
                </c:pt>
                <c:pt idx="3">
                  <c:v>-9.7525536415830061E-3</c:v>
                </c:pt>
                <c:pt idx="4">
                  <c:v>-0.10783491525424438</c:v>
                </c:pt>
                <c:pt idx="5">
                  <c:v>-5.1566513056837238E-2</c:v>
                </c:pt>
                <c:pt idx="6">
                  <c:v>-0.82423191763191994</c:v>
                </c:pt>
                <c:pt idx="7">
                  <c:v>-0.84938409405255655</c:v>
                </c:pt>
                <c:pt idx="8">
                  <c:v>-0.16014848484848443</c:v>
                </c:pt>
                <c:pt idx="9">
                  <c:v>0.27045407066052007</c:v>
                </c:pt>
                <c:pt idx="10">
                  <c:v>-1.5514463214138914</c:v>
                </c:pt>
                <c:pt idx="11">
                  <c:v>-0.1179194719471894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9</c:v>
                </c:pt>
                <c:pt idx="1">
                  <c:v>Av Price/Unit 20.79</c:v>
                </c:pt>
                <c:pt idx="2">
                  <c:v>Av Price/Unit 45.75</c:v>
                </c:pt>
                <c:pt idx="3">
                  <c:v>Av Price/Unit 37.34</c:v>
                </c:pt>
                <c:pt idx="4">
                  <c:v>Av Price/Unit 56.56</c:v>
                </c:pt>
                <c:pt idx="5">
                  <c:v>Av Price/Unit 30.60</c:v>
                </c:pt>
                <c:pt idx="6">
                  <c:v>Av Price/Unit 41.58</c:v>
                </c:pt>
                <c:pt idx="7">
                  <c:v>Av Price/Unit 29.41</c:v>
                </c:pt>
                <c:pt idx="8">
                  <c:v>Av Price/Unit 29.66</c:v>
                </c:pt>
                <c:pt idx="9">
                  <c:v>Av Price/Unit 59.68</c:v>
                </c:pt>
                <c:pt idx="10">
                  <c:v>Av Price/Unit 27.23</c:v>
                </c:pt>
                <c:pt idx="11">
                  <c:v>Av Price/Unit 44.69</c:v>
                </c:pt>
              </c:strCache>
            </c:strRef>
          </c:cat>
          <c:val>
            <c:numRef>
              <c:f>Sheet1!$E$2:$E$13</c:f>
              <c:numCache>
                <c:formatCode>General</c:formatCode>
                <c:ptCount val="12"/>
                <c:pt idx="0">
                  <c:v>9.0148659966499096</c:v>
                </c:pt>
                <c:pt idx="1">
                  <c:v>3.4655398322851134</c:v>
                </c:pt>
                <c:pt idx="2">
                  <c:v>7.6250709823963678</c:v>
                </c:pt>
                <c:pt idx="3">
                  <c:v>6.2231792082200039</c:v>
                </c:pt>
                <c:pt idx="4">
                  <c:v>9.4271186440677965</c:v>
                </c:pt>
                <c:pt idx="5">
                  <c:v>5.1006144393241142</c:v>
                </c:pt>
                <c:pt idx="6">
                  <c:v>6.9305019305019302</c:v>
                </c:pt>
                <c:pt idx="7">
                  <c:v>4.9016251728907303</c:v>
                </c:pt>
                <c:pt idx="8">
                  <c:v>4.9427609427609385</c:v>
                </c:pt>
                <c:pt idx="9">
                  <c:v>9.9466205837173547</c:v>
                </c:pt>
                <c:pt idx="10">
                  <c:v>4.5390464447184513</c:v>
                </c:pt>
                <c:pt idx="11">
                  <c:v>7.448184818481846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8</c:v>
                </c:pt>
                <c:pt idx="1">
                  <c:v>Av Price/Unit 21.11</c:v>
                </c:pt>
                <c:pt idx="2">
                  <c:v>Av Price/Unit 46.16</c:v>
                </c:pt>
                <c:pt idx="3">
                  <c:v>Av Price/Unit 29.06</c:v>
                </c:pt>
                <c:pt idx="4">
                  <c:v>Av Price/Unit 30.06</c:v>
                </c:pt>
                <c:pt idx="5">
                  <c:v>Av Price/Unit 37.81</c:v>
                </c:pt>
                <c:pt idx="6">
                  <c:v>Av Price/Unit 29.20</c:v>
                </c:pt>
                <c:pt idx="7">
                  <c:v>Av Price/Unit 37.61</c:v>
                </c:pt>
                <c:pt idx="8">
                  <c:v>Av Price/Unit 42.95</c:v>
                </c:pt>
                <c:pt idx="9">
                  <c:v>Av Price/Unit 37.59</c:v>
                </c:pt>
                <c:pt idx="10">
                  <c:v>Av Price/Unit 57.71</c:v>
                </c:pt>
                <c:pt idx="11">
                  <c:v>Av Price/Unit 95.34</c:v>
                </c:pt>
              </c:strCache>
            </c:strRef>
          </c:cat>
          <c:val>
            <c:numRef>
              <c:f>Sheet1!$B$2:$B$13</c:f>
              <c:numCache>
                <c:formatCode>General</c:formatCode>
                <c:ptCount val="12"/>
                <c:pt idx="0">
                  <c:v>18.173534562211984</c:v>
                </c:pt>
                <c:pt idx="1">
                  <c:v>3.6190399051403666</c:v>
                </c:pt>
                <c:pt idx="2">
                  <c:v>15.816964188297405</c:v>
                </c:pt>
                <c:pt idx="3">
                  <c:v>10.099752058729653</c:v>
                </c:pt>
                <c:pt idx="4">
                  <c:v>11.449155678670358</c:v>
                </c:pt>
                <c:pt idx="5">
                  <c:v>12.786316457142858</c:v>
                </c:pt>
                <c:pt idx="6">
                  <c:v>11.05539466271312</c:v>
                </c:pt>
                <c:pt idx="7">
                  <c:v>13.252699679144387</c:v>
                </c:pt>
                <c:pt idx="8">
                  <c:v>14.729412499999999</c:v>
                </c:pt>
                <c:pt idx="9">
                  <c:v>13.231143134872417</c:v>
                </c:pt>
                <c:pt idx="10">
                  <c:v>19.663445454545453</c:v>
                </c:pt>
                <c:pt idx="11">
                  <c:v>31.32779276729559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8</c:v>
                </c:pt>
                <c:pt idx="1">
                  <c:v>Av Price/Unit 21.11</c:v>
                </c:pt>
                <c:pt idx="2">
                  <c:v>Av Price/Unit 46.16</c:v>
                </c:pt>
                <c:pt idx="3">
                  <c:v>Av Price/Unit 29.06</c:v>
                </c:pt>
                <c:pt idx="4">
                  <c:v>Av Price/Unit 30.06</c:v>
                </c:pt>
                <c:pt idx="5">
                  <c:v>Av Price/Unit 37.81</c:v>
                </c:pt>
                <c:pt idx="6">
                  <c:v>Av Price/Unit 29.20</c:v>
                </c:pt>
                <c:pt idx="7">
                  <c:v>Av Price/Unit 37.61</c:v>
                </c:pt>
                <c:pt idx="8">
                  <c:v>Av Price/Unit 42.95</c:v>
                </c:pt>
                <c:pt idx="9">
                  <c:v>Av Price/Unit 37.59</c:v>
                </c:pt>
                <c:pt idx="10">
                  <c:v>Av Price/Unit 57.71</c:v>
                </c:pt>
                <c:pt idx="11">
                  <c:v>Av Price/Unit 95.34</c:v>
                </c:pt>
              </c:strCache>
            </c:strRef>
          </c:cat>
          <c:val>
            <c:numRef>
              <c:f>Sheet1!$C$2:$C$13</c:f>
              <c:numCache>
                <c:formatCode>General</c:formatCode>
                <c:ptCount val="12"/>
                <c:pt idx="0">
                  <c:v>27.896904608294932</c:v>
                </c:pt>
                <c:pt idx="1">
                  <c:v>13.380128688629663</c:v>
                </c:pt>
                <c:pt idx="2">
                  <c:v>22.315987505499336</c:v>
                </c:pt>
                <c:pt idx="3">
                  <c:v>15.268573890839447</c:v>
                </c:pt>
                <c:pt idx="4">
                  <c:v>14.102873407202217</c:v>
                </c:pt>
                <c:pt idx="5">
                  <c:v>18.343444171428573</c:v>
                </c:pt>
                <c:pt idx="6">
                  <c:v>13.799301927353596</c:v>
                </c:pt>
                <c:pt idx="7">
                  <c:v>17.095252085561494</c:v>
                </c:pt>
                <c:pt idx="8">
                  <c:v>20.571287500000004</c:v>
                </c:pt>
                <c:pt idx="9">
                  <c:v>17.381734264884571</c:v>
                </c:pt>
                <c:pt idx="10">
                  <c:v>27.648961363636371</c:v>
                </c:pt>
                <c:pt idx="11">
                  <c:v>45.0462754716981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8</c:v>
                </c:pt>
                <c:pt idx="1">
                  <c:v>Av Price/Unit 21.11</c:v>
                </c:pt>
                <c:pt idx="2">
                  <c:v>Av Price/Unit 46.16</c:v>
                </c:pt>
                <c:pt idx="3">
                  <c:v>Av Price/Unit 29.06</c:v>
                </c:pt>
                <c:pt idx="4">
                  <c:v>Av Price/Unit 30.06</c:v>
                </c:pt>
                <c:pt idx="5">
                  <c:v>Av Price/Unit 37.81</c:v>
                </c:pt>
                <c:pt idx="6">
                  <c:v>Av Price/Unit 29.20</c:v>
                </c:pt>
                <c:pt idx="7">
                  <c:v>Av Price/Unit 37.61</c:v>
                </c:pt>
                <c:pt idx="8">
                  <c:v>Av Price/Unit 42.95</c:v>
                </c:pt>
                <c:pt idx="9">
                  <c:v>Av Price/Unit 37.59</c:v>
                </c:pt>
                <c:pt idx="10">
                  <c:v>Av Price/Unit 57.71</c:v>
                </c:pt>
                <c:pt idx="11">
                  <c:v>Av Price/Unit 95.34</c:v>
                </c:pt>
              </c:strCache>
            </c:strRef>
          </c:cat>
          <c:val>
            <c:numRef>
              <c:f>Sheet1!$D$2:$D$13</c:f>
              <c:numCache>
                <c:formatCode>General</c:formatCode>
                <c:ptCount val="12"/>
                <c:pt idx="0">
                  <c:v>-1.0035949308755789</c:v>
                </c:pt>
                <c:pt idx="1">
                  <c:v>0.59579786352177067</c:v>
                </c:pt>
                <c:pt idx="2">
                  <c:v>0.33532949112773025</c:v>
                </c:pt>
                <c:pt idx="3">
                  <c:v>-1.1524519204170609</c:v>
                </c:pt>
                <c:pt idx="4">
                  <c:v>-0.50239843028624165</c:v>
                </c:pt>
                <c:pt idx="5">
                  <c:v>0.38262032380952604</c:v>
                </c:pt>
                <c:pt idx="6">
                  <c:v>-0.52000422535210333</c:v>
                </c:pt>
                <c:pt idx="7">
                  <c:v>0.99340295900178788</c:v>
                </c:pt>
                <c:pt idx="8">
                  <c:v>0.48719893617021626</c:v>
                </c:pt>
                <c:pt idx="9">
                  <c:v>0.71053288780882795</c:v>
                </c:pt>
                <c:pt idx="10">
                  <c:v>0.78098775252525598</c:v>
                </c:pt>
                <c:pt idx="11">
                  <c:v>3.072996750524126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8</c:v>
                </c:pt>
                <c:pt idx="1">
                  <c:v>Av Price/Unit 21.11</c:v>
                </c:pt>
                <c:pt idx="2">
                  <c:v>Av Price/Unit 46.16</c:v>
                </c:pt>
                <c:pt idx="3">
                  <c:v>Av Price/Unit 29.06</c:v>
                </c:pt>
                <c:pt idx="4">
                  <c:v>Av Price/Unit 30.06</c:v>
                </c:pt>
                <c:pt idx="5">
                  <c:v>Av Price/Unit 37.81</c:v>
                </c:pt>
                <c:pt idx="6">
                  <c:v>Av Price/Unit 29.20</c:v>
                </c:pt>
                <c:pt idx="7">
                  <c:v>Av Price/Unit 37.61</c:v>
                </c:pt>
                <c:pt idx="8">
                  <c:v>Av Price/Unit 42.95</c:v>
                </c:pt>
                <c:pt idx="9">
                  <c:v>Av Price/Unit 37.59</c:v>
                </c:pt>
                <c:pt idx="10">
                  <c:v>Av Price/Unit 57.71</c:v>
                </c:pt>
                <c:pt idx="11">
                  <c:v>Av Price/Unit 95.34</c:v>
                </c:pt>
              </c:strCache>
            </c:strRef>
          </c:cat>
          <c:val>
            <c:numRef>
              <c:f>Sheet1!$E$2:$E$13</c:f>
              <c:numCache>
                <c:formatCode>General</c:formatCode>
                <c:ptCount val="12"/>
                <c:pt idx="0">
                  <c:v>9.0133640552995384</c:v>
                </c:pt>
                <c:pt idx="1">
                  <c:v>3.5189932914583588</c:v>
                </c:pt>
                <c:pt idx="2">
                  <c:v>7.6936500953218907</c:v>
                </c:pt>
                <c:pt idx="3">
                  <c:v>4.8431748058304045</c:v>
                </c:pt>
                <c:pt idx="4">
                  <c:v>5.0099261311172665</c:v>
                </c:pt>
                <c:pt idx="5">
                  <c:v>6.3024761904761917</c:v>
                </c:pt>
                <c:pt idx="6">
                  <c:v>4.8669384729429153</c:v>
                </c:pt>
                <c:pt idx="7">
                  <c:v>6.2682709447415315</c:v>
                </c:pt>
                <c:pt idx="8">
                  <c:v>7.1575797872340381</c:v>
                </c:pt>
                <c:pt idx="9">
                  <c:v>6.2646820575131663</c:v>
                </c:pt>
                <c:pt idx="10">
                  <c:v>9.6186868686868703</c:v>
                </c:pt>
                <c:pt idx="11">
                  <c:v>15.88941299790356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2</c:v>
                </c:pt>
                <c:pt idx="1">
                  <c:v>Av Price/Unit 21.23</c:v>
                </c:pt>
                <c:pt idx="2">
                  <c:v>Av Price/Unit 46.03</c:v>
                </c:pt>
                <c:pt idx="3">
                  <c:v>Av Price/Unit 42.00</c:v>
                </c:pt>
                <c:pt idx="4">
                  <c:v>Av Price/Unit 29.23</c:v>
                </c:pt>
                <c:pt idx="5">
                  <c:v>Av Price/Unit 36.92</c:v>
                </c:pt>
                <c:pt idx="6">
                  <c:v>Av Price/Unit 45.35</c:v>
                </c:pt>
                <c:pt idx="7">
                  <c:v>Av Price/Unit 57.43</c:v>
                </c:pt>
                <c:pt idx="8">
                  <c:v>Av Price/Unit 29.81</c:v>
                </c:pt>
                <c:pt idx="9">
                  <c:v>Av Price/Unit 59.97</c:v>
                </c:pt>
                <c:pt idx="10">
                  <c:v>Av Price/Unit 28.79</c:v>
                </c:pt>
                <c:pt idx="11">
                  <c:v>Av Price/Unit 50.89</c:v>
                </c:pt>
              </c:strCache>
            </c:strRef>
          </c:cat>
          <c:val>
            <c:numRef>
              <c:f>Sheet1!$B$2:$B$13</c:f>
              <c:numCache>
                <c:formatCode>General</c:formatCode>
                <c:ptCount val="12"/>
                <c:pt idx="0">
                  <c:v>18.178025953066125</c:v>
                </c:pt>
                <c:pt idx="1">
                  <c:v>3.6035439588532472</c:v>
                </c:pt>
                <c:pt idx="2">
                  <c:v>15.838642537625415</c:v>
                </c:pt>
                <c:pt idx="3">
                  <c:v>14.631131363729297</c:v>
                </c:pt>
                <c:pt idx="4">
                  <c:v>10.074950305531733</c:v>
                </c:pt>
                <c:pt idx="5">
                  <c:v>12.787890688420214</c:v>
                </c:pt>
                <c:pt idx="6">
                  <c:v>15.080779862585883</c:v>
                </c:pt>
                <c:pt idx="7">
                  <c:v>19.521556852791878</c:v>
                </c:pt>
                <c:pt idx="8">
                  <c:v>11.445225164690383</c:v>
                </c:pt>
                <c:pt idx="9">
                  <c:v>20.147576995798321</c:v>
                </c:pt>
                <c:pt idx="10">
                  <c:v>11.113741385369464</c:v>
                </c:pt>
                <c:pt idx="11">
                  <c:v>14.31676032210834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2</c:v>
                </c:pt>
                <c:pt idx="1">
                  <c:v>Av Price/Unit 21.23</c:v>
                </c:pt>
                <c:pt idx="2">
                  <c:v>Av Price/Unit 46.03</c:v>
                </c:pt>
                <c:pt idx="3">
                  <c:v>Av Price/Unit 42.00</c:v>
                </c:pt>
                <c:pt idx="4">
                  <c:v>Av Price/Unit 29.23</c:v>
                </c:pt>
                <c:pt idx="5">
                  <c:v>Av Price/Unit 36.92</c:v>
                </c:pt>
                <c:pt idx="6">
                  <c:v>Av Price/Unit 45.35</c:v>
                </c:pt>
                <c:pt idx="7">
                  <c:v>Av Price/Unit 57.43</c:v>
                </c:pt>
                <c:pt idx="8">
                  <c:v>Av Price/Unit 29.81</c:v>
                </c:pt>
                <c:pt idx="9">
                  <c:v>Av Price/Unit 59.97</c:v>
                </c:pt>
                <c:pt idx="10">
                  <c:v>Av Price/Unit 28.79</c:v>
                </c:pt>
                <c:pt idx="11">
                  <c:v>Av Price/Unit 50.89</c:v>
                </c:pt>
              </c:strCache>
            </c:strRef>
          </c:cat>
          <c:val>
            <c:numRef>
              <c:f>Sheet1!$C$2:$C$13</c:f>
              <c:numCache>
                <c:formatCode>General</c:formatCode>
                <c:ptCount val="12"/>
                <c:pt idx="0">
                  <c:v>27.882953454772011</c:v>
                </c:pt>
                <c:pt idx="1">
                  <c:v>13.404570521638567</c:v>
                </c:pt>
                <c:pt idx="2">
                  <c:v>22.314834197324416</c:v>
                </c:pt>
                <c:pt idx="3">
                  <c:v>20.567583622980983</c:v>
                </c:pt>
                <c:pt idx="4">
                  <c:v>15.297761765651803</c:v>
                </c:pt>
                <c:pt idx="5">
                  <c:v>18.342926104257856</c:v>
                </c:pt>
                <c:pt idx="6">
                  <c:v>22.280460062460964</c:v>
                </c:pt>
                <c:pt idx="7">
                  <c:v>27.61721040609137</c:v>
                </c:pt>
                <c:pt idx="8">
                  <c:v>14.098725296442687</c:v>
                </c:pt>
                <c:pt idx="9">
                  <c:v>29.21224091386555</c:v>
                </c:pt>
                <c:pt idx="10">
                  <c:v>13.874328225284378</c:v>
                </c:pt>
                <c:pt idx="11">
                  <c:v>28.10767115666178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2</c:v>
                </c:pt>
                <c:pt idx="1">
                  <c:v>Av Price/Unit 21.23</c:v>
                </c:pt>
                <c:pt idx="2">
                  <c:v>Av Price/Unit 46.03</c:v>
                </c:pt>
                <c:pt idx="3">
                  <c:v>Av Price/Unit 42.00</c:v>
                </c:pt>
                <c:pt idx="4">
                  <c:v>Av Price/Unit 29.23</c:v>
                </c:pt>
                <c:pt idx="5">
                  <c:v>Av Price/Unit 36.92</c:v>
                </c:pt>
                <c:pt idx="6">
                  <c:v>Av Price/Unit 45.35</c:v>
                </c:pt>
                <c:pt idx="7">
                  <c:v>Av Price/Unit 57.43</c:v>
                </c:pt>
                <c:pt idx="8">
                  <c:v>Av Price/Unit 29.81</c:v>
                </c:pt>
                <c:pt idx="9">
                  <c:v>Av Price/Unit 59.97</c:v>
                </c:pt>
                <c:pt idx="10">
                  <c:v>Av Price/Unit 28.79</c:v>
                </c:pt>
                <c:pt idx="11">
                  <c:v>Av Price/Unit 50.89</c:v>
                </c:pt>
              </c:strCache>
            </c:strRef>
          </c:cat>
          <c:val>
            <c:numRef>
              <c:f>Sheet1!$D$2:$D$13</c:f>
              <c:numCache>
                <c:formatCode>General</c:formatCode>
                <c:ptCount val="12"/>
                <c:pt idx="0">
                  <c:v>-1.1253079617487955</c:v>
                </c:pt>
                <c:pt idx="1">
                  <c:v>0.68263899743677925</c:v>
                </c:pt>
                <c:pt idx="2">
                  <c:v>0.20793602285395707</c:v>
                </c:pt>
                <c:pt idx="3">
                  <c:v>-0.19655682773347394</c:v>
                </c:pt>
                <c:pt idx="4">
                  <c:v>-1.0139266938250415</c:v>
                </c:pt>
                <c:pt idx="5">
                  <c:v>-0.36002491046557594</c:v>
                </c:pt>
                <c:pt idx="6">
                  <c:v>0.43191018946492221</c:v>
                </c:pt>
                <c:pt idx="7">
                  <c:v>0.71852994923857949</c:v>
                </c:pt>
                <c:pt idx="8">
                  <c:v>-0.70263879373444027</c:v>
                </c:pt>
                <c:pt idx="9">
                  <c:v>0.6134839110644279</c:v>
                </c:pt>
                <c:pt idx="10">
                  <c:v>-0.9940346527328181</c:v>
                </c:pt>
                <c:pt idx="11">
                  <c:v>-1.8635285505126831E-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2</c:v>
                </c:pt>
                <c:pt idx="1">
                  <c:v>Av Price/Unit 21.23</c:v>
                </c:pt>
                <c:pt idx="2">
                  <c:v>Av Price/Unit 46.03</c:v>
                </c:pt>
                <c:pt idx="3">
                  <c:v>Av Price/Unit 42.00</c:v>
                </c:pt>
                <c:pt idx="4">
                  <c:v>Av Price/Unit 29.23</c:v>
                </c:pt>
                <c:pt idx="5">
                  <c:v>Av Price/Unit 36.92</c:v>
                </c:pt>
                <c:pt idx="6">
                  <c:v>Av Price/Unit 45.35</c:v>
                </c:pt>
                <c:pt idx="7">
                  <c:v>Av Price/Unit 57.43</c:v>
                </c:pt>
                <c:pt idx="8">
                  <c:v>Av Price/Unit 29.81</c:v>
                </c:pt>
                <c:pt idx="9">
                  <c:v>Av Price/Unit 59.97</c:v>
                </c:pt>
                <c:pt idx="10">
                  <c:v>Av Price/Unit 28.79</c:v>
                </c:pt>
                <c:pt idx="11">
                  <c:v>Av Price/Unit 50.89</c:v>
                </c:pt>
              </c:strCache>
            </c:strRef>
          </c:cat>
          <c:val>
            <c:numRef>
              <c:f>Sheet1!$E$2:$E$13</c:f>
              <c:numCache>
                <c:formatCode>General</c:formatCode>
                <c:ptCount val="12"/>
                <c:pt idx="0">
                  <c:v>8.9871292807626535</c:v>
                </c:pt>
                <c:pt idx="1">
                  <c:v>3.5381506955857174</c:v>
                </c:pt>
                <c:pt idx="2">
                  <c:v>7.6722756410256387</c:v>
                </c:pt>
                <c:pt idx="3">
                  <c:v>7.0004316317953554</c:v>
                </c:pt>
                <c:pt idx="4">
                  <c:v>4.8717570754716952</c:v>
                </c:pt>
                <c:pt idx="5">
                  <c:v>6.1541583764424992</c:v>
                </c:pt>
                <c:pt idx="6">
                  <c:v>7.5586300229023502</c:v>
                </c:pt>
                <c:pt idx="7">
                  <c:v>9.5714625634517763</c:v>
                </c:pt>
                <c:pt idx="8">
                  <c:v>4.9682623334797213</c:v>
                </c:pt>
                <c:pt idx="9">
                  <c:v>9.9946603641456591</c:v>
                </c:pt>
                <c:pt idx="10">
                  <c:v>4.7988069915841987</c:v>
                </c:pt>
                <c:pt idx="11">
                  <c:v>8.481149341142019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17</c:v>
                </c:pt>
                <c:pt idx="1">
                  <c:v>Av Price/Unit 21.25</c:v>
                </c:pt>
                <c:pt idx="2">
                  <c:v>Av Price/Unit 45.66</c:v>
                </c:pt>
                <c:pt idx="3">
                  <c:v>Av Price/Unit 41.84</c:v>
                </c:pt>
                <c:pt idx="4">
                  <c:v>Av Price/Unit 29.28</c:v>
                </c:pt>
                <c:pt idx="5">
                  <c:v>Av Price/Unit 36.99</c:v>
                </c:pt>
                <c:pt idx="6">
                  <c:v>Av Price/Unit 29.93</c:v>
                </c:pt>
                <c:pt idx="7">
                  <c:v>Av Price/Unit 28.98</c:v>
                </c:pt>
                <c:pt idx="8">
                  <c:v>Av Price/Unit 60.44</c:v>
                </c:pt>
                <c:pt idx="9">
                  <c:v>Av Price/Unit 45.62</c:v>
                </c:pt>
                <c:pt idx="10">
                  <c:v>Av Price/Unit 57.49</c:v>
                </c:pt>
                <c:pt idx="11">
                  <c:v>Av Price/Unit 37.43</c:v>
                </c:pt>
              </c:strCache>
            </c:strRef>
          </c:cat>
          <c:val>
            <c:numRef>
              <c:f>Sheet1!$B$2:$B$13</c:f>
              <c:numCache>
                <c:formatCode>General</c:formatCode>
                <c:ptCount val="12"/>
                <c:pt idx="0">
                  <c:v>18.187811118575745</c:v>
                </c:pt>
                <c:pt idx="1">
                  <c:v>3.6027289671948379</c:v>
                </c:pt>
                <c:pt idx="2">
                  <c:v>15.860385651629073</c:v>
                </c:pt>
                <c:pt idx="3">
                  <c:v>14.702096774193549</c:v>
                </c:pt>
                <c:pt idx="4">
                  <c:v>10.041612713983458</c:v>
                </c:pt>
                <c:pt idx="5">
                  <c:v>12.780006652959319</c:v>
                </c:pt>
                <c:pt idx="6">
                  <c:v>11.443250158730159</c:v>
                </c:pt>
                <c:pt idx="7">
                  <c:v>11.121288888888889</c:v>
                </c:pt>
                <c:pt idx="8">
                  <c:v>20.121569736842105</c:v>
                </c:pt>
                <c:pt idx="9">
                  <c:v>15.079266648501362</c:v>
                </c:pt>
                <c:pt idx="10">
                  <c:v>19.493204089219329</c:v>
                </c:pt>
                <c:pt idx="11">
                  <c:v>13.22800640273704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17</c:v>
                </c:pt>
                <c:pt idx="1">
                  <c:v>Av Price/Unit 21.25</c:v>
                </c:pt>
                <c:pt idx="2">
                  <c:v>Av Price/Unit 45.66</c:v>
                </c:pt>
                <c:pt idx="3">
                  <c:v>Av Price/Unit 41.84</c:v>
                </c:pt>
                <c:pt idx="4">
                  <c:v>Av Price/Unit 29.28</c:v>
                </c:pt>
                <c:pt idx="5">
                  <c:v>Av Price/Unit 36.99</c:v>
                </c:pt>
                <c:pt idx="6">
                  <c:v>Av Price/Unit 29.93</c:v>
                </c:pt>
                <c:pt idx="7">
                  <c:v>Av Price/Unit 28.98</c:v>
                </c:pt>
                <c:pt idx="8">
                  <c:v>Av Price/Unit 60.44</c:v>
                </c:pt>
                <c:pt idx="9">
                  <c:v>Av Price/Unit 45.62</c:v>
                </c:pt>
                <c:pt idx="10">
                  <c:v>Av Price/Unit 57.49</c:v>
                </c:pt>
                <c:pt idx="11">
                  <c:v>Av Price/Unit 37.43</c:v>
                </c:pt>
              </c:strCache>
            </c:strRef>
          </c:cat>
          <c:val>
            <c:numRef>
              <c:f>Sheet1!$C$2:$C$13</c:f>
              <c:numCache>
                <c:formatCode>General</c:formatCode>
                <c:ptCount val="12"/>
                <c:pt idx="0">
                  <c:v>27.852558784010746</c:v>
                </c:pt>
                <c:pt idx="1">
                  <c:v>13.405856012027433</c:v>
                </c:pt>
                <c:pt idx="2">
                  <c:v>22.313677443609023</c:v>
                </c:pt>
                <c:pt idx="3">
                  <c:v>20.570258064516128</c:v>
                </c:pt>
                <c:pt idx="4">
                  <c:v>15.336995018272741</c:v>
                </c:pt>
                <c:pt idx="5">
                  <c:v>18.345520678513729</c:v>
                </c:pt>
                <c:pt idx="6">
                  <c:v>14.096640952380952</c:v>
                </c:pt>
                <c:pt idx="7">
                  <c:v>13.884033333333333</c:v>
                </c:pt>
                <c:pt idx="8">
                  <c:v>29.205412500000005</c:v>
                </c:pt>
                <c:pt idx="9">
                  <c:v>22.260883542234332</c:v>
                </c:pt>
                <c:pt idx="10">
                  <c:v>27.610865799256509</c:v>
                </c:pt>
                <c:pt idx="11">
                  <c:v>17.08980918866079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17</c:v>
                </c:pt>
                <c:pt idx="1">
                  <c:v>Av Price/Unit 21.25</c:v>
                </c:pt>
                <c:pt idx="2">
                  <c:v>Av Price/Unit 45.66</c:v>
                </c:pt>
                <c:pt idx="3">
                  <c:v>Av Price/Unit 41.84</c:v>
                </c:pt>
                <c:pt idx="4">
                  <c:v>Av Price/Unit 29.28</c:v>
                </c:pt>
                <c:pt idx="5">
                  <c:v>Av Price/Unit 36.99</c:v>
                </c:pt>
                <c:pt idx="6">
                  <c:v>Av Price/Unit 29.93</c:v>
                </c:pt>
                <c:pt idx="7">
                  <c:v>Av Price/Unit 28.98</c:v>
                </c:pt>
                <c:pt idx="8">
                  <c:v>Av Price/Unit 60.44</c:v>
                </c:pt>
                <c:pt idx="9">
                  <c:v>Av Price/Unit 45.62</c:v>
                </c:pt>
                <c:pt idx="10">
                  <c:v>Av Price/Unit 57.49</c:v>
                </c:pt>
                <c:pt idx="11">
                  <c:v>Av Price/Unit 37.43</c:v>
                </c:pt>
              </c:strCache>
            </c:strRef>
          </c:cat>
          <c:val>
            <c:numRef>
              <c:f>Sheet1!$D$2:$D$13</c:f>
              <c:numCache>
                <c:formatCode>General</c:formatCode>
                <c:ptCount val="12"/>
                <c:pt idx="0">
                  <c:v>-0.89958746127719991</c:v>
                </c:pt>
                <c:pt idx="1">
                  <c:v>0.6986010743606208</c:v>
                </c:pt>
                <c:pt idx="2">
                  <c:v>-0.12383970044157877</c:v>
                </c:pt>
                <c:pt idx="3">
                  <c:v>-0.40806416926811551</c:v>
                </c:pt>
                <c:pt idx="4">
                  <c:v>-0.97559753798807591</c:v>
                </c:pt>
                <c:pt idx="5">
                  <c:v>-0.29855812405149607</c:v>
                </c:pt>
                <c:pt idx="6">
                  <c:v>-0.59436441558441899</c:v>
                </c:pt>
                <c:pt idx="7">
                  <c:v>-0.85232956711985253</c:v>
                </c:pt>
                <c:pt idx="8">
                  <c:v>1.0387759085213091</c:v>
                </c:pt>
                <c:pt idx="9">
                  <c:v>0.67347378746594444</c:v>
                </c:pt>
                <c:pt idx="10">
                  <c:v>0.80546084262702067</c:v>
                </c:pt>
                <c:pt idx="11">
                  <c:v>0.8706822906484212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17</c:v>
                </c:pt>
                <c:pt idx="1">
                  <c:v>Av Price/Unit 21.25</c:v>
                </c:pt>
                <c:pt idx="2">
                  <c:v>Av Price/Unit 45.66</c:v>
                </c:pt>
                <c:pt idx="3">
                  <c:v>Av Price/Unit 41.84</c:v>
                </c:pt>
                <c:pt idx="4">
                  <c:v>Av Price/Unit 29.28</c:v>
                </c:pt>
                <c:pt idx="5">
                  <c:v>Av Price/Unit 36.99</c:v>
                </c:pt>
                <c:pt idx="6">
                  <c:v>Av Price/Unit 29.93</c:v>
                </c:pt>
                <c:pt idx="7">
                  <c:v>Av Price/Unit 28.98</c:v>
                </c:pt>
                <c:pt idx="8">
                  <c:v>Av Price/Unit 60.44</c:v>
                </c:pt>
                <c:pt idx="9">
                  <c:v>Av Price/Unit 45.62</c:v>
                </c:pt>
                <c:pt idx="10">
                  <c:v>Av Price/Unit 57.49</c:v>
                </c:pt>
                <c:pt idx="11">
                  <c:v>Av Price/Unit 37.43</c:v>
                </c:pt>
              </c:strCache>
            </c:strRef>
          </c:cat>
          <c:val>
            <c:numRef>
              <c:f>Sheet1!$E$2:$E$13</c:f>
              <c:numCache>
                <c:formatCode>General</c:formatCode>
                <c:ptCount val="12"/>
                <c:pt idx="0">
                  <c:v>9.0281510095920527</c:v>
                </c:pt>
                <c:pt idx="1">
                  <c:v>3.5414372107165764</c:v>
                </c:pt>
                <c:pt idx="2">
                  <c:v>7.6100369972550403</c:v>
                </c:pt>
                <c:pt idx="3">
                  <c:v>6.972858133888308</c:v>
                </c:pt>
                <c:pt idx="4">
                  <c:v>4.8806020388536258</c:v>
                </c:pt>
                <c:pt idx="5">
                  <c:v>6.1653938414843088</c:v>
                </c:pt>
                <c:pt idx="6">
                  <c:v>4.9891053391053388</c:v>
                </c:pt>
                <c:pt idx="7">
                  <c:v>4.8305985310204678</c:v>
                </c:pt>
                <c:pt idx="8">
                  <c:v>10.073151629072681</c:v>
                </c:pt>
                <c:pt idx="9">
                  <c:v>7.6027247956403272</c:v>
                </c:pt>
                <c:pt idx="10">
                  <c:v>9.5819083023543978</c:v>
                </c:pt>
                <c:pt idx="11">
                  <c:v>6.237699576409251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5</c:v>
                </c:pt>
                <c:pt idx="1">
                  <c:v>Av Price/Unit 21.26</c:v>
                </c:pt>
                <c:pt idx="2">
                  <c:v>Av Price/Unit 46.29</c:v>
                </c:pt>
                <c:pt idx="3">
                  <c:v>Av Price/Unit 29.25</c:v>
                </c:pt>
                <c:pt idx="4">
                  <c:v>Av Price/Unit 37.17</c:v>
                </c:pt>
                <c:pt idx="5">
                  <c:v>Av Price/Unit 30.16</c:v>
                </c:pt>
                <c:pt idx="6">
                  <c:v>Av Price/Unit 42.09</c:v>
                </c:pt>
                <c:pt idx="7">
                  <c:v>Av Price/Unit 29.14</c:v>
                </c:pt>
                <c:pt idx="8">
                  <c:v>Av Price/Unit 60.18</c:v>
                </c:pt>
                <c:pt idx="9">
                  <c:v>Av Price/Unit 45.43</c:v>
                </c:pt>
                <c:pt idx="10">
                  <c:v>Av Price/Unit 57.39</c:v>
                </c:pt>
                <c:pt idx="11">
                  <c:v>Av Price/Unit 37.32</c:v>
                </c:pt>
              </c:strCache>
            </c:strRef>
          </c:cat>
          <c:val>
            <c:numRef>
              <c:f>Sheet1!$B$2:$B$13</c:f>
              <c:numCache>
                <c:formatCode>General</c:formatCode>
                <c:ptCount val="12"/>
                <c:pt idx="0">
                  <c:v>18.184343906073934</c:v>
                </c:pt>
                <c:pt idx="1">
                  <c:v>3.6059014807193344</c:v>
                </c:pt>
                <c:pt idx="2">
                  <c:v>15.84164344493219</c:v>
                </c:pt>
                <c:pt idx="3">
                  <c:v>10.095996135838693</c:v>
                </c:pt>
                <c:pt idx="4">
                  <c:v>12.785072935700741</c:v>
                </c:pt>
                <c:pt idx="5">
                  <c:v>11.445658692555666</c:v>
                </c:pt>
                <c:pt idx="6">
                  <c:v>14.604576938307629</c:v>
                </c:pt>
                <c:pt idx="7">
                  <c:v>11.108024913793102</c:v>
                </c:pt>
                <c:pt idx="8">
                  <c:v>20.149316748548461</c:v>
                </c:pt>
                <c:pt idx="9">
                  <c:v>15.080614061433447</c:v>
                </c:pt>
                <c:pt idx="10">
                  <c:v>19.510437981651375</c:v>
                </c:pt>
                <c:pt idx="11">
                  <c:v>13.23423831031681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5</c:v>
                </c:pt>
                <c:pt idx="1">
                  <c:v>Av Price/Unit 21.26</c:v>
                </c:pt>
                <c:pt idx="2">
                  <c:v>Av Price/Unit 46.29</c:v>
                </c:pt>
                <c:pt idx="3">
                  <c:v>Av Price/Unit 29.25</c:v>
                </c:pt>
                <c:pt idx="4">
                  <c:v>Av Price/Unit 37.17</c:v>
                </c:pt>
                <c:pt idx="5">
                  <c:v>Av Price/Unit 30.16</c:v>
                </c:pt>
                <c:pt idx="6">
                  <c:v>Av Price/Unit 42.09</c:v>
                </c:pt>
                <c:pt idx="7">
                  <c:v>Av Price/Unit 29.14</c:v>
                </c:pt>
                <c:pt idx="8">
                  <c:v>Av Price/Unit 60.18</c:v>
                </c:pt>
                <c:pt idx="9">
                  <c:v>Av Price/Unit 45.43</c:v>
                </c:pt>
                <c:pt idx="10">
                  <c:v>Av Price/Unit 57.39</c:v>
                </c:pt>
                <c:pt idx="11">
                  <c:v>Av Price/Unit 37.32</c:v>
                </c:pt>
              </c:strCache>
            </c:strRef>
          </c:cat>
          <c:val>
            <c:numRef>
              <c:f>Sheet1!$C$2:$C$13</c:f>
              <c:numCache>
                <c:formatCode>General</c:formatCode>
                <c:ptCount val="12"/>
                <c:pt idx="0">
                  <c:v>27.863328635818402</c:v>
                </c:pt>
                <c:pt idx="1">
                  <c:v>13.400851990695177</c:v>
                </c:pt>
                <c:pt idx="2">
                  <c:v>22.314674546288412</c:v>
                </c:pt>
                <c:pt idx="3">
                  <c:v>15.272994038329484</c:v>
                </c:pt>
                <c:pt idx="4">
                  <c:v>18.343853404585417</c:v>
                </c:pt>
                <c:pt idx="5">
                  <c:v>14.099182824799461</c:v>
                </c:pt>
                <c:pt idx="6">
                  <c:v>20.56658287828262</c:v>
                </c:pt>
                <c:pt idx="7">
                  <c:v>13.866977586206898</c:v>
                </c:pt>
                <c:pt idx="8">
                  <c:v>29.212697699866009</c:v>
                </c:pt>
                <c:pt idx="9">
                  <c:v>22.27831508532423</c:v>
                </c:pt>
                <c:pt idx="10">
                  <c:v>27.614722293577984</c:v>
                </c:pt>
                <c:pt idx="11">
                  <c:v>17.09118282696994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5</c:v>
                </c:pt>
                <c:pt idx="1">
                  <c:v>Av Price/Unit 21.26</c:v>
                </c:pt>
                <c:pt idx="2">
                  <c:v>Av Price/Unit 46.29</c:v>
                </c:pt>
                <c:pt idx="3">
                  <c:v>Av Price/Unit 29.25</c:v>
                </c:pt>
                <c:pt idx="4">
                  <c:v>Av Price/Unit 37.17</c:v>
                </c:pt>
                <c:pt idx="5">
                  <c:v>Av Price/Unit 30.16</c:v>
                </c:pt>
                <c:pt idx="6">
                  <c:v>Av Price/Unit 42.09</c:v>
                </c:pt>
                <c:pt idx="7">
                  <c:v>Av Price/Unit 29.14</c:v>
                </c:pt>
                <c:pt idx="8">
                  <c:v>Av Price/Unit 60.18</c:v>
                </c:pt>
                <c:pt idx="9">
                  <c:v>Av Price/Unit 45.43</c:v>
                </c:pt>
                <c:pt idx="10">
                  <c:v>Av Price/Unit 57.39</c:v>
                </c:pt>
                <c:pt idx="11">
                  <c:v>Av Price/Unit 37.32</c:v>
                </c:pt>
              </c:strCache>
            </c:strRef>
          </c:cat>
          <c:val>
            <c:numRef>
              <c:f>Sheet1!$D$2:$D$13</c:f>
              <c:numCache>
                <c:formatCode>General</c:formatCode>
                <c:ptCount val="12"/>
                <c:pt idx="0">
                  <c:v>-1.0043299746767858</c:v>
                </c:pt>
                <c:pt idx="1">
                  <c:v>0.70927796218424533</c:v>
                </c:pt>
                <c:pt idx="2">
                  <c:v>0.41673681451876377</c:v>
                </c:pt>
                <c:pt idx="3">
                  <c:v>-0.99111598310340554</c:v>
                </c:pt>
                <c:pt idx="4">
                  <c:v>-0.1549563351146297</c:v>
                </c:pt>
                <c:pt idx="5">
                  <c:v>-0.41221038558612833</c:v>
                </c:pt>
                <c:pt idx="6">
                  <c:v>-9.3175934417118356E-2</c:v>
                </c:pt>
                <c:pt idx="7">
                  <c:v>-0.69562829821200367</c:v>
                </c:pt>
                <c:pt idx="8">
                  <c:v>0.79002515259789163</c:v>
                </c:pt>
                <c:pt idx="9">
                  <c:v>0.50170794084186809</c:v>
                </c:pt>
                <c:pt idx="10">
                  <c:v>0.70299879204894467</c:v>
                </c:pt>
                <c:pt idx="11">
                  <c:v>0.7732791064175437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5</c:v>
                </c:pt>
                <c:pt idx="1">
                  <c:v>Av Price/Unit 21.26</c:v>
                </c:pt>
                <c:pt idx="2">
                  <c:v>Av Price/Unit 46.29</c:v>
                </c:pt>
                <c:pt idx="3">
                  <c:v>Av Price/Unit 29.25</c:v>
                </c:pt>
                <c:pt idx="4">
                  <c:v>Av Price/Unit 37.17</c:v>
                </c:pt>
                <c:pt idx="5">
                  <c:v>Av Price/Unit 30.16</c:v>
                </c:pt>
                <c:pt idx="6">
                  <c:v>Av Price/Unit 42.09</c:v>
                </c:pt>
                <c:pt idx="7">
                  <c:v>Av Price/Unit 29.14</c:v>
                </c:pt>
                <c:pt idx="8">
                  <c:v>Av Price/Unit 60.18</c:v>
                </c:pt>
                <c:pt idx="9">
                  <c:v>Av Price/Unit 45.43</c:v>
                </c:pt>
                <c:pt idx="10">
                  <c:v>Av Price/Unit 57.39</c:v>
                </c:pt>
                <c:pt idx="11">
                  <c:v>Av Price/Unit 37.32</c:v>
                </c:pt>
              </c:strCache>
            </c:strRef>
          </c:cat>
          <c:val>
            <c:numRef>
              <c:f>Sheet1!$E$2:$E$13</c:f>
              <c:numCache>
                <c:formatCode>General</c:formatCode>
                <c:ptCount val="12"/>
                <c:pt idx="0">
                  <c:v>9.008663201386101</c:v>
                </c:pt>
                <c:pt idx="1">
                  <c:v>3.5432062867197511</c:v>
                </c:pt>
                <c:pt idx="2">
                  <c:v>7.7146039441787329</c:v>
                </c:pt>
                <c:pt idx="3">
                  <c:v>4.875574838212958</c:v>
                </c:pt>
                <c:pt idx="4">
                  <c:v>6.1947940010342997</c:v>
                </c:pt>
                <c:pt idx="5">
                  <c:v>5.0265262263537984</c:v>
                </c:pt>
                <c:pt idx="6">
                  <c:v>7.0155967764346219</c:v>
                </c:pt>
                <c:pt idx="7">
                  <c:v>4.8558748403575969</c:v>
                </c:pt>
                <c:pt idx="8">
                  <c:v>10.030407920202462</c:v>
                </c:pt>
                <c:pt idx="9">
                  <c:v>7.5721274175199076</c:v>
                </c:pt>
                <c:pt idx="10">
                  <c:v>9.5656345565749152</c:v>
                </c:pt>
                <c:pt idx="11">
                  <c:v>6.2197400487408609</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3</c:v>
                </c:pt>
                <c:pt idx="1">
                  <c:v>Av Price/Unit 21.32</c:v>
                </c:pt>
                <c:pt idx="2">
                  <c:v>Av Price/Unit 46.11</c:v>
                </c:pt>
                <c:pt idx="3">
                  <c:v>Av Price/Unit 29.23</c:v>
                </c:pt>
                <c:pt idx="4">
                  <c:v>Av Price/Unit 37.38</c:v>
                </c:pt>
                <c:pt idx="5">
                  <c:v>Av Price/Unit 30.29</c:v>
                </c:pt>
                <c:pt idx="6">
                  <c:v>Av Price/Unit 42.19</c:v>
                </c:pt>
                <c:pt idx="7">
                  <c:v>Av Price/Unit 29.39</c:v>
                </c:pt>
                <c:pt idx="8">
                  <c:v>Av Price/Unit 45.46</c:v>
                </c:pt>
                <c:pt idx="9">
                  <c:v>Av Price/Unit 57.39</c:v>
                </c:pt>
                <c:pt idx="10">
                  <c:v>Av Price/Unit 60.24</c:v>
                </c:pt>
                <c:pt idx="11">
                  <c:v>Av Price/Unit 35.83</c:v>
                </c:pt>
              </c:strCache>
            </c:strRef>
          </c:cat>
          <c:val>
            <c:numRef>
              <c:f>Sheet1!$B$2:$B$13</c:f>
              <c:numCache>
                <c:formatCode>General</c:formatCode>
                <c:ptCount val="12"/>
                <c:pt idx="0">
                  <c:v>18.185646662125343</c:v>
                </c:pt>
                <c:pt idx="1">
                  <c:v>3.6029380697050937</c:v>
                </c:pt>
                <c:pt idx="2">
                  <c:v>15.839146074087202</c:v>
                </c:pt>
                <c:pt idx="3">
                  <c:v>10.1145396771115</c:v>
                </c:pt>
                <c:pt idx="4">
                  <c:v>12.785465752589886</c:v>
                </c:pt>
                <c:pt idx="5">
                  <c:v>11.442178527791688</c:v>
                </c:pt>
                <c:pt idx="6">
                  <c:v>14.645515837531486</c:v>
                </c:pt>
                <c:pt idx="7">
                  <c:v>11.077941390331604</c:v>
                </c:pt>
                <c:pt idx="8">
                  <c:v>15.080695015105739</c:v>
                </c:pt>
                <c:pt idx="9">
                  <c:v>19.52234332493703</c:v>
                </c:pt>
                <c:pt idx="10">
                  <c:v>20.132495103182933</c:v>
                </c:pt>
                <c:pt idx="11">
                  <c:v>11.91142104359029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3</c:v>
                </c:pt>
                <c:pt idx="1">
                  <c:v>Av Price/Unit 21.32</c:v>
                </c:pt>
                <c:pt idx="2">
                  <c:v>Av Price/Unit 46.11</c:v>
                </c:pt>
                <c:pt idx="3">
                  <c:v>Av Price/Unit 29.23</c:v>
                </c:pt>
                <c:pt idx="4">
                  <c:v>Av Price/Unit 37.38</c:v>
                </c:pt>
                <c:pt idx="5">
                  <c:v>Av Price/Unit 30.29</c:v>
                </c:pt>
                <c:pt idx="6">
                  <c:v>Av Price/Unit 42.19</c:v>
                </c:pt>
                <c:pt idx="7">
                  <c:v>Av Price/Unit 29.39</c:v>
                </c:pt>
                <c:pt idx="8">
                  <c:v>Av Price/Unit 45.46</c:v>
                </c:pt>
                <c:pt idx="9">
                  <c:v>Av Price/Unit 57.39</c:v>
                </c:pt>
                <c:pt idx="10">
                  <c:v>Av Price/Unit 60.24</c:v>
                </c:pt>
                <c:pt idx="11">
                  <c:v>Av Price/Unit 35.83</c:v>
                </c:pt>
              </c:strCache>
            </c:strRef>
          </c:cat>
          <c:val>
            <c:numRef>
              <c:f>Sheet1!$C$2:$C$13</c:f>
              <c:numCache>
                <c:formatCode>General</c:formatCode>
                <c:ptCount val="12"/>
                <c:pt idx="0">
                  <c:v>27.859282016348775</c:v>
                </c:pt>
                <c:pt idx="1">
                  <c:v>13.405526193599911</c:v>
                </c:pt>
                <c:pt idx="2">
                  <c:v>22.314807408720309</c:v>
                </c:pt>
                <c:pt idx="3">
                  <c:v>15.251171122952124</c:v>
                </c:pt>
                <c:pt idx="4">
                  <c:v>18.343724131627056</c:v>
                </c:pt>
                <c:pt idx="5">
                  <c:v>14.095509994992488</c:v>
                </c:pt>
                <c:pt idx="6">
                  <c:v>20.568125724181364</c:v>
                </c:pt>
                <c:pt idx="7">
                  <c:v>13.828294087095486</c:v>
                </c:pt>
                <c:pt idx="8">
                  <c:v>22.279362386706946</c:v>
                </c:pt>
                <c:pt idx="9">
                  <c:v>27.617386397984891</c:v>
                </c:pt>
                <c:pt idx="10">
                  <c:v>29.20828104232249</c:v>
                </c:pt>
                <c:pt idx="11">
                  <c:v>18.18777644406270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3</c:v>
                </c:pt>
                <c:pt idx="1">
                  <c:v>Av Price/Unit 21.32</c:v>
                </c:pt>
                <c:pt idx="2">
                  <c:v>Av Price/Unit 46.11</c:v>
                </c:pt>
                <c:pt idx="3">
                  <c:v>Av Price/Unit 29.23</c:v>
                </c:pt>
                <c:pt idx="4">
                  <c:v>Av Price/Unit 37.38</c:v>
                </c:pt>
                <c:pt idx="5">
                  <c:v>Av Price/Unit 30.29</c:v>
                </c:pt>
                <c:pt idx="6">
                  <c:v>Av Price/Unit 42.19</c:v>
                </c:pt>
                <c:pt idx="7">
                  <c:v>Av Price/Unit 29.39</c:v>
                </c:pt>
                <c:pt idx="8">
                  <c:v>Av Price/Unit 45.46</c:v>
                </c:pt>
                <c:pt idx="9">
                  <c:v>Av Price/Unit 57.39</c:v>
                </c:pt>
                <c:pt idx="10">
                  <c:v>Av Price/Unit 60.24</c:v>
                </c:pt>
                <c:pt idx="11">
                  <c:v>Av Price/Unit 35.83</c:v>
                </c:pt>
              </c:strCache>
            </c:strRef>
          </c:cat>
          <c:val>
            <c:numRef>
              <c:f>Sheet1!$D$2:$D$13</c:f>
              <c:numCache>
                <c:formatCode>General</c:formatCode>
                <c:ptCount val="12"/>
                <c:pt idx="0">
                  <c:v>-1.021708604190998</c:v>
                </c:pt>
                <c:pt idx="1">
                  <c:v>0.76051164603654797</c:v>
                </c:pt>
                <c:pt idx="2">
                  <c:v>0.27217119815668411</c:v>
                </c:pt>
                <c:pt idx="3">
                  <c:v>-1.005324288213771</c:v>
                </c:pt>
                <c:pt idx="4">
                  <c:v>2.2242169408897894E-2</c:v>
                </c:pt>
                <c:pt idx="5">
                  <c:v>-0.29807910866299281</c:v>
                </c:pt>
                <c:pt idx="6">
                  <c:v>-5.25374475230862E-2</c:v>
                </c:pt>
                <c:pt idx="7">
                  <c:v>-0.41407051982065823</c:v>
                </c:pt>
                <c:pt idx="8">
                  <c:v>0.52262134944612626</c:v>
                </c:pt>
                <c:pt idx="9">
                  <c:v>0.68692329974810917</c:v>
                </c:pt>
                <c:pt idx="10">
                  <c:v>0.86238346741285454</c:v>
                </c:pt>
                <c:pt idx="11">
                  <c:v>-0.2380565528594935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3</c:v>
                </c:pt>
                <c:pt idx="1">
                  <c:v>Av Price/Unit 21.32</c:v>
                </c:pt>
                <c:pt idx="2">
                  <c:v>Av Price/Unit 46.11</c:v>
                </c:pt>
                <c:pt idx="3">
                  <c:v>Av Price/Unit 29.23</c:v>
                </c:pt>
                <c:pt idx="4">
                  <c:v>Av Price/Unit 37.38</c:v>
                </c:pt>
                <c:pt idx="5">
                  <c:v>Av Price/Unit 30.29</c:v>
                </c:pt>
                <c:pt idx="6">
                  <c:v>Av Price/Unit 42.19</c:v>
                </c:pt>
                <c:pt idx="7">
                  <c:v>Av Price/Unit 29.39</c:v>
                </c:pt>
                <c:pt idx="8">
                  <c:v>Av Price/Unit 45.46</c:v>
                </c:pt>
                <c:pt idx="9">
                  <c:v>Av Price/Unit 57.39</c:v>
                </c:pt>
                <c:pt idx="10">
                  <c:v>Av Price/Unit 60.24</c:v>
                </c:pt>
                <c:pt idx="11">
                  <c:v>Av Price/Unit 35.83</c:v>
                </c:pt>
              </c:strCache>
            </c:strRef>
          </c:cat>
          <c:val>
            <c:numRef>
              <c:f>Sheet1!$E$2:$E$13</c:f>
              <c:numCache>
                <c:formatCode>General</c:formatCode>
                <c:ptCount val="12"/>
                <c:pt idx="0">
                  <c:v>9.0046386401972196</c:v>
                </c:pt>
                <c:pt idx="1">
                  <c:v>3.5537951818683085</c:v>
                </c:pt>
                <c:pt idx="2">
                  <c:v>7.6852180077986425</c:v>
                </c:pt>
                <c:pt idx="3">
                  <c:v>4.8720773023699655</c:v>
                </c:pt>
                <c:pt idx="4">
                  <c:v>6.2302864107251636</c:v>
                </c:pt>
                <c:pt idx="5">
                  <c:v>5.0479218828242338</c:v>
                </c:pt>
                <c:pt idx="6">
                  <c:v>7.0322208228379495</c:v>
                </c:pt>
                <c:pt idx="7">
                  <c:v>4.8984329915212834</c:v>
                </c:pt>
                <c:pt idx="8">
                  <c:v>7.5765357502517601</c:v>
                </c:pt>
                <c:pt idx="9">
                  <c:v>9.5653337531486144</c:v>
                </c:pt>
                <c:pt idx="10">
                  <c:v>10.04063192258365</c:v>
                </c:pt>
                <c:pt idx="11">
                  <c:v>5.972228186958697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4</c:v>
                </c:pt>
                <c:pt idx="2">
                  <c:v>Av Price/Unit 46.07</c:v>
                </c:pt>
                <c:pt idx="3">
                  <c:v>Av Price/Unit 29.31</c:v>
                </c:pt>
                <c:pt idx="4">
                  <c:v>Av Price/Unit 30.21</c:v>
                </c:pt>
                <c:pt idx="5">
                  <c:v>Av Price/Unit 37.33</c:v>
                </c:pt>
                <c:pt idx="6">
                  <c:v>Av Price/Unit 42.06</c:v>
                </c:pt>
                <c:pt idx="7">
                  <c:v>Av Price/Unit 37.41</c:v>
                </c:pt>
                <c:pt idx="8">
                  <c:v>Av Price/Unit 29.33</c:v>
                </c:pt>
                <c:pt idx="9">
                  <c:v>Av Price/Unit 45.55</c:v>
                </c:pt>
                <c:pt idx="10">
                  <c:v>Av Price/Unit 60.25</c:v>
                </c:pt>
                <c:pt idx="11">
                  <c:v>Av Price/Unit 57.56</c:v>
                </c:pt>
              </c:strCache>
            </c:strRef>
          </c:cat>
          <c:val>
            <c:numRef>
              <c:f>Sheet1!$B$2:$B$13</c:f>
              <c:numCache>
                <c:formatCode>General</c:formatCode>
                <c:ptCount val="12"/>
                <c:pt idx="0">
                  <c:v>18.186566998862343</c:v>
                </c:pt>
                <c:pt idx="1">
                  <c:v>3.6061959679541538</c:v>
                </c:pt>
                <c:pt idx="2">
                  <c:v>15.824029539951576</c:v>
                </c:pt>
                <c:pt idx="3">
                  <c:v>10.088208180240128</c:v>
                </c:pt>
                <c:pt idx="4">
                  <c:v>11.442508632702923</c:v>
                </c:pt>
                <c:pt idx="5">
                  <c:v>12.781303416300634</c:v>
                </c:pt>
                <c:pt idx="6">
                  <c:v>14.662505253673411</c:v>
                </c:pt>
                <c:pt idx="7">
                  <c:v>13.237350458715598</c:v>
                </c:pt>
                <c:pt idx="8">
                  <c:v>11.102867955801106</c:v>
                </c:pt>
                <c:pt idx="9">
                  <c:v>15.07977336048007</c:v>
                </c:pt>
                <c:pt idx="10">
                  <c:v>20.155172051696287</c:v>
                </c:pt>
                <c:pt idx="11">
                  <c:v>19.54899302623160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4</c:v>
                </c:pt>
                <c:pt idx="2">
                  <c:v>Av Price/Unit 46.07</c:v>
                </c:pt>
                <c:pt idx="3">
                  <c:v>Av Price/Unit 29.31</c:v>
                </c:pt>
                <c:pt idx="4">
                  <c:v>Av Price/Unit 30.21</c:v>
                </c:pt>
                <c:pt idx="5">
                  <c:v>Av Price/Unit 37.33</c:v>
                </c:pt>
                <c:pt idx="6">
                  <c:v>Av Price/Unit 42.06</c:v>
                </c:pt>
                <c:pt idx="7">
                  <c:v>Av Price/Unit 37.41</c:v>
                </c:pt>
                <c:pt idx="8">
                  <c:v>Av Price/Unit 29.33</c:v>
                </c:pt>
                <c:pt idx="9">
                  <c:v>Av Price/Unit 45.55</c:v>
                </c:pt>
                <c:pt idx="10">
                  <c:v>Av Price/Unit 60.25</c:v>
                </c:pt>
                <c:pt idx="11">
                  <c:v>Av Price/Unit 57.56</c:v>
                </c:pt>
              </c:strCache>
            </c:strRef>
          </c:cat>
          <c:val>
            <c:numRef>
              <c:f>Sheet1!$C$2:$C$13</c:f>
              <c:numCache>
                <c:formatCode>General</c:formatCode>
                <c:ptCount val="12"/>
                <c:pt idx="0">
                  <c:v>27.85642326734926</c:v>
                </c:pt>
                <c:pt idx="1">
                  <c:v>13.400387494517704</c:v>
                </c:pt>
                <c:pt idx="2">
                  <c:v>22.31561162227603</c:v>
                </c:pt>
                <c:pt idx="3">
                  <c:v>15.282159272385362</c:v>
                </c:pt>
                <c:pt idx="4">
                  <c:v>14.09585837480771</c:v>
                </c:pt>
                <c:pt idx="5">
                  <c:v>18.345093923865296</c:v>
                </c:pt>
                <c:pt idx="6">
                  <c:v>20.56876599667314</c:v>
                </c:pt>
                <c:pt idx="7">
                  <c:v>17.091868807339448</c:v>
                </c:pt>
                <c:pt idx="8">
                  <c:v>13.86034640883978</c:v>
                </c:pt>
                <c:pt idx="9">
                  <c:v>22.267438898414063</c:v>
                </c:pt>
                <c:pt idx="10">
                  <c:v>29.214235056542815</c:v>
                </c:pt>
                <c:pt idx="11">
                  <c:v>27.62334990403070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4</c:v>
                </c:pt>
                <c:pt idx="2">
                  <c:v>Av Price/Unit 46.07</c:v>
                </c:pt>
                <c:pt idx="3">
                  <c:v>Av Price/Unit 29.31</c:v>
                </c:pt>
                <c:pt idx="4">
                  <c:v>Av Price/Unit 30.21</c:v>
                </c:pt>
                <c:pt idx="5">
                  <c:v>Av Price/Unit 37.33</c:v>
                </c:pt>
                <c:pt idx="6">
                  <c:v>Av Price/Unit 42.06</c:v>
                </c:pt>
                <c:pt idx="7">
                  <c:v>Av Price/Unit 37.41</c:v>
                </c:pt>
                <c:pt idx="8">
                  <c:v>Av Price/Unit 29.33</c:v>
                </c:pt>
                <c:pt idx="9">
                  <c:v>Av Price/Unit 45.55</c:v>
                </c:pt>
                <c:pt idx="10">
                  <c:v>Av Price/Unit 60.25</c:v>
                </c:pt>
                <c:pt idx="11">
                  <c:v>Av Price/Unit 57.56</c:v>
                </c:pt>
              </c:strCache>
            </c:strRef>
          </c:cat>
          <c:val>
            <c:numRef>
              <c:f>Sheet1!$D$2:$D$13</c:f>
              <c:numCache>
                <c:formatCode>General</c:formatCode>
                <c:ptCount val="12"/>
                <c:pt idx="0">
                  <c:v>-0.98077128706863448</c:v>
                </c:pt>
                <c:pt idx="1">
                  <c:v>0.78093249710047274</c:v>
                </c:pt>
                <c:pt idx="2">
                  <c:v>0.25305877723972259</c:v>
                </c:pt>
                <c:pt idx="3">
                  <c:v>-0.94356288152755852</c:v>
                </c:pt>
                <c:pt idx="4">
                  <c:v>-0.36040422887823453</c:v>
                </c:pt>
                <c:pt idx="5">
                  <c:v>-1.3964446071248915E-2</c:v>
                </c:pt>
                <c:pt idx="6">
                  <c:v>-0.18310102578319487</c:v>
                </c:pt>
                <c:pt idx="7">
                  <c:v>0.84960072761783678</c:v>
                </c:pt>
                <c:pt idx="8">
                  <c:v>-0.52041422432692386</c:v>
                </c:pt>
                <c:pt idx="9">
                  <c:v>0.61160328618372972</c:v>
                </c:pt>
                <c:pt idx="10">
                  <c:v>0.83657027463651445</c:v>
                </c:pt>
                <c:pt idx="11">
                  <c:v>0.7933544252505910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4</c:v>
                </c:pt>
                <c:pt idx="2">
                  <c:v>Av Price/Unit 46.07</c:v>
                </c:pt>
                <c:pt idx="3">
                  <c:v>Av Price/Unit 29.31</c:v>
                </c:pt>
                <c:pt idx="4">
                  <c:v>Av Price/Unit 30.21</c:v>
                </c:pt>
                <c:pt idx="5">
                  <c:v>Av Price/Unit 37.33</c:v>
                </c:pt>
                <c:pt idx="6">
                  <c:v>Av Price/Unit 42.06</c:v>
                </c:pt>
                <c:pt idx="7">
                  <c:v>Av Price/Unit 37.41</c:v>
                </c:pt>
                <c:pt idx="8">
                  <c:v>Av Price/Unit 29.33</c:v>
                </c:pt>
                <c:pt idx="9">
                  <c:v>Av Price/Unit 45.55</c:v>
                </c:pt>
                <c:pt idx="10">
                  <c:v>Av Price/Unit 60.25</c:v>
                </c:pt>
                <c:pt idx="11">
                  <c:v>Av Price/Unit 57.56</c:v>
                </c:pt>
              </c:strCache>
            </c:strRef>
          </c:cat>
          <c:val>
            <c:numRef>
              <c:f>Sheet1!$E$2:$E$13</c:f>
              <c:numCache>
                <c:formatCode>General</c:formatCode>
                <c:ptCount val="12"/>
                <c:pt idx="0">
                  <c:v>9.0124383769434928</c:v>
                </c:pt>
                <c:pt idx="1">
                  <c:v>3.5575031919144653</c:v>
                </c:pt>
                <c:pt idx="2">
                  <c:v>7.6785335956416381</c:v>
                </c:pt>
                <c:pt idx="3">
                  <c:v>4.8853609142195866</c:v>
                </c:pt>
                <c:pt idx="4">
                  <c:v>5.0355925557264785</c:v>
                </c:pt>
                <c:pt idx="5">
                  <c:v>6.2224865788189287</c:v>
                </c:pt>
                <c:pt idx="6">
                  <c:v>7.0096340449126702</c:v>
                </c:pt>
                <c:pt idx="7">
                  <c:v>6.2357639987345781</c:v>
                </c:pt>
                <c:pt idx="8">
                  <c:v>4.8885600280627877</c:v>
                </c:pt>
                <c:pt idx="9">
                  <c:v>7.5917631090155782</c:v>
                </c:pt>
                <c:pt idx="10">
                  <c:v>10.041195476575121</c:v>
                </c:pt>
                <c:pt idx="11">
                  <c:v>9.593143527404560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9.41</c:v>
                </c:pt>
                <c:pt idx="1">
                  <c:v>Av Price/Unit 30.38</c:v>
                </c:pt>
                <c:pt idx="2">
                  <c:v>Av Price/Unit 31.09</c:v>
                </c:pt>
                <c:pt idx="3">
                  <c:v>Av Price/Unit 31.12</c:v>
                </c:pt>
                <c:pt idx="4">
                  <c:v>Av Price/Unit 32.29</c:v>
                </c:pt>
                <c:pt idx="5">
                  <c:v>Av Price/Unit 34.55</c:v>
                </c:pt>
                <c:pt idx="6">
                  <c:v>Av Price/Unit 86.05</c:v>
                </c:pt>
              </c:strCache>
            </c:strRef>
          </c:cat>
          <c:val>
            <c:numRef>
              <c:f>Sheet1!$B$2:$B$8</c:f>
              <c:numCache>
                <c:formatCode>General</c:formatCode>
                <c:ptCount val="7"/>
                <c:pt idx="0">
                  <c:v>10.724886408213299</c:v>
                </c:pt>
                <c:pt idx="1">
                  <c:v>11.620501123595504</c:v>
                </c:pt>
                <c:pt idx="2">
                  <c:v>11.282033818493151</c:v>
                </c:pt>
                <c:pt idx="3">
                  <c:v>12.083528388746803</c:v>
                </c:pt>
                <c:pt idx="4">
                  <c:v>11.873300000000002</c:v>
                </c:pt>
                <c:pt idx="5">
                  <c:v>11.652841666666665</c:v>
                </c:pt>
                <c:pt idx="6">
                  <c:v>26.09150000000000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9.41</c:v>
                </c:pt>
                <c:pt idx="1">
                  <c:v>Av Price/Unit 30.38</c:v>
                </c:pt>
                <c:pt idx="2">
                  <c:v>Av Price/Unit 31.09</c:v>
                </c:pt>
                <c:pt idx="3">
                  <c:v>Av Price/Unit 31.12</c:v>
                </c:pt>
                <c:pt idx="4">
                  <c:v>Av Price/Unit 32.29</c:v>
                </c:pt>
                <c:pt idx="5">
                  <c:v>Av Price/Unit 34.55</c:v>
                </c:pt>
                <c:pt idx="6">
                  <c:v>Av Price/Unit 86.05</c:v>
                </c:pt>
              </c:strCache>
            </c:strRef>
          </c:cat>
          <c:val>
            <c:numRef>
              <c:f>Sheet1!$C$2:$C$8</c:f>
              <c:numCache>
                <c:formatCode>General</c:formatCode>
                <c:ptCount val="7"/>
                <c:pt idx="0">
                  <c:v>14.218438047808766</c:v>
                </c:pt>
                <c:pt idx="1">
                  <c:v>13.510749438202247</c:v>
                </c:pt>
                <c:pt idx="2">
                  <c:v>14.367801626712328</c:v>
                </c:pt>
                <c:pt idx="3">
                  <c:v>14.288093350383633</c:v>
                </c:pt>
                <c:pt idx="4">
                  <c:v>14.906499999999999</c:v>
                </c:pt>
                <c:pt idx="5">
                  <c:v>14.27363888888889</c:v>
                </c:pt>
                <c:pt idx="6">
                  <c:v>31.53099999999999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9.41</c:v>
                </c:pt>
                <c:pt idx="1">
                  <c:v>Av Price/Unit 30.38</c:v>
                </c:pt>
                <c:pt idx="2">
                  <c:v>Av Price/Unit 31.09</c:v>
                </c:pt>
                <c:pt idx="3">
                  <c:v>Av Price/Unit 31.12</c:v>
                </c:pt>
                <c:pt idx="4">
                  <c:v>Av Price/Unit 32.29</c:v>
                </c:pt>
                <c:pt idx="5">
                  <c:v>Av Price/Unit 34.55</c:v>
                </c:pt>
                <c:pt idx="6">
                  <c:v>Av Price/Unit 86.05</c:v>
                </c:pt>
              </c:strCache>
            </c:strRef>
          </c:cat>
          <c:val>
            <c:numRef>
              <c:f>Sheet1!$D$2:$D$8</c:f>
              <c:numCache>
                <c:formatCode>General</c:formatCode>
                <c:ptCount val="7"/>
                <c:pt idx="0">
                  <c:v>-0.43630515629788036</c:v>
                </c:pt>
                <c:pt idx="1">
                  <c:v>0.18705290262172625</c:v>
                </c:pt>
                <c:pt idx="2">
                  <c:v>0.25550385273972509</c:v>
                </c:pt>
                <c:pt idx="3">
                  <c:v>-0.44238047740834929</c:v>
                </c:pt>
                <c:pt idx="4">
                  <c:v>-0.38042893081760809</c:v>
                </c:pt>
                <c:pt idx="5">
                  <c:v>2.8620996913580257</c:v>
                </c:pt>
                <c:pt idx="6">
                  <c:v>11.79416666666668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9.41</c:v>
                </c:pt>
                <c:pt idx="1">
                  <c:v>Av Price/Unit 30.38</c:v>
                </c:pt>
                <c:pt idx="2">
                  <c:v>Av Price/Unit 31.09</c:v>
                </c:pt>
                <c:pt idx="3">
                  <c:v>Av Price/Unit 31.12</c:v>
                </c:pt>
                <c:pt idx="4">
                  <c:v>Av Price/Unit 32.29</c:v>
                </c:pt>
                <c:pt idx="5">
                  <c:v>Av Price/Unit 34.55</c:v>
                </c:pt>
                <c:pt idx="6">
                  <c:v>Av Price/Unit 86.05</c:v>
                </c:pt>
              </c:strCache>
            </c:strRef>
          </c:cat>
          <c:val>
            <c:numRef>
              <c:f>Sheet1!$E$2:$E$8</c:f>
              <c:numCache>
                <c:formatCode>General</c:formatCode>
                <c:ptCount val="7"/>
                <c:pt idx="0">
                  <c:v>4.9013944223107568</c:v>
                </c:pt>
                <c:pt idx="1">
                  <c:v>5.063670411985016</c:v>
                </c:pt>
                <c:pt idx="2">
                  <c:v>5.1810787671232879</c:v>
                </c:pt>
                <c:pt idx="3">
                  <c:v>5.1858482523444147</c:v>
                </c:pt>
                <c:pt idx="4">
                  <c:v>5.2798742138364778</c:v>
                </c:pt>
                <c:pt idx="5">
                  <c:v>5.7577160493827133</c:v>
                </c:pt>
                <c:pt idx="6">
                  <c:v>13.88333333333332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9.66</c:v>
                </c:pt>
                <c:pt idx="1">
                  <c:v>Av Price/Unit 30.40</c:v>
                </c:pt>
                <c:pt idx="2">
                  <c:v>Av Price/Unit 31.32</c:v>
                </c:pt>
                <c:pt idx="3">
                  <c:v>Av Price/Unit 31.85</c:v>
                </c:pt>
                <c:pt idx="4">
                  <c:v>Av Price/Unit 32.47</c:v>
                </c:pt>
                <c:pt idx="5">
                  <c:v>Av Price/Unit 33.37</c:v>
                </c:pt>
                <c:pt idx="6">
                  <c:v>Av Price/Unit 80.35</c:v>
                </c:pt>
              </c:strCache>
            </c:strRef>
          </c:cat>
          <c:val>
            <c:numRef>
              <c:f>Sheet1!$B$2:$B$8</c:f>
              <c:numCache>
                <c:formatCode>General</c:formatCode>
                <c:ptCount val="7"/>
                <c:pt idx="0">
                  <c:v>10.710940945674043</c:v>
                </c:pt>
                <c:pt idx="1">
                  <c:v>11.620570194384451</c:v>
                </c:pt>
                <c:pt idx="2">
                  <c:v>11.273034655380895</c:v>
                </c:pt>
                <c:pt idx="3">
                  <c:v>12.089662650602408</c:v>
                </c:pt>
                <c:pt idx="4">
                  <c:v>11.8733</c:v>
                </c:pt>
                <c:pt idx="5">
                  <c:v>11.67552201492537</c:v>
                </c:pt>
                <c:pt idx="6">
                  <c:v>26.091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9.66</c:v>
                </c:pt>
                <c:pt idx="1">
                  <c:v>Av Price/Unit 30.40</c:v>
                </c:pt>
                <c:pt idx="2">
                  <c:v>Av Price/Unit 31.32</c:v>
                </c:pt>
                <c:pt idx="3">
                  <c:v>Av Price/Unit 31.85</c:v>
                </c:pt>
                <c:pt idx="4">
                  <c:v>Av Price/Unit 32.47</c:v>
                </c:pt>
                <c:pt idx="5">
                  <c:v>Av Price/Unit 33.37</c:v>
                </c:pt>
                <c:pt idx="6">
                  <c:v>Av Price/Unit 80.35</c:v>
                </c:pt>
              </c:strCache>
            </c:strRef>
          </c:cat>
          <c:val>
            <c:numRef>
              <c:f>Sheet1!$C$2:$C$8</c:f>
              <c:numCache>
                <c:formatCode>General</c:formatCode>
                <c:ptCount val="7"/>
                <c:pt idx="0">
                  <c:v>14.226450591786008</c:v>
                </c:pt>
                <c:pt idx="1">
                  <c:v>13.511056419486442</c:v>
                </c:pt>
                <c:pt idx="2">
                  <c:v>14.373779927448609</c:v>
                </c:pt>
                <c:pt idx="3">
                  <c:v>14.28761626506024</c:v>
                </c:pt>
                <c:pt idx="4">
                  <c:v>14.906499999999998</c:v>
                </c:pt>
                <c:pt idx="5">
                  <c:v>14.275235074626865</c:v>
                </c:pt>
                <c:pt idx="6">
                  <c:v>31.53099999999999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9.66</c:v>
                </c:pt>
                <c:pt idx="1">
                  <c:v>Av Price/Unit 30.40</c:v>
                </c:pt>
                <c:pt idx="2">
                  <c:v>Av Price/Unit 31.32</c:v>
                </c:pt>
                <c:pt idx="3">
                  <c:v>Av Price/Unit 31.85</c:v>
                </c:pt>
                <c:pt idx="4">
                  <c:v>Av Price/Unit 32.47</c:v>
                </c:pt>
                <c:pt idx="5">
                  <c:v>Av Price/Unit 33.37</c:v>
                </c:pt>
                <c:pt idx="6">
                  <c:v>Av Price/Unit 80.35</c:v>
                </c:pt>
              </c:strCache>
            </c:strRef>
          </c:cat>
          <c:val>
            <c:numRef>
              <c:f>Sheet1!$D$2:$D$8</c:f>
              <c:numCache>
                <c:formatCode>General</c:formatCode>
                <c:ptCount val="7"/>
                <c:pt idx="0">
                  <c:v>-0.22455560914506023</c:v>
                </c:pt>
                <c:pt idx="1">
                  <c:v>0.2002991920646302</c:v>
                </c:pt>
                <c:pt idx="2">
                  <c:v>0.4490622893994356</c:v>
                </c:pt>
                <c:pt idx="3">
                  <c:v>0.16388574297188541</c:v>
                </c:pt>
                <c:pt idx="4">
                  <c:v>-0.11028919226394152</c:v>
                </c:pt>
                <c:pt idx="5">
                  <c:v>1.860188184079604</c:v>
                </c:pt>
                <c:pt idx="6">
                  <c:v>8.59843023255815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9.66</c:v>
                </c:pt>
                <c:pt idx="1">
                  <c:v>Av Price/Unit 30.40</c:v>
                </c:pt>
                <c:pt idx="2">
                  <c:v>Av Price/Unit 31.32</c:v>
                </c:pt>
                <c:pt idx="3">
                  <c:v>Av Price/Unit 31.85</c:v>
                </c:pt>
                <c:pt idx="4">
                  <c:v>Av Price/Unit 32.47</c:v>
                </c:pt>
                <c:pt idx="5">
                  <c:v>Av Price/Unit 33.37</c:v>
                </c:pt>
                <c:pt idx="6">
                  <c:v>Av Price/Unit 80.35</c:v>
                </c:pt>
              </c:strCache>
            </c:strRef>
          </c:cat>
          <c:val>
            <c:numRef>
              <c:f>Sheet1!$E$2:$E$8</c:f>
              <c:numCache>
                <c:formatCode>General</c:formatCode>
                <c:ptCount val="7"/>
                <c:pt idx="0">
                  <c:v>4.9425573046119808</c:v>
                </c:pt>
                <c:pt idx="1">
                  <c:v>5.0663946884249276</c:v>
                </c:pt>
                <c:pt idx="2">
                  <c:v>5.2191858121725101</c:v>
                </c:pt>
                <c:pt idx="3">
                  <c:v>5.3082329317269075</c:v>
                </c:pt>
                <c:pt idx="4">
                  <c:v>5.3339021615472113</c:v>
                </c:pt>
                <c:pt idx="5">
                  <c:v>5.5621890547263657</c:v>
                </c:pt>
                <c:pt idx="6">
                  <c:v>13.24418604651162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9.60</c:v>
                </c:pt>
                <c:pt idx="1">
                  <c:v>Av Price/Unit 30.48</c:v>
                </c:pt>
                <c:pt idx="2">
                  <c:v>Av Price/Unit 31.36</c:v>
                </c:pt>
                <c:pt idx="3">
                  <c:v>Av Price/Unit 32.56</c:v>
                </c:pt>
                <c:pt idx="4">
                  <c:v>Av Price/Unit 33.05</c:v>
                </c:pt>
                <c:pt idx="5">
                  <c:v>Av Price/Unit 34.46</c:v>
                </c:pt>
                <c:pt idx="6">
                  <c:v>Av Price/Unit 83.34</c:v>
                </c:pt>
              </c:strCache>
            </c:strRef>
          </c:cat>
          <c:val>
            <c:numRef>
              <c:f>Sheet1!$B$2:$B$8</c:f>
              <c:numCache>
                <c:formatCode>General</c:formatCode>
                <c:ptCount val="7"/>
                <c:pt idx="0">
                  <c:v>10.723691123038812</c:v>
                </c:pt>
                <c:pt idx="1">
                  <c:v>11.620473055475712</c:v>
                </c:pt>
                <c:pt idx="2">
                  <c:v>11.281695208462972</c:v>
                </c:pt>
                <c:pt idx="3">
                  <c:v>12.031080871670705</c:v>
                </c:pt>
                <c:pt idx="4">
                  <c:v>11.873299999999999</c:v>
                </c:pt>
                <c:pt idx="5">
                  <c:v>11.696461214953272</c:v>
                </c:pt>
                <c:pt idx="6">
                  <c:v>26.091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9.60</c:v>
                </c:pt>
                <c:pt idx="1">
                  <c:v>Av Price/Unit 30.48</c:v>
                </c:pt>
                <c:pt idx="2">
                  <c:v>Av Price/Unit 31.36</c:v>
                </c:pt>
                <c:pt idx="3">
                  <c:v>Av Price/Unit 32.56</c:v>
                </c:pt>
                <c:pt idx="4">
                  <c:v>Av Price/Unit 33.05</c:v>
                </c:pt>
                <c:pt idx="5">
                  <c:v>Av Price/Unit 34.46</c:v>
                </c:pt>
                <c:pt idx="6">
                  <c:v>Av Price/Unit 83.34</c:v>
                </c:pt>
              </c:strCache>
            </c:strRef>
          </c:cat>
          <c:val>
            <c:numRef>
              <c:f>Sheet1!$C$2:$C$8</c:f>
              <c:numCache>
                <c:formatCode>General</c:formatCode>
                <c:ptCount val="7"/>
                <c:pt idx="0">
                  <c:v>14.219124814203139</c:v>
                </c:pt>
                <c:pt idx="1">
                  <c:v>13.510624691003159</c:v>
                </c:pt>
                <c:pt idx="2">
                  <c:v>14.368026571250782</c:v>
                </c:pt>
                <c:pt idx="3">
                  <c:v>14.29217239709444</c:v>
                </c:pt>
                <c:pt idx="4">
                  <c:v>14.906499999999999</c:v>
                </c:pt>
                <c:pt idx="5">
                  <c:v>14.276708722741434</c:v>
                </c:pt>
                <c:pt idx="6">
                  <c:v>31.53099999999998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9.60</c:v>
                </c:pt>
                <c:pt idx="1">
                  <c:v>Av Price/Unit 30.48</c:v>
                </c:pt>
                <c:pt idx="2">
                  <c:v>Av Price/Unit 31.36</c:v>
                </c:pt>
                <c:pt idx="3">
                  <c:v>Av Price/Unit 32.56</c:v>
                </c:pt>
                <c:pt idx="4">
                  <c:v>Av Price/Unit 33.05</c:v>
                </c:pt>
                <c:pt idx="5">
                  <c:v>Av Price/Unit 34.46</c:v>
                </c:pt>
                <c:pt idx="6">
                  <c:v>Av Price/Unit 83.34</c:v>
                </c:pt>
              </c:strCache>
            </c:strRef>
          </c:cat>
          <c:val>
            <c:numRef>
              <c:f>Sheet1!$D$2:$D$8</c:f>
              <c:numCache>
                <c:formatCode>General</c:formatCode>
                <c:ptCount val="7"/>
                <c:pt idx="0">
                  <c:v>-0.27570375624238608</c:v>
                </c:pt>
                <c:pt idx="1">
                  <c:v>0.26901615023475145</c:v>
                </c:pt>
                <c:pt idx="2">
                  <c:v>0.48090205351587301</c:v>
                </c:pt>
                <c:pt idx="3">
                  <c:v>0.81153284907184897</c:v>
                </c:pt>
                <c:pt idx="4">
                  <c:v>0.27902352941176645</c:v>
                </c:pt>
                <c:pt idx="5">
                  <c:v>2.746975441329166</c:v>
                </c:pt>
                <c:pt idx="6">
                  <c:v>9.821944444444419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9.60</c:v>
                </c:pt>
                <c:pt idx="1">
                  <c:v>Av Price/Unit 30.48</c:v>
                </c:pt>
                <c:pt idx="2">
                  <c:v>Av Price/Unit 31.36</c:v>
                </c:pt>
                <c:pt idx="3">
                  <c:v>Av Price/Unit 32.56</c:v>
                </c:pt>
                <c:pt idx="4">
                  <c:v>Av Price/Unit 33.05</c:v>
                </c:pt>
                <c:pt idx="5">
                  <c:v>Av Price/Unit 34.46</c:v>
                </c:pt>
                <c:pt idx="6">
                  <c:v>Av Price/Unit 83.34</c:v>
                </c:pt>
              </c:strCache>
            </c:strRef>
          </c:cat>
          <c:val>
            <c:numRef>
              <c:f>Sheet1!$E$2:$E$8</c:f>
              <c:numCache>
                <c:formatCode>General</c:formatCode>
                <c:ptCount val="7"/>
                <c:pt idx="0">
                  <c:v>4.9334129605599486</c:v>
                </c:pt>
                <c:pt idx="1">
                  <c:v>5.0800325764108436</c:v>
                </c:pt>
                <c:pt idx="2">
                  <c:v>5.2261356565027963</c:v>
                </c:pt>
                <c:pt idx="3">
                  <c:v>5.4269572235673875</c:v>
                </c:pt>
                <c:pt idx="4">
                  <c:v>5.4117647058823533</c:v>
                </c:pt>
                <c:pt idx="5">
                  <c:v>5.7440290758047734</c:v>
                </c:pt>
                <c:pt idx="6">
                  <c:v>13.48888888888890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E6E5E5"/>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E6E5E5"/>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8B38AD73-5BF7-4981-8F38-639376893F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C4CCA171-E555-44E2-9ECD-17D029FBB9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99F541F-290F-4566-A3BA-B88D5320A0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92F2D215-7AEF-4E6E-9767-BD2ECC78C6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55BD6FDF-7374-4FA4-BDB8-455F8BFA7A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3B3134C9-D1A2-4CF0-85F4-3FD69A023F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B85205C7-9046-4D66-82B1-30322FEB80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04B62B95-597F-4D27-973E-0C6838FE9F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33.437899999999999</c:v>
                </c:pt>
                <c:pt idx="1">
                  <c:v>33.459000000000003</c:v>
                </c:pt>
                <c:pt idx="2">
                  <c:v>33.212200000000003</c:v>
                </c:pt>
                <c:pt idx="3">
                  <c:v>33.354599999999998</c:v>
                </c:pt>
                <c:pt idx="4">
                  <c:v>33.514299999999999</c:v>
                </c:pt>
              </c:numCache>
            </c:numRef>
          </c:xVal>
          <c:yVal>
            <c:numRef>
              <c:f>Sheet1!$B$2:$B$6</c:f>
              <c:numCache>
                <c:formatCode>General</c:formatCode>
                <c:ptCount val="5"/>
                <c:pt idx="0">
                  <c:v>0.43690000000000001</c:v>
                </c:pt>
                <c:pt idx="1">
                  <c:v>0.437</c:v>
                </c:pt>
                <c:pt idx="2">
                  <c:v>0.43959999999999999</c:v>
                </c:pt>
                <c:pt idx="3">
                  <c:v>0.43709999999999999</c:v>
                </c:pt>
                <c:pt idx="4">
                  <c:v>0.43880000000000002</c:v>
                </c:pt>
              </c:numCache>
            </c:numRef>
          </c:yVal>
          <c:bubbleSize>
            <c:numRef>
              <c:f>Sheet1!$C$2:$C$6</c:f>
              <c:numCache>
                <c:formatCode>General</c:formatCode>
                <c:ptCount val="5"/>
                <c:pt idx="0">
                  <c:v>1765585.6015999999</c:v>
                </c:pt>
                <c:pt idx="1">
                  <c:v>153877.92739999999</c:v>
                </c:pt>
                <c:pt idx="2">
                  <c:v>44138.955300000001</c:v>
                </c:pt>
                <c:pt idx="3">
                  <c:v>119476.0429</c:v>
                </c:pt>
                <c:pt idx="4">
                  <c:v>78926.277199999997</c:v>
                </c:pt>
              </c:numCache>
            </c:numRef>
          </c:bubbleSize>
          <c:bubble3D val="0"/>
          <c:extLst>
            <c:ext xmlns:c15="http://schemas.microsoft.com/office/drawing/2012/chart" uri="{02D57815-91ED-43cb-92C2-25804820EDAC}">
              <c15:datalabelsRange>
                <c15:f>Sheet1!$E$2:$E$29</c15:f>
                <c15:dlblRangeCache>
                  <c:ptCount val="28"/>
                  <c:pt idx="0">
                    <c:v>NICOLAS IDF</c:v>
                  </c:pt>
                  <c:pt idx="1">
                    <c:v>NICOLAS PAC</c:v>
                  </c:pt>
                  <c:pt idx="2">
                    <c:v>NICOLAS EST</c:v>
                  </c:pt>
                  <c:pt idx="3">
                    <c:v>NICOLAS RHO</c:v>
                  </c:pt>
                  <c:pt idx="4">
                    <c:v>NICOLAS AQU</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40.21716"/>
          <c:min val="26.569760000000002"/>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7042653756681"/>
        <c:crossBetween val="midCat"/>
      </c:valAx>
      <c:valAx>
        <c:axId val="1011451359"/>
        <c:scaling>
          <c:orientation val="minMax"/>
          <c:max val="0.88751999999999998"/>
          <c:min val="0.10952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3.43297969421857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9.73</c:v>
                </c:pt>
                <c:pt idx="1">
                  <c:v>Av Price/Unit 30.65</c:v>
                </c:pt>
                <c:pt idx="2">
                  <c:v>Av Price/Unit 31.41</c:v>
                </c:pt>
                <c:pt idx="3">
                  <c:v>Av Price/Unit 34.70</c:v>
                </c:pt>
                <c:pt idx="4">
                  <c:v>Av Price/Unit 32.97</c:v>
                </c:pt>
                <c:pt idx="5">
                  <c:v>Av Price/Unit 35.20</c:v>
                </c:pt>
              </c:strCache>
            </c:strRef>
          </c:cat>
          <c:val>
            <c:numRef>
              <c:f>Sheet1!$B$2:$B$7</c:f>
              <c:numCache>
                <c:formatCode>General</c:formatCode>
                <c:ptCount val="6"/>
                <c:pt idx="0">
                  <c:v>10.739800609756097</c:v>
                </c:pt>
                <c:pt idx="1">
                  <c:v>11.620505296442687</c:v>
                </c:pt>
                <c:pt idx="2">
                  <c:v>11.276824135156879</c:v>
                </c:pt>
                <c:pt idx="3">
                  <c:v>11.773234782608695</c:v>
                </c:pt>
                <c:pt idx="4">
                  <c:v>11.8733</c:v>
                </c:pt>
                <c:pt idx="5">
                  <c:v>11.6667036144578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9.73</c:v>
                </c:pt>
                <c:pt idx="1">
                  <c:v>Av Price/Unit 30.65</c:v>
                </c:pt>
                <c:pt idx="2">
                  <c:v>Av Price/Unit 31.41</c:v>
                </c:pt>
                <c:pt idx="3">
                  <c:v>Av Price/Unit 34.70</c:v>
                </c:pt>
                <c:pt idx="4">
                  <c:v>Av Price/Unit 32.97</c:v>
                </c:pt>
                <c:pt idx="5">
                  <c:v>Av Price/Unit 35.20</c:v>
                </c:pt>
              </c:strCache>
            </c:strRef>
          </c:cat>
          <c:val>
            <c:numRef>
              <c:f>Sheet1!$C$2:$C$7</c:f>
              <c:numCache>
                <c:formatCode>General</c:formatCode>
                <c:ptCount val="6"/>
                <c:pt idx="0">
                  <c:v>14.209868902439025</c:v>
                </c:pt>
                <c:pt idx="1">
                  <c:v>13.510767984189725</c:v>
                </c:pt>
                <c:pt idx="2">
                  <c:v>14.371262510056317</c:v>
                </c:pt>
                <c:pt idx="3">
                  <c:v>14.312226086956521</c:v>
                </c:pt>
                <c:pt idx="4">
                  <c:v>14.906500000000001</c:v>
                </c:pt>
                <c:pt idx="5">
                  <c:v>14.27461445783132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9.73</c:v>
                </c:pt>
                <c:pt idx="1">
                  <c:v>Av Price/Unit 30.65</c:v>
                </c:pt>
                <c:pt idx="2">
                  <c:v>Av Price/Unit 31.41</c:v>
                </c:pt>
                <c:pt idx="3">
                  <c:v>Av Price/Unit 34.70</c:v>
                </c:pt>
                <c:pt idx="4">
                  <c:v>Av Price/Unit 32.97</c:v>
                </c:pt>
                <c:pt idx="5">
                  <c:v>Av Price/Unit 35.20</c:v>
                </c:pt>
              </c:strCache>
            </c:strRef>
          </c:cat>
          <c:val>
            <c:numRef>
              <c:f>Sheet1!$D$2:$D$7</c:f>
              <c:numCache>
                <c:formatCode>General</c:formatCode>
                <c:ptCount val="6"/>
                <c:pt idx="0">
                  <c:v>-0.17530072905620386</c:v>
                </c:pt>
                <c:pt idx="1">
                  <c:v>0.4088626350461162</c:v>
                </c:pt>
                <c:pt idx="2">
                  <c:v>0.52509696969697117</c:v>
                </c:pt>
                <c:pt idx="3">
                  <c:v>2.8348289855072473</c:v>
                </c:pt>
                <c:pt idx="4">
                  <c:v>0.26288292682926695</c:v>
                </c:pt>
                <c:pt idx="5">
                  <c:v>3.396031325301208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9.73</c:v>
                </c:pt>
                <c:pt idx="1">
                  <c:v>Av Price/Unit 30.65</c:v>
                </c:pt>
                <c:pt idx="2">
                  <c:v>Av Price/Unit 31.41</c:v>
                </c:pt>
                <c:pt idx="3">
                  <c:v>Av Price/Unit 34.70</c:v>
                </c:pt>
                <c:pt idx="4">
                  <c:v>Av Price/Unit 32.97</c:v>
                </c:pt>
                <c:pt idx="5">
                  <c:v>Av Price/Unit 35.20</c:v>
                </c:pt>
              </c:strCache>
            </c:strRef>
          </c:cat>
          <c:val>
            <c:numRef>
              <c:f>Sheet1!$E$2:$E$7</c:f>
              <c:numCache>
                <c:formatCode>General</c:formatCode>
                <c:ptCount val="6"/>
                <c:pt idx="0">
                  <c:v>4.9548647932131491</c:v>
                </c:pt>
                <c:pt idx="1">
                  <c:v>5.1080368906455842</c:v>
                </c:pt>
                <c:pt idx="2">
                  <c:v>5.2346473585411646</c:v>
                </c:pt>
                <c:pt idx="3">
                  <c:v>5.7840579710144917</c:v>
                </c:pt>
                <c:pt idx="4">
                  <c:v>5.4085365853658534</c:v>
                </c:pt>
                <c:pt idx="5">
                  <c:v>5.867469879518072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9.91</c:v>
                </c:pt>
                <c:pt idx="1">
                  <c:v>Av Price/Unit 30.69</c:v>
                </c:pt>
                <c:pt idx="2">
                  <c:v>Av Price/Unit 31.44</c:v>
                </c:pt>
                <c:pt idx="3">
                  <c:v>Av Price/Unit 34.35</c:v>
                </c:pt>
                <c:pt idx="4">
                  <c:v>Av Price/Unit 34.12</c:v>
                </c:pt>
                <c:pt idx="5">
                  <c:v>Av Price/Unit 34.20</c:v>
                </c:pt>
              </c:strCache>
            </c:strRef>
          </c:cat>
          <c:val>
            <c:numRef>
              <c:f>Sheet1!$B$2:$B$7</c:f>
              <c:numCache>
                <c:formatCode>General</c:formatCode>
                <c:ptCount val="6"/>
                <c:pt idx="0">
                  <c:v>10.704660296096902</c:v>
                </c:pt>
                <c:pt idx="1">
                  <c:v>11.620573314993123</c:v>
                </c:pt>
                <c:pt idx="2">
                  <c:v>11.300538600451468</c:v>
                </c:pt>
                <c:pt idx="3">
                  <c:v>11.761383333333333</c:v>
                </c:pt>
                <c:pt idx="4">
                  <c:v>12.123485714285712</c:v>
                </c:pt>
                <c:pt idx="5">
                  <c:v>11.87330000000000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9.91</c:v>
                </c:pt>
                <c:pt idx="1">
                  <c:v>Av Price/Unit 30.69</c:v>
                </c:pt>
                <c:pt idx="2">
                  <c:v>Av Price/Unit 31.44</c:v>
                </c:pt>
                <c:pt idx="3">
                  <c:v>Av Price/Unit 34.35</c:v>
                </c:pt>
                <c:pt idx="4">
                  <c:v>Av Price/Unit 34.12</c:v>
                </c:pt>
                <c:pt idx="5">
                  <c:v>Av Price/Unit 34.20</c:v>
                </c:pt>
              </c:strCache>
            </c:strRef>
          </c:cat>
          <c:val>
            <c:numRef>
              <c:f>Sheet1!$C$2:$C$7</c:f>
              <c:numCache>
                <c:formatCode>General</c:formatCode>
                <c:ptCount val="6"/>
                <c:pt idx="0">
                  <c:v>14.230059219380886</c:v>
                </c:pt>
                <c:pt idx="1">
                  <c:v>13.511070288858324</c:v>
                </c:pt>
                <c:pt idx="2">
                  <c:v>14.355508577878105</c:v>
                </c:pt>
                <c:pt idx="3">
                  <c:v>14.281277777777778</c:v>
                </c:pt>
                <c:pt idx="4">
                  <c:v>14.284985714285714</c:v>
                </c:pt>
                <c:pt idx="5">
                  <c:v>14.90649999999999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9.91</c:v>
                </c:pt>
                <c:pt idx="1">
                  <c:v>Av Price/Unit 30.69</c:v>
                </c:pt>
                <c:pt idx="2">
                  <c:v>Av Price/Unit 31.44</c:v>
                </c:pt>
                <c:pt idx="3">
                  <c:v>Av Price/Unit 34.35</c:v>
                </c:pt>
                <c:pt idx="4">
                  <c:v>Av Price/Unit 34.12</c:v>
                </c:pt>
                <c:pt idx="5">
                  <c:v>Av Price/Unit 34.20</c:v>
                </c:pt>
              </c:strCache>
            </c:strRef>
          </c:cat>
          <c:val>
            <c:numRef>
              <c:f>Sheet1!$D$2:$D$7</c:f>
              <c:numCache>
                <c:formatCode>General</c:formatCode>
                <c:ptCount val="6"/>
                <c:pt idx="0">
                  <c:v>-6.2632495887555706E-3</c:v>
                </c:pt>
                <c:pt idx="1">
                  <c:v>0.44602544704264346</c:v>
                </c:pt>
                <c:pt idx="2">
                  <c:v>0.54592505643341127</c:v>
                </c:pt>
                <c:pt idx="3">
                  <c:v>2.5800240740740676</c:v>
                </c:pt>
                <c:pt idx="4">
                  <c:v>2.0290285714285687</c:v>
                </c:pt>
                <c:pt idx="5">
                  <c:v>0.800328205128202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9.91</c:v>
                </c:pt>
                <c:pt idx="1">
                  <c:v>Av Price/Unit 30.69</c:v>
                </c:pt>
                <c:pt idx="2">
                  <c:v>Av Price/Unit 31.44</c:v>
                </c:pt>
                <c:pt idx="3">
                  <c:v>Av Price/Unit 34.35</c:v>
                </c:pt>
                <c:pt idx="4">
                  <c:v>Av Price/Unit 34.12</c:v>
                </c:pt>
                <c:pt idx="5">
                  <c:v>Av Price/Unit 34.20</c:v>
                </c:pt>
              </c:strCache>
            </c:strRef>
          </c:cat>
          <c:val>
            <c:numRef>
              <c:f>Sheet1!$E$2:$E$7</c:f>
              <c:numCache>
                <c:formatCode>General</c:formatCode>
                <c:ptCount val="6"/>
                <c:pt idx="0">
                  <c:v>4.9856811724241075</c:v>
                </c:pt>
                <c:pt idx="1">
                  <c:v>5.1155433287482808</c:v>
                </c:pt>
                <c:pt idx="2">
                  <c:v>5.2404063205417568</c:v>
                </c:pt>
                <c:pt idx="3">
                  <c:v>5.7245370370370416</c:v>
                </c:pt>
                <c:pt idx="4">
                  <c:v>5.6875</c:v>
                </c:pt>
                <c:pt idx="5">
                  <c:v>5.516025641025639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29.47</c:v>
                </c:pt>
                <c:pt idx="1">
                  <c:v>Av Price/Unit 30.62</c:v>
                </c:pt>
                <c:pt idx="2">
                  <c:v>Av Price/Unit 32.08</c:v>
                </c:pt>
              </c:strCache>
            </c:strRef>
          </c:cat>
          <c:val>
            <c:numRef>
              <c:f>Sheet1!$B$2:$B$4</c:f>
              <c:numCache>
                <c:formatCode>General</c:formatCode>
                <c:ptCount val="3"/>
                <c:pt idx="0">
                  <c:v>10.766153137410642</c:v>
                </c:pt>
                <c:pt idx="1">
                  <c:v>11.619915484804631</c:v>
                </c:pt>
                <c:pt idx="2">
                  <c:v>11.32764295302013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29.47</c:v>
                </c:pt>
                <c:pt idx="1">
                  <c:v>Av Price/Unit 30.62</c:v>
                </c:pt>
                <c:pt idx="2">
                  <c:v>Av Price/Unit 32.08</c:v>
                </c:pt>
              </c:strCache>
            </c:strRef>
          </c:cat>
          <c:val>
            <c:numRef>
              <c:f>Sheet1!$C$2:$C$4</c:f>
              <c:numCache>
                <c:formatCode>General</c:formatCode>
                <c:ptCount val="3"/>
                <c:pt idx="0">
                  <c:v>14.194727720413027</c:v>
                </c:pt>
                <c:pt idx="1">
                  <c:v>13.508146599131692</c:v>
                </c:pt>
                <c:pt idx="2">
                  <c:v>14.33750268456376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29.47</c:v>
                </c:pt>
                <c:pt idx="1">
                  <c:v>Av Price/Unit 30.62</c:v>
                </c:pt>
                <c:pt idx="2">
                  <c:v>Av Price/Unit 32.08</c:v>
                </c:pt>
              </c:strCache>
            </c:strRef>
          </c:cat>
          <c:val>
            <c:numRef>
              <c:f>Sheet1!$D$2:$D$4</c:f>
              <c:numCache>
                <c:formatCode>General</c:formatCode>
                <c:ptCount val="3"/>
                <c:pt idx="0">
                  <c:v>-0.40663054011119826</c:v>
                </c:pt>
                <c:pt idx="1">
                  <c:v>0.38804134105162191</c:v>
                </c:pt>
                <c:pt idx="2">
                  <c:v>1.068568680089491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29.47</c:v>
                </c:pt>
                <c:pt idx="1">
                  <c:v>Av Price/Unit 30.62</c:v>
                </c:pt>
                <c:pt idx="2">
                  <c:v>Av Price/Unit 32.08</c:v>
                </c:pt>
              </c:strCache>
            </c:strRef>
          </c:cat>
          <c:val>
            <c:numRef>
              <c:f>Sheet1!$E$2:$E$4</c:f>
              <c:numCache>
                <c:formatCode>General</c:formatCode>
                <c:ptCount val="3"/>
                <c:pt idx="0">
                  <c:v>4.9108419380460679</c:v>
                </c:pt>
                <c:pt idx="1">
                  <c:v>5.1032320308731238</c:v>
                </c:pt>
                <c:pt idx="2">
                  <c:v>5.34675615212527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36</c:v>
                </c:pt>
                <c:pt idx="1">
                  <c:v>Av Price/Unit 30.42</c:v>
                </c:pt>
                <c:pt idx="2">
                  <c:v>Av Price/Unit 31.53</c:v>
                </c:pt>
                <c:pt idx="3">
                  <c:v>Av Price/Unit 32.83</c:v>
                </c:pt>
                <c:pt idx="4">
                  <c:v>Av Price/Unit 36.95</c:v>
                </c:pt>
              </c:strCache>
            </c:strRef>
          </c:cat>
          <c:val>
            <c:numRef>
              <c:f>Sheet1!$B$2:$B$6</c:f>
              <c:numCache>
                <c:formatCode>General</c:formatCode>
                <c:ptCount val="5"/>
                <c:pt idx="0">
                  <c:v>10.749768686868688</c:v>
                </c:pt>
                <c:pt idx="1">
                  <c:v>11.620534439834024</c:v>
                </c:pt>
                <c:pt idx="2">
                  <c:v>11.281589795918366</c:v>
                </c:pt>
                <c:pt idx="3">
                  <c:v>11.943612030075187</c:v>
                </c:pt>
                <c:pt idx="4">
                  <c:v>11.66152499999999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36</c:v>
                </c:pt>
                <c:pt idx="1">
                  <c:v>Av Price/Unit 30.42</c:v>
                </c:pt>
                <c:pt idx="2">
                  <c:v>Av Price/Unit 31.53</c:v>
                </c:pt>
                <c:pt idx="3">
                  <c:v>Av Price/Unit 32.83</c:v>
                </c:pt>
                <c:pt idx="4">
                  <c:v>Av Price/Unit 36.95</c:v>
                </c:pt>
              </c:strCache>
            </c:strRef>
          </c:cat>
          <c:val>
            <c:numRef>
              <c:f>Sheet1!$C$2:$C$6</c:f>
              <c:numCache>
                <c:formatCode>General</c:formatCode>
                <c:ptCount val="5"/>
                <c:pt idx="0">
                  <c:v>14.204141616161616</c:v>
                </c:pt>
                <c:pt idx="1">
                  <c:v>13.510897510373443</c:v>
                </c:pt>
                <c:pt idx="2">
                  <c:v>14.368096598639456</c:v>
                </c:pt>
                <c:pt idx="3">
                  <c:v>14.298975187969925</c:v>
                </c:pt>
                <c:pt idx="4">
                  <c:v>14.27424999999999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36</c:v>
                </c:pt>
                <c:pt idx="1">
                  <c:v>Av Price/Unit 30.42</c:v>
                </c:pt>
                <c:pt idx="2">
                  <c:v>Av Price/Unit 31.53</c:v>
                </c:pt>
                <c:pt idx="3">
                  <c:v>Av Price/Unit 32.83</c:v>
                </c:pt>
                <c:pt idx="4">
                  <c:v>Av Price/Unit 36.95</c:v>
                </c:pt>
              </c:strCache>
            </c:strRef>
          </c:cat>
          <c:val>
            <c:numRef>
              <c:f>Sheet1!$D$2:$D$6</c:f>
              <c:numCache>
                <c:formatCode>General</c:formatCode>
                <c:ptCount val="5"/>
                <c:pt idx="0">
                  <c:v>-0.48978177328843486</c:v>
                </c:pt>
                <c:pt idx="1">
                  <c:v>0.21775919778699659</c:v>
                </c:pt>
                <c:pt idx="2">
                  <c:v>0.62199009826152718</c:v>
                </c:pt>
                <c:pt idx="3">
                  <c:v>1.113302506265665</c:v>
                </c:pt>
                <c:pt idx="4">
                  <c:v>4.855891666666671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36</c:v>
                </c:pt>
                <c:pt idx="1">
                  <c:v>Av Price/Unit 30.42</c:v>
                </c:pt>
                <c:pt idx="2">
                  <c:v>Av Price/Unit 31.53</c:v>
                </c:pt>
                <c:pt idx="3">
                  <c:v>Av Price/Unit 32.83</c:v>
                </c:pt>
                <c:pt idx="4">
                  <c:v>Av Price/Unit 36.95</c:v>
                </c:pt>
              </c:strCache>
            </c:strRef>
          </c:cat>
          <c:val>
            <c:numRef>
              <c:f>Sheet1!$E$2:$E$6</c:f>
              <c:numCache>
                <c:formatCode>General</c:formatCode>
                <c:ptCount val="5"/>
                <c:pt idx="0">
                  <c:v>4.8928170594837228</c:v>
                </c:pt>
                <c:pt idx="1">
                  <c:v>5.069847856154909</c:v>
                </c:pt>
                <c:pt idx="2">
                  <c:v>5.2543461829176099</c:v>
                </c:pt>
                <c:pt idx="3">
                  <c:v>5.4711779448621538</c:v>
                </c:pt>
                <c:pt idx="4">
                  <c:v>6.158333333333329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9.67</c:v>
                </c:pt>
                <c:pt idx="1">
                  <c:v>Av Price/Unit 30.45</c:v>
                </c:pt>
                <c:pt idx="2">
                  <c:v>Av Price/Unit 31.26</c:v>
                </c:pt>
                <c:pt idx="3">
                  <c:v>Av Price/Unit 32.02</c:v>
                </c:pt>
                <c:pt idx="4">
                  <c:v>Av Price/Unit 32.30</c:v>
                </c:pt>
                <c:pt idx="5">
                  <c:v>Av Price/Unit 32.95</c:v>
                </c:pt>
                <c:pt idx="6">
                  <c:v>Av Price/Unit 79.58</c:v>
                </c:pt>
              </c:strCache>
            </c:strRef>
          </c:cat>
          <c:val>
            <c:numRef>
              <c:f>Sheet1!$B$2:$B$8</c:f>
              <c:numCache>
                <c:formatCode>General</c:formatCode>
                <c:ptCount val="7"/>
                <c:pt idx="0">
                  <c:v>10.710384155656689</c:v>
                </c:pt>
                <c:pt idx="1">
                  <c:v>11.620514537722476</c:v>
                </c:pt>
                <c:pt idx="2">
                  <c:v>11.273986050420168</c:v>
                </c:pt>
                <c:pt idx="3">
                  <c:v>12.045812987012987</c:v>
                </c:pt>
                <c:pt idx="4">
                  <c:v>11.8733</c:v>
                </c:pt>
                <c:pt idx="5">
                  <c:v>11.695143942505133</c:v>
                </c:pt>
                <c:pt idx="6">
                  <c:v>26.091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9.67</c:v>
                </c:pt>
                <c:pt idx="1">
                  <c:v>Av Price/Unit 30.45</c:v>
                </c:pt>
                <c:pt idx="2">
                  <c:v>Av Price/Unit 31.26</c:v>
                </c:pt>
                <c:pt idx="3">
                  <c:v>Av Price/Unit 32.02</c:v>
                </c:pt>
                <c:pt idx="4">
                  <c:v>Av Price/Unit 32.30</c:v>
                </c:pt>
                <c:pt idx="5">
                  <c:v>Av Price/Unit 32.95</c:v>
                </c:pt>
                <c:pt idx="6">
                  <c:v>Av Price/Unit 79.58</c:v>
                </c:pt>
              </c:strCache>
            </c:strRef>
          </c:cat>
          <c:val>
            <c:numRef>
              <c:f>Sheet1!$C$2:$C$8</c:f>
              <c:numCache>
                <c:formatCode>General</c:formatCode>
                <c:ptCount val="7"/>
                <c:pt idx="0">
                  <c:v>14.226770502616331</c:v>
                </c:pt>
                <c:pt idx="1">
                  <c:v>13.510809056544341</c:v>
                </c:pt>
                <c:pt idx="2">
                  <c:v>14.373147899159665</c:v>
                </c:pt>
                <c:pt idx="3">
                  <c:v>14.291026623376624</c:v>
                </c:pt>
                <c:pt idx="4">
                  <c:v>14.906499999999999</c:v>
                </c:pt>
                <c:pt idx="5">
                  <c:v>14.276616016427104</c:v>
                </c:pt>
                <c:pt idx="6">
                  <c:v>31.53099999999999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9.67</c:v>
                </c:pt>
                <c:pt idx="1">
                  <c:v>Av Price/Unit 30.45</c:v>
                </c:pt>
                <c:pt idx="2">
                  <c:v>Av Price/Unit 31.26</c:v>
                </c:pt>
                <c:pt idx="3">
                  <c:v>Av Price/Unit 32.02</c:v>
                </c:pt>
                <c:pt idx="4">
                  <c:v>Av Price/Unit 32.30</c:v>
                </c:pt>
                <c:pt idx="5">
                  <c:v>Av Price/Unit 32.95</c:v>
                </c:pt>
                <c:pt idx="6">
                  <c:v>Av Price/Unit 79.58</c:v>
                </c:pt>
              </c:strCache>
            </c:strRef>
          </c:cat>
          <c:val>
            <c:numRef>
              <c:f>Sheet1!$D$2:$D$8</c:f>
              <c:numCache>
                <c:formatCode>General</c:formatCode>
                <c:ptCount val="7"/>
                <c:pt idx="0">
                  <c:v>-0.21529505068933119</c:v>
                </c:pt>
                <c:pt idx="1">
                  <c:v>0.24237451829684531</c:v>
                </c:pt>
                <c:pt idx="2">
                  <c:v>0.39987243697478547</c:v>
                </c:pt>
                <c:pt idx="3">
                  <c:v>0.35038982683982667</c:v>
                </c:pt>
                <c:pt idx="4">
                  <c:v>-0.15550621468927162</c:v>
                </c:pt>
                <c:pt idx="5">
                  <c:v>1.4871722792607862</c:v>
                </c:pt>
                <c:pt idx="6">
                  <c:v>8.160833333333329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9.67</c:v>
                </c:pt>
                <c:pt idx="1">
                  <c:v>Av Price/Unit 30.45</c:v>
                </c:pt>
                <c:pt idx="2">
                  <c:v>Av Price/Unit 31.26</c:v>
                </c:pt>
                <c:pt idx="3">
                  <c:v>Av Price/Unit 32.02</c:v>
                </c:pt>
                <c:pt idx="4">
                  <c:v>Av Price/Unit 32.30</c:v>
                </c:pt>
                <c:pt idx="5">
                  <c:v>Av Price/Unit 32.95</c:v>
                </c:pt>
                <c:pt idx="6">
                  <c:v>Av Price/Unit 79.58</c:v>
                </c:pt>
              </c:strCache>
            </c:strRef>
          </c:cat>
          <c:val>
            <c:numRef>
              <c:f>Sheet1!$E$2:$E$8</c:f>
              <c:numCache>
                <c:formatCode>General</c:formatCode>
                <c:ptCount val="7"/>
                <c:pt idx="0">
                  <c:v>4.9443620227617489</c:v>
                </c:pt>
                <c:pt idx="1">
                  <c:v>5.0747493043523884</c:v>
                </c:pt>
                <c:pt idx="2">
                  <c:v>5.209411764705882</c:v>
                </c:pt>
                <c:pt idx="3">
                  <c:v>5.3374458874458854</c:v>
                </c:pt>
                <c:pt idx="4">
                  <c:v>5.3248587570621471</c:v>
                </c:pt>
                <c:pt idx="5">
                  <c:v>5.4917864476386002</c:v>
                </c:pt>
                <c:pt idx="6">
                  <c:v>13.1566666666666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29.22</c:v>
                </c:pt>
                <c:pt idx="1">
                  <c:v>Av Price/Unit 30.15</c:v>
                </c:pt>
                <c:pt idx="2">
                  <c:v>Av Price/Unit 31.75</c:v>
                </c:pt>
              </c:strCache>
            </c:strRef>
          </c:cat>
          <c:val>
            <c:numRef>
              <c:f>Sheet1!$B$2:$B$4</c:f>
              <c:numCache>
                <c:formatCode>General</c:formatCode>
                <c:ptCount val="3"/>
                <c:pt idx="0">
                  <c:v>10.762634455270151</c:v>
                </c:pt>
                <c:pt idx="1">
                  <c:v>11.620483290488433</c:v>
                </c:pt>
                <c:pt idx="2">
                  <c:v>11.27871864406779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29.22</c:v>
                </c:pt>
                <c:pt idx="1">
                  <c:v>Av Price/Unit 30.15</c:v>
                </c:pt>
                <c:pt idx="2">
                  <c:v>Av Price/Unit 31.75</c:v>
                </c:pt>
              </c:strCache>
            </c:strRef>
          </c:cat>
          <c:val>
            <c:numRef>
              <c:f>Sheet1!$C$2:$C$4</c:f>
              <c:numCache>
                <c:formatCode>General</c:formatCode>
                <c:ptCount val="3"/>
                <c:pt idx="0">
                  <c:v>14.196749424269266</c:v>
                </c:pt>
                <c:pt idx="1">
                  <c:v>13.510670179948587</c:v>
                </c:pt>
                <c:pt idx="2">
                  <c:v>14.37000395480225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29.22</c:v>
                </c:pt>
                <c:pt idx="1">
                  <c:v>Av Price/Unit 30.15</c:v>
                </c:pt>
                <c:pt idx="2">
                  <c:v>Av Price/Unit 31.75</c:v>
                </c:pt>
              </c:strCache>
            </c:strRef>
          </c:cat>
          <c:val>
            <c:numRef>
              <c:f>Sheet1!$D$2:$D$4</c:f>
              <c:numCache>
                <c:formatCode>General</c:formatCode>
                <c:ptCount val="3"/>
                <c:pt idx="0">
                  <c:v>-0.61331375848833503</c:v>
                </c:pt>
                <c:pt idx="1">
                  <c:v>-4.8098543273304983E-3</c:v>
                </c:pt>
                <c:pt idx="2">
                  <c:v>0.8060259887005685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29.22</c:v>
                </c:pt>
                <c:pt idx="1">
                  <c:v>Av Price/Unit 30.15</c:v>
                </c:pt>
                <c:pt idx="2">
                  <c:v>Av Price/Unit 31.75</c:v>
                </c:pt>
              </c:strCache>
            </c:strRef>
          </c:cat>
          <c:val>
            <c:numRef>
              <c:f>Sheet1!$E$2:$E$4</c:f>
              <c:numCache>
                <c:formatCode>General</c:formatCode>
                <c:ptCount val="3"/>
                <c:pt idx="0">
                  <c:v>4.8692057868320004</c:v>
                </c:pt>
                <c:pt idx="1">
                  <c:v>5.0252784918594653</c:v>
                </c:pt>
                <c:pt idx="2">
                  <c:v>5.29096045197740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29.44</c:v>
                </c:pt>
                <c:pt idx="1">
                  <c:v>Av Price/Unit 31.07</c:v>
                </c:pt>
                <c:pt idx="2">
                  <c:v>Av Price/Unit 30.66</c:v>
                </c:pt>
                <c:pt idx="3">
                  <c:v>Av Price/Unit 33.82</c:v>
                </c:pt>
              </c:strCache>
            </c:strRef>
          </c:cat>
          <c:val>
            <c:numRef>
              <c:f>Sheet1!$B$2:$B$5</c:f>
              <c:numCache>
                <c:formatCode>General</c:formatCode>
                <c:ptCount val="4"/>
                <c:pt idx="0">
                  <c:v>10.790942603550295</c:v>
                </c:pt>
                <c:pt idx="1">
                  <c:v>11.348825951557094</c:v>
                </c:pt>
                <c:pt idx="2">
                  <c:v>11.620282242990655</c:v>
                </c:pt>
                <c:pt idx="3">
                  <c:v>12.09955294117646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29.44</c:v>
                </c:pt>
                <c:pt idx="1">
                  <c:v>Av Price/Unit 31.07</c:v>
                </c:pt>
                <c:pt idx="2">
                  <c:v>Av Price/Unit 30.66</c:v>
                </c:pt>
                <c:pt idx="3">
                  <c:v>Av Price/Unit 33.82</c:v>
                </c:pt>
              </c:strCache>
            </c:strRef>
          </c:cat>
          <c:val>
            <c:numRef>
              <c:f>Sheet1!$C$2:$C$5</c:f>
              <c:numCache>
                <c:formatCode>General</c:formatCode>
                <c:ptCount val="4"/>
                <c:pt idx="0">
                  <c:v>14.180484615384614</c:v>
                </c:pt>
                <c:pt idx="1">
                  <c:v>14.32343044982699</c:v>
                </c:pt>
                <c:pt idx="2">
                  <c:v>13.509776635514019</c:v>
                </c:pt>
                <c:pt idx="3">
                  <c:v>14.28684705882353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29.44</c:v>
                </c:pt>
                <c:pt idx="1">
                  <c:v>Av Price/Unit 31.07</c:v>
                </c:pt>
                <c:pt idx="2">
                  <c:v>Av Price/Unit 30.66</c:v>
                </c:pt>
                <c:pt idx="3">
                  <c:v>Av Price/Unit 33.82</c:v>
                </c:pt>
              </c:strCache>
            </c:strRef>
          </c:cat>
          <c:val>
            <c:numRef>
              <c:f>Sheet1!$D$2:$D$5</c:f>
              <c:numCache>
                <c:formatCode>General</c:formatCode>
                <c:ptCount val="4"/>
                <c:pt idx="0">
                  <c:v>-0.44065417488494774</c:v>
                </c:pt>
                <c:pt idx="1">
                  <c:v>0.21723333333333272</c:v>
                </c:pt>
                <c:pt idx="2">
                  <c:v>0.41895490654205858</c:v>
                </c:pt>
                <c:pt idx="3">
                  <c:v>1.799874509803917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29.44</c:v>
                </c:pt>
                <c:pt idx="1">
                  <c:v>Av Price/Unit 31.07</c:v>
                </c:pt>
                <c:pt idx="2">
                  <c:v>Av Price/Unit 30.66</c:v>
                </c:pt>
                <c:pt idx="3">
                  <c:v>Av Price/Unit 33.82</c:v>
                </c:pt>
              </c:strCache>
            </c:strRef>
          </c:cat>
          <c:val>
            <c:numRef>
              <c:f>Sheet1!$E$2:$E$5</c:f>
              <c:numCache>
                <c:formatCode>General</c:formatCode>
                <c:ptCount val="4"/>
                <c:pt idx="0">
                  <c:v>4.9061472715318892</c:v>
                </c:pt>
                <c:pt idx="1">
                  <c:v>5.1779123414071488</c:v>
                </c:pt>
                <c:pt idx="2">
                  <c:v>5.1098130841121492</c:v>
                </c:pt>
                <c:pt idx="3">
                  <c:v>5.637254901960784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56</c:v>
                </c:pt>
                <c:pt idx="1">
                  <c:v>Av Price/Unit 30.57</c:v>
                </c:pt>
                <c:pt idx="2">
                  <c:v>Av Price/Unit 31.90</c:v>
                </c:pt>
                <c:pt idx="3">
                  <c:v>Av Price/Unit 35.62</c:v>
                </c:pt>
                <c:pt idx="4">
                  <c:v>Av Price/Unit 34.39</c:v>
                </c:pt>
              </c:strCache>
            </c:strRef>
          </c:cat>
          <c:val>
            <c:numRef>
              <c:f>Sheet1!$B$2:$B$6</c:f>
              <c:numCache>
                <c:formatCode>General</c:formatCode>
                <c:ptCount val="5"/>
                <c:pt idx="0">
                  <c:v>10.747534031852473</c:v>
                </c:pt>
                <c:pt idx="1">
                  <c:v>11.620502325581397</c:v>
                </c:pt>
                <c:pt idx="2">
                  <c:v>11.300234387351779</c:v>
                </c:pt>
                <c:pt idx="3">
                  <c:v>11.82797894736842</c:v>
                </c:pt>
                <c:pt idx="4">
                  <c:v>11.873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56</c:v>
                </c:pt>
                <c:pt idx="1">
                  <c:v>Av Price/Unit 30.57</c:v>
                </c:pt>
                <c:pt idx="2">
                  <c:v>Av Price/Unit 31.90</c:v>
                </c:pt>
                <c:pt idx="3">
                  <c:v>Av Price/Unit 35.62</c:v>
                </c:pt>
                <c:pt idx="4">
                  <c:v>Av Price/Unit 34.39</c:v>
                </c:pt>
              </c:strCache>
            </c:strRef>
          </c:cat>
          <c:val>
            <c:numRef>
              <c:f>Sheet1!$C$2:$C$6</c:f>
              <c:numCache>
                <c:formatCode>General</c:formatCode>
                <c:ptCount val="5"/>
                <c:pt idx="0">
                  <c:v>14.205425565800503</c:v>
                </c:pt>
                <c:pt idx="1">
                  <c:v>13.510754780361758</c:v>
                </c:pt>
                <c:pt idx="2">
                  <c:v>14.355710671936759</c:v>
                </c:pt>
                <c:pt idx="3">
                  <c:v>14.307968421052632</c:v>
                </c:pt>
                <c:pt idx="4">
                  <c:v>14.90649999999999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56</c:v>
                </c:pt>
                <c:pt idx="1">
                  <c:v>Av Price/Unit 30.57</c:v>
                </c:pt>
                <c:pt idx="2">
                  <c:v>Av Price/Unit 31.90</c:v>
                </c:pt>
                <c:pt idx="3">
                  <c:v>Av Price/Unit 35.62</c:v>
                </c:pt>
                <c:pt idx="4">
                  <c:v>Av Price/Unit 34.39</c:v>
                </c:pt>
              </c:strCache>
            </c:strRef>
          </c:cat>
          <c:val>
            <c:numRef>
              <c:f>Sheet1!$D$2:$D$6</c:f>
              <c:numCache>
                <c:formatCode>General</c:formatCode>
                <c:ptCount val="5"/>
                <c:pt idx="0">
                  <c:v>-0.32150127596162648</c:v>
                </c:pt>
                <c:pt idx="1">
                  <c:v>0.34565383290266638</c:v>
                </c:pt>
                <c:pt idx="2">
                  <c:v>0.9283171277997333</c:v>
                </c:pt>
                <c:pt idx="3">
                  <c:v>3.5460701754386008</c:v>
                </c:pt>
                <c:pt idx="4">
                  <c:v>1.158796491228073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56</c:v>
                </c:pt>
                <c:pt idx="1">
                  <c:v>Av Price/Unit 30.57</c:v>
                </c:pt>
                <c:pt idx="2">
                  <c:v>Av Price/Unit 31.90</c:v>
                </c:pt>
                <c:pt idx="3">
                  <c:v>Av Price/Unit 35.62</c:v>
                </c:pt>
                <c:pt idx="4">
                  <c:v>Av Price/Unit 34.39</c:v>
                </c:pt>
              </c:strCache>
            </c:strRef>
          </c:cat>
          <c:val>
            <c:numRef>
              <c:f>Sheet1!$E$2:$E$6</c:f>
              <c:numCache>
                <c:formatCode>General</c:formatCode>
                <c:ptCount val="5"/>
                <c:pt idx="0">
                  <c:v>4.9262829468194065</c:v>
                </c:pt>
                <c:pt idx="1">
                  <c:v>5.0953919035314366</c:v>
                </c:pt>
                <c:pt idx="2">
                  <c:v>5.3168642951251659</c:v>
                </c:pt>
                <c:pt idx="3">
                  <c:v>5.936403508771928</c:v>
                </c:pt>
                <c:pt idx="4">
                  <c:v>5.587719298245612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9.53</c:v>
                </c:pt>
                <c:pt idx="1">
                  <c:v>Av Price/Unit 30.37</c:v>
                </c:pt>
                <c:pt idx="2">
                  <c:v>Av Price/Unit 31.16</c:v>
                </c:pt>
                <c:pt idx="3">
                  <c:v>Av Price/Unit 32.38</c:v>
                </c:pt>
                <c:pt idx="4">
                  <c:v>Av Price/Unit 33.14</c:v>
                </c:pt>
                <c:pt idx="5">
                  <c:v>Av Price/Unit 34.04</c:v>
                </c:pt>
              </c:strCache>
            </c:strRef>
          </c:cat>
          <c:val>
            <c:numRef>
              <c:f>Sheet1!$B$2:$B$7</c:f>
              <c:numCache>
                <c:formatCode>General</c:formatCode>
                <c:ptCount val="6"/>
                <c:pt idx="0">
                  <c:v>10.721439784946236</c:v>
                </c:pt>
                <c:pt idx="1">
                  <c:v>11.620585960264901</c:v>
                </c:pt>
                <c:pt idx="2">
                  <c:v>11.308079886968084</c:v>
                </c:pt>
                <c:pt idx="3">
                  <c:v>11.873300000000002</c:v>
                </c:pt>
                <c:pt idx="4">
                  <c:v>12.170903597122303</c:v>
                </c:pt>
                <c:pt idx="5">
                  <c:v>11.678620312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9.53</c:v>
                </c:pt>
                <c:pt idx="1">
                  <c:v>Av Price/Unit 30.37</c:v>
                </c:pt>
                <c:pt idx="2">
                  <c:v>Av Price/Unit 31.16</c:v>
                </c:pt>
                <c:pt idx="3">
                  <c:v>Av Price/Unit 32.38</c:v>
                </c:pt>
                <c:pt idx="4">
                  <c:v>Av Price/Unit 33.14</c:v>
                </c:pt>
                <c:pt idx="5">
                  <c:v>Av Price/Unit 34.04</c:v>
                </c:pt>
              </c:strCache>
            </c:strRef>
          </c:cat>
          <c:val>
            <c:numRef>
              <c:f>Sheet1!$C$2:$C$7</c:f>
              <c:numCache>
                <c:formatCode>General</c:formatCode>
                <c:ptCount val="6"/>
                <c:pt idx="0">
                  <c:v>14.220418349317059</c:v>
                </c:pt>
                <c:pt idx="1">
                  <c:v>13.511126490066227</c:v>
                </c:pt>
                <c:pt idx="2">
                  <c:v>14.350498769946807</c:v>
                </c:pt>
                <c:pt idx="3">
                  <c:v>14.906499999999998</c:v>
                </c:pt>
                <c:pt idx="4">
                  <c:v>14.281297841726619</c:v>
                </c:pt>
                <c:pt idx="5">
                  <c:v>14.27545312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9.53</c:v>
                </c:pt>
                <c:pt idx="1">
                  <c:v>Av Price/Unit 30.37</c:v>
                </c:pt>
                <c:pt idx="2">
                  <c:v>Av Price/Unit 31.16</c:v>
                </c:pt>
                <c:pt idx="3">
                  <c:v>Av Price/Unit 32.38</c:v>
                </c:pt>
                <c:pt idx="4">
                  <c:v>Av Price/Unit 33.14</c:v>
                </c:pt>
                <c:pt idx="5">
                  <c:v>Av Price/Unit 34.04</c:v>
                </c:pt>
              </c:strCache>
            </c:strRef>
          </c:cat>
          <c:val>
            <c:numRef>
              <c:f>Sheet1!$D$2:$D$7</c:f>
              <c:numCache>
                <c:formatCode>General</c:formatCode>
                <c:ptCount val="6"/>
                <c:pt idx="0">
                  <c:v>-0.33249140172430458</c:v>
                </c:pt>
                <c:pt idx="1">
                  <c:v>0.17747486387049349</c:v>
                </c:pt>
                <c:pt idx="2">
                  <c:v>0.30490167331559803</c:v>
                </c:pt>
                <c:pt idx="3">
                  <c:v>-0.13728792270530832</c:v>
                </c:pt>
                <c:pt idx="4">
                  <c:v>1.161707434052758</c:v>
                </c:pt>
                <c:pt idx="5">
                  <c:v>2.411811979166671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9.53</c:v>
                </c:pt>
                <c:pt idx="1">
                  <c:v>Av Price/Unit 30.37</c:v>
                </c:pt>
                <c:pt idx="2">
                  <c:v>Av Price/Unit 31.16</c:v>
                </c:pt>
                <c:pt idx="3">
                  <c:v>Av Price/Unit 32.38</c:v>
                </c:pt>
                <c:pt idx="4">
                  <c:v>Av Price/Unit 33.14</c:v>
                </c:pt>
                <c:pt idx="5">
                  <c:v>Av Price/Unit 34.04</c:v>
                </c:pt>
              </c:strCache>
            </c:strRef>
          </c:cat>
          <c:val>
            <c:numRef>
              <c:f>Sheet1!$E$2:$E$7</c:f>
              <c:numCache>
                <c:formatCode>General</c:formatCode>
                <c:ptCount val="6"/>
                <c:pt idx="0">
                  <c:v>4.9218637992831553</c:v>
                </c:pt>
                <c:pt idx="1">
                  <c:v>5.0618469462840299</c:v>
                </c:pt>
                <c:pt idx="2">
                  <c:v>5.1927083333333348</c:v>
                </c:pt>
                <c:pt idx="3">
                  <c:v>5.3285024154589351</c:v>
                </c:pt>
                <c:pt idx="4">
                  <c:v>5.5227817745803343</c:v>
                </c:pt>
                <c:pt idx="5">
                  <c:v>5.673177083333328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9.62</c:v>
                </c:pt>
                <c:pt idx="1">
                  <c:v>Av Price/Unit 30.43</c:v>
                </c:pt>
                <c:pt idx="2">
                  <c:v>Av Price/Unit 31.30</c:v>
                </c:pt>
                <c:pt idx="3">
                  <c:v>Av Price/Unit 31.94</c:v>
                </c:pt>
                <c:pt idx="4">
                  <c:v>Av Price/Unit 33.39</c:v>
                </c:pt>
                <c:pt idx="5">
                  <c:v>Av Price/Unit 33.31</c:v>
                </c:pt>
              </c:strCache>
            </c:strRef>
          </c:cat>
          <c:val>
            <c:numRef>
              <c:f>Sheet1!$B$2:$B$7</c:f>
              <c:numCache>
                <c:formatCode>General</c:formatCode>
                <c:ptCount val="6"/>
                <c:pt idx="0">
                  <c:v>10.72252910372608</c:v>
                </c:pt>
                <c:pt idx="1">
                  <c:v>11.620479939781708</c:v>
                </c:pt>
                <c:pt idx="2">
                  <c:v>11.262560363636362</c:v>
                </c:pt>
                <c:pt idx="3">
                  <c:v>11.8733</c:v>
                </c:pt>
                <c:pt idx="4">
                  <c:v>11.652093103448276</c:v>
                </c:pt>
                <c:pt idx="5">
                  <c:v>12.14308613138685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9.62</c:v>
                </c:pt>
                <c:pt idx="1">
                  <c:v>Av Price/Unit 30.43</c:v>
                </c:pt>
                <c:pt idx="2">
                  <c:v>Av Price/Unit 31.30</c:v>
                </c:pt>
                <c:pt idx="3">
                  <c:v>Av Price/Unit 31.94</c:v>
                </c:pt>
                <c:pt idx="4">
                  <c:v>Av Price/Unit 33.39</c:v>
                </c:pt>
                <c:pt idx="5">
                  <c:v>Av Price/Unit 33.31</c:v>
                </c:pt>
              </c:strCache>
            </c:strRef>
          </c:cat>
          <c:val>
            <c:numRef>
              <c:f>Sheet1!$C$2:$C$7</c:f>
              <c:numCache>
                <c:formatCode>General</c:formatCode>
                <c:ptCount val="6"/>
                <c:pt idx="0">
                  <c:v>14.219792467270896</c:v>
                </c:pt>
                <c:pt idx="1">
                  <c:v>13.510655287918706</c:v>
                </c:pt>
                <c:pt idx="2">
                  <c:v>14.380738181818183</c:v>
                </c:pt>
                <c:pt idx="3">
                  <c:v>14.906499999999999</c:v>
                </c:pt>
                <c:pt idx="4">
                  <c:v>14.273586206896553</c:v>
                </c:pt>
                <c:pt idx="5">
                  <c:v>14.28346131386861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9.62</c:v>
                </c:pt>
                <c:pt idx="1">
                  <c:v>Av Price/Unit 30.43</c:v>
                </c:pt>
                <c:pt idx="2">
                  <c:v>Av Price/Unit 31.30</c:v>
                </c:pt>
                <c:pt idx="3">
                  <c:v>Av Price/Unit 31.94</c:v>
                </c:pt>
                <c:pt idx="4">
                  <c:v>Av Price/Unit 33.39</c:v>
                </c:pt>
                <c:pt idx="5">
                  <c:v>Av Price/Unit 33.31</c:v>
                </c:pt>
              </c:strCache>
            </c:strRef>
          </c:cat>
          <c:val>
            <c:numRef>
              <c:f>Sheet1!$D$2:$D$7</c:f>
              <c:numCache>
                <c:formatCode>General</c:formatCode>
                <c:ptCount val="6"/>
                <c:pt idx="0">
                  <c:v>-0.26083728432359976</c:v>
                </c:pt>
                <c:pt idx="1">
                  <c:v>0.22479380253418668</c:v>
                </c:pt>
                <c:pt idx="2">
                  <c:v>0.43695503030303229</c:v>
                </c:pt>
                <c:pt idx="3">
                  <c:v>-0.17980000000000018</c:v>
                </c:pt>
                <c:pt idx="4">
                  <c:v>1.9019068965517221</c:v>
                </c:pt>
                <c:pt idx="5">
                  <c:v>1.328927007299274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9.62</c:v>
                </c:pt>
                <c:pt idx="1">
                  <c:v>Av Price/Unit 30.43</c:v>
                </c:pt>
                <c:pt idx="2">
                  <c:v>Av Price/Unit 31.30</c:v>
                </c:pt>
                <c:pt idx="3">
                  <c:v>Av Price/Unit 31.94</c:v>
                </c:pt>
                <c:pt idx="4">
                  <c:v>Av Price/Unit 33.39</c:v>
                </c:pt>
                <c:pt idx="5">
                  <c:v>Av Price/Unit 33.31</c:v>
                </c:pt>
              </c:strCache>
            </c:strRef>
          </c:cat>
          <c:val>
            <c:numRef>
              <c:f>Sheet1!$E$2:$E$7</c:f>
              <c:numCache>
                <c:formatCode>General</c:formatCode>
                <c:ptCount val="6"/>
                <c:pt idx="0">
                  <c:v>4.9362873447465576</c:v>
                </c:pt>
                <c:pt idx="1">
                  <c:v>5.0711955839919671</c:v>
                </c:pt>
                <c:pt idx="2">
                  <c:v>5.2160606060606041</c:v>
                </c:pt>
                <c:pt idx="3">
                  <c:v>5.3199999999999967</c:v>
                </c:pt>
                <c:pt idx="4">
                  <c:v>5.5655172413793137</c:v>
                </c:pt>
                <c:pt idx="5">
                  <c:v>5.551094890510945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rgbClr val="E6E5E5"/>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87B68C3B-CCB6-4610-BC17-8FABB71502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515AF1A8-079D-43CF-9658-0FC8D221E5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1F51F04-D2C5-4D77-BEEA-D241F8922F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7C3AA586-4301-442F-931E-1C2C7AB6DD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04D5FE11-9E14-4704-A70D-EE3ED4E667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5198A5CD-BF63-4270-AF76-89D2A0E820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3F88240A-9AE1-4EBB-B105-B4685A81B5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D7B6A3AA-DD12-4033-86D9-36E1F940BA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36.921900000000001</c:v>
                </c:pt>
                <c:pt idx="1">
                  <c:v>37.0197</c:v>
                </c:pt>
                <c:pt idx="2">
                  <c:v>36.220300000000002</c:v>
                </c:pt>
                <c:pt idx="3">
                  <c:v>36.292700000000004</c:v>
                </c:pt>
                <c:pt idx="4">
                  <c:v>36.1098</c:v>
                </c:pt>
              </c:numCache>
            </c:numRef>
          </c:xVal>
          <c:yVal>
            <c:numRef>
              <c:f>Sheet1!$B$2:$B$6</c:f>
              <c:numCache>
                <c:formatCode>General</c:formatCode>
                <c:ptCount val="5"/>
                <c:pt idx="0">
                  <c:v>0.4284</c:v>
                </c:pt>
                <c:pt idx="1">
                  <c:v>0.43020000000000003</c:v>
                </c:pt>
                <c:pt idx="2">
                  <c:v>0.43669999999999998</c:v>
                </c:pt>
                <c:pt idx="3">
                  <c:v>0.43559999999999999</c:v>
                </c:pt>
                <c:pt idx="4">
                  <c:v>0.4355</c:v>
                </c:pt>
              </c:numCache>
            </c:numRef>
          </c:yVal>
          <c:bubbleSize>
            <c:numRef>
              <c:f>Sheet1!$C$2:$C$6</c:f>
              <c:numCache>
                <c:formatCode>General</c:formatCode>
                <c:ptCount val="5"/>
                <c:pt idx="0">
                  <c:v>1436668.215700001</c:v>
                </c:pt>
                <c:pt idx="1">
                  <c:v>144376.70619999999</c:v>
                </c:pt>
                <c:pt idx="2">
                  <c:v>36510.107500000013</c:v>
                </c:pt>
                <c:pt idx="3">
                  <c:v>85432.912899999967</c:v>
                </c:pt>
                <c:pt idx="4">
                  <c:v>31523.843899999989</c:v>
                </c:pt>
              </c:numCache>
            </c:numRef>
          </c:bubbleSize>
          <c:bubble3D val="0"/>
          <c:extLst>
            <c:ext xmlns:c15="http://schemas.microsoft.com/office/drawing/2012/chart" uri="{02D57815-91ED-43cb-92C2-25804820EDAC}">
              <c15:datalabelsRange>
                <c15:f>Sheet1!$E$2:$E$29</c15:f>
                <c15:dlblRangeCache>
                  <c:ptCount val="28"/>
                  <c:pt idx="0">
                    <c:v>NICOLAS IDF</c:v>
                  </c:pt>
                  <c:pt idx="1">
                    <c:v>NICOLAS PAC</c:v>
                  </c:pt>
                  <c:pt idx="2">
                    <c:v>NICOLAS EST</c:v>
                  </c:pt>
                  <c:pt idx="3">
                    <c:v>NICOLAS RHO</c:v>
                  </c:pt>
                  <c:pt idx="4">
                    <c:v>NICOLAS AQU</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44.423639999999999"/>
          <c:min val="28.887840000000001"/>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2920820911055974"/>
        <c:crossBetween val="midCat"/>
      </c:valAx>
      <c:valAx>
        <c:axId val="1011451359"/>
        <c:scaling>
          <c:orientation val="minMax"/>
          <c:max val="0.88403999999999983"/>
          <c:min val="0.10272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6.86952194601021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9.59</c:v>
                </c:pt>
                <c:pt idx="1">
                  <c:v>Av Price/Unit 30.35</c:v>
                </c:pt>
                <c:pt idx="2">
                  <c:v>Av Price/Unit 31.26</c:v>
                </c:pt>
                <c:pt idx="3">
                  <c:v>Av Price/Unit 33.45</c:v>
                </c:pt>
                <c:pt idx="4">
                  <c:v>Av Price/Unit 34.42</c:v>
                </c:pt>
                <c:pt idx="5">
                  <c:v>Av Price/Unit 32.48</c:v>
                </c:pt>
              </c:strCache>
            </c:strRef>
          </c:cat>
          <c:val>
            <c:numRef>
              <c:f>Sheet1!$B$2:$B$7</c:f>
              <c:numCache>
                <c:formatCode>General</c:formatCode>
                <c:ptCount val="6"/>
                <c:pt idx="0">
                  <c:v>10.725499228556485</c:v>
                </c:pt>
                <c:pt idx="1">
                  <c:v>11.62023525588952</c:v>
                </c:pt>
                <c:pt idx="2">
                  <c:v>11.281669439728354</c:v>
                </c:pt>
                <c:pt idx="3">
                  <c:v>11.940399999999999</c:v>
                </c:pt>
                <c:pt idx="4">
                  <c:v>11.762393023255814</c:v>
                </c:pt>
                <c:pt idx="5">
                  <c:v>11.873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9.59</c:v>
                </c:pt>
                <c:pt idx="1">
                  <c:v>Av Price/Unit 30.35</c:v>
                </c:pt>
                <c:pt idx="2">
                  <c:v>Av Price/Unit 31.26</c:v>
                </c:pt>
                <c:pt idx="3">
                  <c:v>Av Price/Unit 33.45</c:v>
                </c:pt>
                <c:pt idx="4">
                  <c:v>Av Price/Unit 34.42</c:v>
                </c:pt>
                <c:pt idx="5">
                  <c:v>Av Price/Unit 32.48</c:v>
                </c:pt>
              </c:strCache>
            </c:strRef>
          </c:cat>
          <c:val>
            <c:numRef>
              <c:f>Sheet1!$C$2:$C$7</c:f>
              <c:numCache>
                <c:formatCode>General</c:formatCode>
                <c:ptCount val="6"/>
                <c:pt idx="0">
                  <c:v>14.218085944037655</c:v>
                </c:pt>
                <c:pt idx="1">
                  <c:v>13.509567803953427</c:v>
                </c:pt>
                <c:pt idx="2">
                  <c:v>14.368043689869838</c:v>
                </c:pt>
                <c:pt idx="3">
                  <c:v>14.299225000000002</c:v>
                </c:pt>
                <c:pt idx="4">
                  <c:v>14.281348837209304</c:v>
                </c:pt>
                <c:pt idx="5">
                  <c:v>14.90649999999999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9.59</c:v>
                </c:pt>
                <c:pt idx="1">
                  <c:v>Av Price/Unit 30.35</c:v>
                </c:pt>
                <c:pt idx="2">
                  <c:v>Av Price/Unit 31.26</c:v>
                </c:pt>
                <c:pt idx="3">
                  <c:v>Av Price/Unit 33.45</c:v>
                </c:pt>
                <c:pt idx="4">
                  <c:v>Av Price/Unit 34.42</c:v>
                </c:pt>
                <c:pt idx="5">
                  <c:v>Av Price/Unit 32.48</c:v>
                </c:pt>
              </c:strCache>
            </c:strRef>
          </c:cat>
          <c:val>
            <c:numRef>
              <c:f>Sheet1!$D$2:$D$7</c:f>
              <c:numCache>
                <c:formatCode>General</c:formatCode>
                <c:ptCount val="6"/>
                <c:pt idx="0">
                  <c:v>-0.28627474503138473</c:v>
                </c:pt>
                <c:pt idx="1">
                  <c:v>0.16529764419171755</c:v>
                </c:pt>
                <c:pt idx="2">
                  <c:v>0.39861952461799532</c:v>
                </c:pt>
                <c:pt idx="3">
                  <c:v>1.6361190476190473</c:v>
                </c:pt>
                <c:pt idx="4">
                  <c:v>2.643273643410847</c:v>
                </c:pt>
                <c:pt idx="5">
                  <c:v>0.1928562500000019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9.59</c:v>
                </c:pt>
                <c:pt idx="1">
                  <c:v>Av Price/Unit 30.35</c:v>
                </c:pt>
                <c:pt idx="2">
                  <c:v>Av Price/Unit 31.26</c:v>
                </c:pt>
                <c:pt idx="3">
                  <c:v>Av Price/Unit 33.45</c:v>
                </c:pt>
                <c:pt idx="4">
                  <c:v>Av Price/Unit 34.42</c:v>
                </c:pt>
                <c:pt idx="5">
                  <c:v>Av Price/Unit 32.48</c:v>
                </c:pt>
              </c:strCache>
            </c:strRef>
          </c:cat>
          <c:val>
            <c:numRef>
              <c:f>Sheet1!$E$2:$E$7</c:f>
              <c:numCache>
                <c:formatCode>General</c:formatCode>
                <c:ptCount val="6"/>
                <c:pt idx="0">
                  <c:v>4.9314526673640167</c:v>
                </c:pt>
                <c:pt idx="1">
                  <c:v>5.059030598429457</c:v>
                </c:pt>
                <c:pt idx="2">
                  <c:v>5.209677419354839</c:v>
                </c:pt>
                <c:pt idx="3">
                  <c:v>5.5751488095238084</c:v>
                </c:pt>
                <c:pt idx="4">
                  <c:v>5.7374031007751976</c:v>
                </c:pt>
                <c:pt idx="5">
                  <c:v>5.394531249999996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9.64</c:v>
                </c:pt>
                <c:pt idx="1">
                  <c:v>Av Price/Unit 30.65</c:v>
                </c:pt>
                <c:pt idx="2">
                  <c:v>Av Price/Unit 31.34</c:v>
                </c:pt>
                <c:pt idx="3">
                  <c:v>Av Price/Unit 32.54</c:v>
                </c:pt>
                <c:pt idx="4">
                  <c:v>Av Price/Unit 33.44</c:v>
                </c:pt>
                <c:pt idx="5">
                  <c:v>Av Price/Unit 32.99</c:v>
                </c:pt>
                <c:pt idx="6">
                  <c:v>Av Price/Unit 83.45</c:v>
                </c:pt>
              </c:strCache>
            </c:strRef>
          </c:cat>
          <c:val>
            <c:numRef>
              <c:f>Sheet1!$B$2:$B$8</c:f>
              <c:numCache>
                <c:formatCode>General</c:formatCode>
                <c:ptCount val="7"/>
                <c:pt idx="0">
                  <c:v>10.726425436111525</c:v>
                </c:pt>
                <c:pt idx="1">
                  <c:v>11.620557575757575</c:v>
                </c:pt>
                <c:pt idx="2">
                  <c:v>11.252097361702129</c:v>
                </c:pt>
                <c:pt idx="3">
                  <c:v>11.927049999999999</c:v>
                </c:pt>
                <c:pt idx="4">
                  <c:v>11.627334374999998</c:v>
                </c:pt>
                <c:pt idx="5">
                  <c:v>11.873300000000002</c:v>
                </c:pt>
                <c:pt idx="6">
                  <c:v>26.091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9.64</c:v>
                </c:pt>
                <c:pt idx="1">
                  <c:v>Av Price/Unit 30.65</c:v>
                </c:pt>
                <c:pt idx="2">
                  <c:v>Av Price/Unit 31.34</c:v>
                </c:pt>
                <c:pt idx="3">
                  <c:v>Av Price/Unit 32.54</c:v>
                </c:pt>
                <c:pt idx="4">
                  <c:v>Av Price/Unit 33.44</c:v>
                </c:pt>
                <c:pt idx="5">
                  <c:v>Av Price/Unit 32.99</c:v>
                </c:pt>
                <c:pt idx="6">
                  <c:v>Av Price/Unit 83.45</c:v>
                </c:pt>
              </c:strCache>
            </c:strRef>
          </c:cat>
          <c:val>
            <c:numRef>
              <c:f>Sheet1!$C$2:$C$8</c:f>
              <c:numCache>
                <c:formatCode>General</c:formatCode>
                <c:ptCount val="7"/>
                <c:pt idx="0">
                  <c:v>14.217553779633221</c:v>
                </c:pt>
                <c:pt idx="1">
                  <c:v>13.511000336700336</c:v>
                </c:pt>
                <c:pt idx="2">
                  <c:v>14.387688936170214</c:v>
                </c:pt>
                <c:pt idx="3">
                  <c:v>14.300263281250002</c:v>
                </c:pt>
                <c:pt idx="4">
                  <c:v>14.271843749999999</c:v>
                </c:pt>
                <c:pt idx="5">
                  <c:v>14.906499999999999</c:v>
                </c:pt>
                <c:pt idx="6">
                  <c:v>31.53099999999999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9.64</c:v>
                </c:pt>
                <c:pt idx="1">
                  <c:v>Av Price/Unit 30.65</c:v>
                </c:pt>
                <c:pt idx="2">
                  <c:v>Av Price/Unit 31.34</c:v>
                </c:pt>
                <c:pt idx="3">
                  <c:v>Av Price/Unit 32.54</c:v>
                </c:pt>
                <c:pt idx="4">
                  <c:v>Av Price/Unit 33.44</c:v>
                </c:pt>
                <c:pt idx="5">
                  <c:v>Av Price/Unit 32.99</c:v>
                </c:pt>
                <c:pt idx="6">
                  <c:v>Av Price/Unit 83.45</c:v>
                </c:pt>
              </c:strCache>
            </c:strRef>
          </c:cat>
          <c:val>
            <c:numRef>
              <c:f>Sheet1!$D$2:$D$8</c:f>
              <c:numCache>
                <c:formatCode>General</c:formatCode>
                <c:ptCount val="7"/>
                <c:pt idx="0">
                  <c:v>-0.24007809005516378</c:v>
                </c:pt>
                <c:pt idx="1">
                  <c:v>0.40875155256266638</c:v>
                </c:pt>
                <c:pt idx="2">
                  <c:v>0.47506059574468296</c:v>
                </c:pt>
                <c:pt idx="3">
                  <c:v>0.88857213541666624</c:v>
                </c:pt>
                <c:pt idx="4">
                  <c:v>1.9654052083333333</c:v>
                </c:pt>
                <c:pt idx="5">
                  <c:v>0.40860579710145117</c:v>
                </c:pt>
                <c:pt idx="6">
                  <c:v>9.136759259259271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9.64</c:v>
                </c:pt>
                <c:pt idx="1">
                  <c:v>Av Price/Unit 30.65</c:v>
                </c:pt>
                <c:pt idx="2">
                  <c:v>Av Price/Unit 31.34</c:v>
                </c:pt>
                <c:pt idx="3">
                  <c:v>Av Price/Unit 32.54</c:v>
                </c:pt>
                <c:pt idx="4">
                  <c:v>Av Price/Unit 33.44</c:v>
                </c:pt>
                <c:pt idx="5">
                  <c:v>Av Price/Unit 32.99</c:v>
                </c:pt>
                <c:pt idx="6">
                  <c:v>Av Price/Unit 83.45</c:v>
                </c:pt>
              </c:strCache>
            </c:strRef>
          </c:cat>
          <c:val>
            <c:numRef>
              <c:f>Sheet1!$E$2:$E$8</c:f>
              <c:numCache>
                <c:formatCode>General</c:formatCode>
                <c:ptCount val="7"/>
                <c:pt idx="0">
                  <c:v>4.9407708364395404</c:v>
                </c:pt>
                <c:pt idx="1">
                  <c:v>5.108071455293679</c:v>
                </c:pt>
                <c:pt idx="2">
                  <c:v>5.2229787234042551</c:v>
                </c:pt>
                <c:pt idx="3">
                  <c:v>5.4231770833333321</c:v>
                </c:pt>
                <c:pt idx="4">
                  <c:v>5.5729166666666687</c:v>
                </c:pt>
                <c:pt idx="5">
                  <c:v>5.4376811594202907</c:v>
                </c:pt>
                <c:pt idx="6">
                  <c:v>13.35185185185184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9.62</c:v>
                </c:pt>
                <c:pt idx="1">
                  <c:v>Av Price/Unit 30.45</c:v>
                </c:pt>
                <c:pt idx="2">
                  <c:v>Av Price/Unit 31.64</c:v>
                </c:pt>
                <c:pt idx="3">
                  <c:v>Av Price/Unit 31.16</c:v>
                </c:pt>
                <c:pt idx="4">
                  <c:v>Av Price/Unit 33.09</c:v>
                </c:pt>
                <c:pt idx="5">
                  <c:v>Av Price/Unit 82.97</c:v>
                </c:pt>
                <c:pt idx="6">
                  <c:v>Av Price/Unit 36.20</c:v>
                </c:pt>
              </c:strCache>
            </c:strRef>
          </c:cat>
          <c:val>
            <c:numRef>
              <c:f>Sheet1!$B$2:$B$8</c:f>
              <c:numCache>
                <c:formatCode>General</c:formatCode>
                <c:ptCount val="7"/>
                <c:pt idx="0">
                  <c:v>10.722603546099288</c:v>
                </c:pt>
                <c:pt idx="1">
                  <c:v>11.620486031639182</c:v>
                </c:pt>
                <c:pt idx="2">
                  <c:v>11.25816324701195</c:v>
                </c:pt>
                <c:pt idx="3">
                  <c:v>12.052182555780933</c:v>
                </c:pt>
                <c:pt idx="4">
                  <c:v>11.873300000000002</c:v>
                </c:pt>
                <c:pt idx="5">
                  <c:v>26.0915</c:v>
                </c:pt>
                <c:pt idx="6">
                  <c:v>11.91806086956521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9.62</c:v>
                </c:pt>
                <c:pt idx="1">
                  <c:v>Av Price/Unit 30.45</c:v>
                </c:pt>
                <c:pt idx="2">
                  <c:v>Av Price/Unit 31.64</c:v>
                </c:pt>
                <c:pt idx="3">
                  <c:v>Av Price/Unit 31.16</c:v>
                </c:pt>
                <c:pt idx="4">
                  <c:v>Av Price/Unit 33.09</c:v>
                </c:pt>
                <c:pt idx="5">
                  <c:v>Av Price/Unit 82.97</c:v>
                </c:pt>
                <c:pt idx="6">
                  <c:v>Av Price/Unit 36.20</c:v>
                </c:pt>
              </c:strCache>
            </c:strRef>
          </c:cat>
          <c:val>
            <c:numRef>
              <c:f>Sheet1!$C$2:$C$8</c:f>
              <c:numCache>
                <c:formatCode>General</c:formatCode>
                <c:ptCount val="7"/>
                <c:pt idx="0">
                  <c:v>14.21974969545265</c:v>
                </c:pt>
                <c:pt idx="1">
                  <c:v>13.510682362840797</c:v>
                </c:pt>
                <c:pt idx="2">
                  <c:v>14.383659262948209</c:v>
                </c:pt>
                <c:pt idx="3">
                  <c:v>14.290531237322515</c:v>
                </c:pt>
                <c:pt idx="4">
                  <c:v>14.906499999999999</c:v>
                </c:pt>
                <c:pt idx="5">
                  <c:v>31.530999999999995</c:v>
                </c:pt>
                <c:pt idx="6">
                  <c:v>14.29230434782608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9.62</c:v>
                </c:pt>
                <c:pt idx="1">
                  <c:v>Av Price/Unit 30.45</c:v>
                </c:pt>
                <c:pt idx="2">
                  <c:v>Av Price/Unit 31.64</c:v>
                </c:pt>
                <c:pt idx="3">
                  <c:v>Av Price/Unit 31.16</c:v>
                </c:pt>
                <c:pt idx="4">
                  <c:v>Av Price/Unit 33.09</c:v>
                </c:pt>
                <c:pt idx="5">
                  <c:v>Av Price/Unit 82.97</c:v>
                </c:pt>
                <c:pt idx="6">
                  <c:v>Av Price/Unit 36.20</c:v>
                </c:pt>
              </c:strCache>
            </c:strRef>
          </c:cat>
          <c:val>
            <c:numRef>
              <c:f>Sheet1!$D$2:$D$8</c:f>
              <c:numCache>
                <c:formatCode>General</c:formatCode>
                <c:ptCount val="7"/>
                <c:pt idx="0">
                  <c:v>-0.25985540536782636</c:v>
                </c:pt>
                <c:pt idx="1">
                  <c:v>0.24407731403567823</c:v>
                </c:pt>
                <c:pt idx="2">
                  <c:v>0.72101098937583075</c:v>
                </c:pt>
                <c:pt idx="3">
                  <c:v>-0.37246362407032052</c:v>
                </c:pt>
                <c:pt idx="4">
                  <c:v>0.26491544715447191</c:v>
                </c:pt>
                <c:pt idx="5">
                  <c:v>10.849722222222212</c:v>
                </c:pt>
                <c:pt idx="6">
                  <c:v>3.952678260869568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9.62</c:v>
                </c:pt>
                <c:pt idx="1">
                  <c:v>Av Price/Unit 30.45</c:v>
                </c:pt>
                <c:pt idx="2">
                  <c:v>Av Price/Unit 31.64</c:v>
                </c:pt>
                <c:pt idx="3">
                  <c:v>Av Price/Unit 31.16</c:v>
                </c:pt>
                <c:pt idx="4">
                  <c:v>Av Price/Unit 33.09</c:v>
                </c:pt>
                <c:pt idx="5">
                  <c:v>Av Price/Unit 82.97</c:v>
                </c:pt>
                <c:pt idx="6">
                  <c:v>Av Price/Unit 36.20</c:v>
                </c:pt>
              </c:strCache>
            </c:strRef>
          </c:cat>
          <c:val>
            <c:numRef>
              <c:f>Sheet1!$E$2:$E$8</c:f>
              <c:numCache>
                <c:formatCode>General</c:formatCode>
                <c:ptCount val="7"/>
                <c:pt idx="0">
                  <c:v>4.9364900570157175</c:v>
                </c:pt>
                <c:pt idx="1">
                  <c:v>5.0750589027263544</c:v>
                </c:pt>
                <c:pt idx="2">
                  <c:v>5.2725763612217769</c:v>
                </c:pt>
                <c:pt idx="3">
                  <c:v>5.1940500338066249</c:v>
                </c:pt>
                <c:pt idx="4">
                  <c:v>5.4089430894308927</c:v>
                </c:pt>
                <c:pt idx="5">
                  <c:v>13.694444444444448</c:v>
                </c:pt>
                <c:pt idx="6">
                  <c:v>6.032608695652173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45</c:v>
                </c:pt>
                <c:pt idx="1">
                  <c:v>Av Price/Unit 36.63</c:v>
                </c:pt>
                <c:pt idx="2">
                  <c:v>Av Price/Unit 45.00</c:v>
                </c:pt>
                <c:pt idx="3">
                  <c:v>Av Price/Unit 42.05</c:v>
                </c:pt>
                <c:pt idx="4">
                  <c:v>Av Price/Unit 39.13</c:v>
                </c:pt>
                <c:pt idx="5">
                  <c:v>Av Price/Unit 40.19</c:v>
                </c:pt>
              </c:strCache>
            </c:strRef>
          </c:cat>
          <c:val>
            <c:numRef>
              <c:f>Sheet1!$B$2:$B$7</c:f>
              <c:numCache>
                <c:formatCode>General</c:formatCode>
                <c:ptCount val="6"/>
                <c:pt idx="0">
                  <c:v>11.320845365343633</c:v>
                </c:pt>
                <c:pt idx="1">
                  <c:v>13.488370199826241</c:v>
                </c:pt>
                <c:pt idx="2">
                  <c:v>13.763791185576396</c:v>
                </c:pt>
                <c:pt idx="3">
                  <c:v>12.679924840764334</c:v>
                </c:pt>
                <c:pt idx="4">
                  <c:v>13.929</c:v>
                </c:pt>
                <c:pt idx="5">
                  <c:v>13.90245305343511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45</c:v>
                </c:pt>
                <c:pt idx="1">
                  <c:v>Av Price/Unit 36.63</c:v>
                </c:pt>
                <c:pt idx="2">
                  <c:v>Av Price/Unit 45.00</c:v>
                </c:pt>
                <c:pt idx="3">
                  <c:v>Av Price/Unit 42.05</c:v>
                </c:pt>
                <c:pt idx="4">
                  <c:v>Av Price/Unit 39.13</c:v>
                </c:pt>
                <c:pt idx="5">
                  <c:v>Av Price/Unit 40.19</c:v>
                </c:pt>
              </c:strCache>
            </c:strRef>
          </c:cat>
          <c:val>
            <c:numRef>
              <c:f>Sheet1!$C$2:$C$7</c:f>
              <c:numCache>
                <c:formatCode>General</c:formatCode>
                <c:ptCount val="6"/>
                <c:pt idx="0">
                  <c:v>13.899442753448351</c:v>
                </c:pt>
                <c:pt idx="1">
                  <c:v>17.753950173761947</c:v>
                </c:pt>
                <c:pt idx="2">
                  <c:v>22.672635166636322</c:v>
                </c:pt>
                <c:pt idx="3">
                  <c:v>22.66696178343949</c:v>
                </c:pt>
                <c:pt idx="4">
                  <c:v>17.571000000000002</c:v>
                </c:pt>
                <c:pt idx="5">
                  <c:v>16.72080954198473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45</c:v>
                </c:pt>
                <c:pt idx="1">
                  <c:v>Av Price/Unit 36.63</c:v>
                </c:pt>
                <c:pt idx="2">
                  <c:v>Av Price/Unit 45.00</c:v>
                </c:pt>
                <c:pt idx="3">
                  <c:v>Av Price/Unit 42.05</c:v>
                </c:pt>
                <c:pt idx="4">
                  <c:v>Av Price/Unit 39.13</c:v>
                </c:pt>
                <c:pt idx="5">
                  <c:v>Av Price/Unit 40.19</c:v>
                </c:pt>
              </c:strCache>
            </c:strRef>
          </c:cat>
          <c:val>
            <c:numRef>
              <c:f>Sheet1!$D$2:$D$7</c:f>
              <c:numCache>
                <c:formatCode>General</c:formatCode>
                <c:ptCount val="6"/>
                <c:pt idx="0">
                  <c:v>0.1571532023699298</c:v>
                </c:pt>
                <c:pt idx="1">
                  <c:v>-0.71813850275122704</c:v>
                </c:pt>
                <c:pt idx="2">
                  <c:v>1.0609356644205619</c:v>
                </c:pt>
                <c:pt idx="3">
                  <c:v>-0.30176985138004397</c:v>
                </c:pt>
                <c:pt idx="4">
                  <c:v>0.99044342507645666</c:v>
                </c:pt>
                <c:pt idx="5">
                  <c:v>2.869103816793909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45</c:v>
                </c:pt>
                <c:pt idx="1">
                  <c:v>Av Price/Unit 36.63</c:v>
                </c:pt>
                <c:pt idx="2">
                  <c:v>Av Price/Unit 45.00</c:v>
                </c:pt>
                <c:pt idx="3">
                  <c:v>Av Price/Unit 42.05</c:v>
                </c:pt>
                <c:pt idx="4">
                  <c:v>Av Price/Unit 39.13</c:v>
                </c:pt>
                <c:pt idx="5">
                  <c:v>Av Price/Unit 40.19</c:v>
                </c:pt>
              </c:strCache>
            </c:strRef>
          </c:cat>
          <c:val>
            <c:numRef>
              <c:f>Sheet1!$E$2:$E$7</c:f>
              <c:numCache>
                <c:formatCode>General</c:formatCode>
                <c:ptCount val="6"/>
                <c:pt idx="0">
                  <c:v>5.0754882642323862</c:v>
                </c:pt>
                <c:pt idx="1">
                  <c:v>6.104836374167399</c:v>
                </c:pt>
                <c:pt idx="2">
                  <c:v>7.499484004127976</c:v>
                </c:pt>
                <c:pt idx="3">
                  <c:v>7.0090233545647562</c:v>
                </c:pt>
                <c:pt idx="4">
                  <c:v>6.498088685015289</c:v>
                </c:pt>
                <c:pt idx="5">
                  <c:v>6.698473282442741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45</c:v>
                </c:pt>
                <c:pt idx="1">
                  <c:v>Av Price/Unit 36.54</c:v>
                </c:pt>
                <c:pt idx="2">
                  <c:v>Av Price/Unit 44.91</c:v>
                </c:pt>
                <c:pt idx="3">
                  <c:v>Av Price/Unit 42.19</c:v>
                </c:pt>
                <c:pt idx="4">
                  <c:v>Av Price/Unit 38.47</c:v>
                </c:pt>
                <c:pt idx="5">
                  <c:v>Av Price/Unit 39.59</c:v>
                </c:pt>
              </c:strCache>
            </c:strRef>
          </c:cat>
          <c:val>
            <c:numRef>
              <c:f>Sheet1!$B$2:$B$7</c:f>
              <c:numCache>
                <c:formatCode>General</c:formatCode>
                <c:ptCount val="6"/>
                <c:pt idx="0">
                  <c:v>11.294494046495666</c:v>
                </c:pt>
                <c:pt idx="1">
                  <c:v>13.487224540641545</c:v>
                </c:pt>
                <c:pt idx="2">
                  <c:v>13.650449509403106</c:v>
                </c:pt>
                <c:pt idx="3">
                  <c:v>12.63190733944954</c:v>
                </c:pt>
                <c:pt idx="4">
                  <c:v>13.929000000000002</c:v>
                </c:pt>
                <c:pt idx="5">
                  <c:v>13.95015540540540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45</c:v>
                </c:pt>
                <c:pt idx="1">
                  <c:v>Av Price/Unit 36.54</c:v>
                </c:pt>
                <c:pt idx="2">
                  <c:v>Av Price/Unit 44.91</c:v>
                </c:pt>
                <c:pt idx="3">
                  <c:v>Av Price/Unit 42.19</c:v>
                </c:pt>
                <c:pt idx="4">
                  <c:v>Av Price/Unit 38.47</c:v>
                </c:pt>
                <c:pt idx="5">
                  <c:v>Av Price/Unit 39.59</c:v>
                </c:pt>
              </c:strCache>
            </c:strRef>
          </c:cat>
          <c:val>
            <c:numRef>
              <c:f>Sheet1!$C$2:$C$7</c:f>
              <c:numCache>
                <c:formatCode>General</c:formatCode>
                <c:ptCount val="6"/>
                <c:pt idx="0">
                  <c:v>13.904633078836751</c:v>
                </c:pt>
                <c:pt idx="1">
                  <c:v>17.755204733727812</c:v>
                </c:pt>
                <c:pt idx="2">
                  <c:v>22.672055028618153</c:v>
                </c:pt>
                <c:pt idx="3">
                  <c:v>22.670246371976649</c:v>
                </c:pt>
                <c:pt idx="4">
                  <c:v>17.571000000000002</c:v>
                </c:pt>
                <c:pt idx="5">
                  <c:v>16.77780135135135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45</c:v>
                </c:pt>
                <c:pt idx="1">
                  <c:v>Av Price/Unit 36.54</c:v>
                </c:pt>
                <c:pt idx="2">
                  <c:v>Av Price/Unit 44.91</c:v>
                </c:pt>
                <c:pt idx="3">
                  <c:v>Av Price/Unit 42.19</c:v>
                </c:pt>
                <c:pt idx="4">
                  <c:v>Av Price/Unit 38.47</c:v>
                </c:pt>
                <c:pt idx="5">
                  <c:v>Av Price/Unit 39.59</c:v>
                </c:pt>
              </c:strCache>
            </c:strRef>
          </c:cat>
          <c:val>
            <c:numRef>
              <c:f>Sheet1!$D$2:$D$7</c:f>
              <c:numCache>
                <c:formatCode>General</c:formatCode>
                <c:ptCount val="6"/>
                <c:pt idx="0">
                  <c:v>0.17182309056074985</c:v>
                </c:pt>
                <c:pt idx="1">
                  <c:v>-0.79241370289628676</c:v>
                </c:pt>
                <c:pt idx="2">
                  <c:v>1.0983940583265195</c:v>
                </c:pt>
                <c:pt idx="3">
                  <c:v>-0.14681592994161718</c:v>
                </c:pt>
                <c:pt idx="4">
                  <c:v>0.55212922173274848</c:v>
                </c:pt>
                <c:pt idx="5">
                  <c:v>2.267538738738743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45</c:v>
                </c:pt>
                <c:pt idx="1">
                  <c:v>Av Price/Unit 36.54</c:v>
                </c:pt>
                <c:pt idx="2">
                  <c:v>Av Price/Unit 44.91</c:v>
                </c:pt>
                <c:pt idx="3">
                  <c:v>Av Price/Unit 42.19</c:v>
                </c:pt>
                <c:pt idx="4">
                  <c:v>Av Price/Unit 38.47</c:v>
                </c:pt>
                <c:pt idx="5">
                  <c:v>Av Price/Unit 39.59</c:v>
                </c:pt>
              </c:strCache>
            </c:strRef>
          </c:cat>
          <c:val>
            <c:numRef>
              <c:f>Sheet1!$E$2:$E$7</c:f>
              <c:numCache>
                <c:formatCode>General</c:formatCode>
                <c:ptCount val="6"/>
                <c:pt idx="0">
                  <c:v>5.074190043178632</c:v>
                </c:pt>
                <c:pt idx="1">
                  <c:v>6.0900031142946078</c:v>
                </c:pt>
                <c:pt idx="2">
                  <c:v>7.4841918778958823</c:v>
                </c:pt>
                <c:pt idx="3">
                  <c:v>7.0310675562969145</c:v>
                </c:pt>
                <c:pt idx="4">
                  <c:v>6.4104258443465465</c:v>
                </c:pt>
                <c:pt idx="5">
                  <c:v>6.59909909909909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60</c:v>
                </c:pt>
                <c:pt idx="1">
                  <c:v>Av Price/Unit 36.66</c:v>
                </c:pt>
                <c:pt idx="2">
                  <c:v>Av Price/Unit 42.25</c:v>
                </c:pt>
                <c:pt idx="3">
                  <c:v>Av Price/Unit 44.73</c:v>
                </c:pt>
                <c:pt idx="4">
                  <c:v>Av Price/Unit 39.85</c:v>
                </c:pt>
                <c:pt idx="5">
                  <c:v>Av Price/Unit 45.25</c:v>
                </c:pt>
              </c:strCache>
            </c:strRef>
          </c:cat>
          <c:val>
            <c:numRef>
              <c:f>Sheet1!$B$2:$B$7</c:f>
              <c:numCache>
                <c:formatCode>General</c:formatCode>
                <c:ptCount val="6"/>
                <c:pt idx="0">
                  <c:v>11.334627173169064</c:v>
                </c:pt>
                <c:pt idx="1">
                  <c:v>13.491195783684693</c:v>
                </c:pt>
                <c:pt idx="2">
                  <c:v>12.932028571428571</c:v>
                </c:pt>
                <c:pt idx="3">
                  <c:v>13.793722965116281</c:v>
                </c:pt>
                <c:pt idx="4">
                  <c:v>13.929</c:v>
                </c:pt>
                <c:pt idx="5">
                  <c:v>13.83346666666666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60</c:v>
                </c:pt>
                <c:pt idx="1">
                  <c:v>Av Price/Unit 36.66</c:v>
                </c:pt>
                <c:pt idx="2">
                  <c:v>Av Price/Unit 42.25</c:v>
                </c:pt>
                <c:pt idx="3">
                  <c:v>Av Price/Unit 44.73</c:v>
                </c:pt>
                <c:pt idx="4">
                  <c:v>Av Price/Unit 39.85</c:v>
                </c:pt>
                <c:pt idx="5">
                  <c:v>Av Price/Unit 45.25</c:v>
                </c:pt>
              </c:strCache>
            </c:strRef>
          </c:cat>
          <c:val>
            <c:numRef>
              <c:f>Sheet1!$C$2:$C$7</c:f>
              <c:numCache>
                <c:formatCode>General</c:formatCode>
                <c:ptCount val="6"/>
                <c:pt idx="0">
                  <c:v>13.896728199863109</c:v>
                </c:pt>
                <c:pt idx="1">
                  <c:v>17.75085600366636</c:v>
                </c:pt>
                <c:pt idx="2">
                  <c:v>22.649716883116881</c:v>
                </c:pt>
                <c:pt idx="3">
                  <c:v>22.672788372093024</c:v>
                </c:pt>
                <c:pt idx="4">
                  <c:v>17.571000000000002</c:v>
                </c:pt>
                <c:pt idx="5">
                  <c:v>16.63838888888888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60</c:v>
                </c:pt>
                <c:pt idx="1">
                  <c:v>Av Price/Unit 36.66</c:v>
                </c:pt>
                <c:pt idx="2">
                  <c:v>Av Price/Unit 42.25</c:v>
                </c:pt>
                <c:pt idx="3">
                  <c:v>Av Price/Unit 44.73</c:v>
                </c:pt>
                <c:pt idx="4">
                  <c:v>Av Price/Unit 39.85</c:v>
                </c:pt>
                <c:pt idx="5">
                  <c:v>Av Price/Unit 45.25</c:v>
                </c:pt>
              </c:strCache>
            </c:strRef>
          </c:cat>
          <c:val>
            <c:numRef>
              <c:f>Sheet1!$D$2:$D$7</c:f>
              <c:numCache>
                <c:formatCode>General</c:formatCode>
                <c:ptCount val="6"/>
                <c:pt idx="0">
                  <c:v>0.26587825690166866</c:v>
                </c:pt>
                <c:pt idx="1">
                  <c:v>-0.68904231591811183</c:v>
                </c:pt>
                <c:pt idx="2">
                  <c:v>-0.37395324675324559</c:v>
                </c:pt>
                <c:pt idx="3">
                  <c:v>0.80571821705426316</c:v>
                </c:pt>
                <c:pt idx="4">
                  <c:v>1.0384615384615472</c:v>
                </c:pt>
                <c:pt idx="5">
                  <c:v>7.236477777777789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60</c:v>
                </c:pt>
                <c:pt idx="1">
                  <c:v>Av Price/Unit 36.66</c:v>
                </c:pt>
                <c:pt idx="2">
                  <c:v>Av Price/Unit 42.25</c:v>
                </c:pt>
                <c:pt idx="3">
                  <c:v>Av Price/Unit 44.73</c:v>
                </c:pt>
                <c:pt idx="4">
                  <c:v>Av Price/Unit 39.85</c:v>
                </c:pt>
                <c:pt idx="5">
                  <c:v>Av Price/Unit 45.25</c:v>
                </c:pt>
              </c:strCache>
            </c:strRef>
          </c:cat>
          <c:val>
            <c:numRef>
              <c:f>Sheet1!$E$2:$E$7</c:f>
              <c:numCache>
                <c:formatCode>General</c:formatCode>
                <c:ptCount val="6"/>
                <c:pt idx="0">
                  <c:v>5.0994467259867653</c:v>
                </c:pt>
                <c:pt idx="1">
                  <c:v>6.1106018942865852</c:v>
                </c:pt>
                <c:pt idx="2">
                  <c:v>7.0415584415584416</c:v>
                </c:pt>
                <c:pt idx="3">
                  <c:v>7.4544573643410814</c:v>
                </c:pt>
                <c:pt idx="4">
                  <c:v>6.5076923076923006</c:v>
                </c:pt>
                <c:pt idx="5">
                  <c:v>7.541666666666660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28</c:v>
                </c:pt>
                <c:pt idx="1">
                  <c:v>Av Price/Unit 36.50</c:v>
                </c:pt>
                <c:pt idx="2">
                  <c:v>Av Price/Unit 44.27</c:v>
                </c:pt>
                <c:pt idx="3">
                  <c:v>Av Price/Unit 41.96</c:v>
                </c:pt>
                <c:pt idx="4">
                  <c:v>Av Price/Unit 39.29</c:v>
                </c:pt>
                <c:pt idx="5">
                  <c:v>Av Price/Unit 37.62</c:v>
                </c:pt>
              </c:strCache>
            </c:strRef>
          </c:cat>
          <c:val>
            <c:numRef>
              <c:f>Sheet1!$B$2:$B$7</c:f>
              <c:numCache>
                <c:formatCode>General</c:formatCode>
                <c:ptCount val="6"/>
                <c:pt idx="0">
                  <c:v>11.341335546497907</c:v>
                </c:pt>
                <c:pt idx="1">
                  <c:v>13.476377164179103</c:v>
                </c:pt>
                <c:pt idx="2">
                  <c:v>13.805586368477101</c:v>
                </c:pt>
                <c:pt idx="3">
                  <c:v>12.818032964329644</c:v>
                </c:pt>
                <c:pt idx="4">
                  <c:v>13.929000000000002</c:v>
                </c:pt>
                <c:pt idx="5">
                  <c:v>13.93130329670329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28</c:v>
                </c:pt>
                <c:pt idx="1">
                  <c:v>Av Price/Unit 36.50</c:v>
                </c:pt>
                <c:pt idx="2">
                  <c:v>Av Price/Unit 44.27</c:v>
                </c:pt>
                <c:pt idx="3">
                  <c:v>Av Price/Unit 41.96</c:v>
                </c:pt>
                <c:pt idx="4">
                  <c:v>Av Price/Unit 39.29</c:v>
                </c:pt>
                <c:pt idx="5">
                  <c:v>Av Price/Unit 37.62</c:v>
                </c:pt>
              </c:strCache>
            </c:strRef>
          </c:cat>
          <c:val>
            <c:numRef>
              <c:f>Sheet1!$C$2:$C$7</c:f>
              <c:numCache>
                <c:formatCode>General</c:formatCode>
                <c:ptCount val="6"/>
                <c:pt idx="0">
                  <c:v>13.89540687546927</c:v>
                </c:pt>
                <c:pt idx="1">
                  <c:v>17.767083208955221</c:v>
                </c:pt>
                <c:pt idx="2">
                  <c:v>22.672849094781682</c:v>
                </c:pt>
                <c:pt idx="3">
                  <c:v>22.657514637146374</c:v>
                </c:pt>
                <c:pt idx="4">
                  <c:v>17.571000000000002</c:v>
                </c:pt>
                <c:pt idx="5">
                  <c:v>16.75527802197802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28</c:v>
                </c:pt>
                <c:pt idx="1">
                  <c:v>Av Price/Unit 36.50</c:v>
                </c:pt>
                <c:pt idx="2">
                  <c:v>Av Price/Unit 44.27</c:v>
                </c:pt>
                <c:pt idx="3">
                  <c:v>Av Price/Unit 41.96</c:v>
                </c:pt>
                <c:pt idx="4">
                  <c:v>Av Price/Unit 39.29</c:v>
                </c:pt>
                <c:pt idx="5">
                  <c:v>Av Price/Unit 37.62</c:v>
                </c:pt>
              </c:strCache>
            </c:strRef>
          </c:cat>
          <c:val>
            <c:numRef>
              <c:f>Sheet1!$D$2:$D$7</c:f>
              <c:numCache>
                <c:formatCode>General</c:formatCode>
                <c:ptCount val="6"/>
                <c:pt idx="0">
                  <c:v>-7.0238049268880332E-3</c:v>
                </c:pt>
                <c:pt idx="1">
                  <c:v>-0.82865937810944956</c:v>
                </c:pt>
                <c:pt idx="2">
                  <c:v>0.41536627618032895</c:v>
                </c:pt>
                <c:pt idx="3">
                  <c:v>-0.50527289872898251</c:v>
                </c:pt>
                <c:pt idx="4">
                  <c:v>0.86111111111111427</c:v>
                </c:pt>
                <c:pt idx="5">
                  <c:v>0.6595725274725268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28</c:v>
                </c:pt>
                <c:pt idx="1">
                  <c:v>Av Price/Unit 36.50</c:v>
                </c:pt>
                <c:pt idx="2">
                  <c:v>Av Price/Unit 44.27</c:v>
                </c:pt>
                <c:pt idx="3">
                  <c:v>Av Price/Unit 41.96</c:v>
                </c:pt>
                <c:pt idx="4">
                  <c:v>Av Price/Unit 39.29</c:v>
                </c:pt>
                <c:pt idx="5">
                  <c:v>Av Price/Unit 37.62</c:v>
                </c:pt>
              </c:strCache>
            </c:strRef>
          </c:cat>
          <c:val>
            <c:numRef>
              <c:f>Sheet1!$E$2:$E$7</c:f>
              <c:numCache>
                <c:formatCode>General</c:formatCode>
                <c:ptCount val="6"/>
                <c:pt idx="0">
                  <c:v>5.04594372340806</c:v>
                </c:pt>
                <c:pt idx="1">
                  <c:v>6.0829601990049733</c:v>
                </c:pt>
                <c:pt idx="2">
                  <c:v>7.3787717429889925</c:v>
                </c:pt>
                <c:pt idx="3">
                  <c:v>6.9940549405494021</c:v>
                </c:pt>
                <c:pt idx="4">
                  <c:v>6.4722222222222223</c:v>
                </c:pt>
                <c:pt idx="5">
                  <c:v>6.269230769230769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55</c:v>
                </c:pt>
                <c:pt idx="1">
                  <c:v>Av Price/Unit 41.05</c:v>
                </c:pt>
                <c:pt idx="2">
                  <c:v>Av Price/Unit 36.12</c:v>
                </c:pt>
                <c:pt idx="3">
                  <c:v>Av Price/Unit 45.96</c:v>
                </c:pt>
              </c:strCache>
            </c:strRef>
          </c:cat>
          <c:val>
            <c:numRef>
              <c:f>Sheet1!$B$2:$B$5</c:f>
              <c:numCache>
                <c:formatCode>General</c:formatCode>
                <c:ptCount val="4"/>
                <c:pt idx="0">
                  <c:v>11.309679907264297</c:v>
                </c:pt>
                <c:pt idx="1">
                  <c:v>12.436428760162602</c:v>
                </c:pt>
                <c:pt idx="2">
                  <c:v>13.485827682737169</c:v>
                </c:pt>
                <c:pt idx="3">
                  <c:v>13.52104690431519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55</c:v>
                </c:pt>
                <c:pt idx="1">
                  <c:v>Av Price/Unit 41.05</c:v>
                </c:pt>
                <c:pt idx="2">
                  <c:v>Av Price/Unit 36.12</c:v>
                </c:pt>
                <c:pt idx="3">
                  <c:v>Av Price/Unit 45.96</c:v>
                </c:pt>
              </c:strCache>
            </c:strRef>
          </c:cat>
          <c:val>
            <c:numRef>
              <c:f>Sheet1!$C$2:$C$5</c:f>
              <c:numCache>
                <c:formatCode>General</c:formatCode>
                <c:ptCount val="4"/>
                <c:pt idx="0">
                  <c:v>13.901641973945685</c:v>
                </c:pt>
                <c:pt idx="1">
                  <c:v>22.683617886178862</c:v>
                </c:pt>
                <c:pt idx="2">
                  <c:v>17.75673437013997</c:v>
                </c:pt>
                <c:pt idx="3">
                  <c:v>22.67139268292682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55</c:v>
                </c:pt>
                <c:pt idx="1">
                  <c:v>Av Price/Unit 41.05</c:v>
                </c:pt>
                <c:pt idx="2">
                  <c:v>Av Price/Unit 36.12</c:v>
                </c:pt>
                <c:pt idx="3">
                  <c:v>Av Price/Unit 45.96</c:v>
                </c:pt>
              </c:strCache>
            </c:strRef>
          </c:cat>
          <c:val>
            <c:numRef>
              <c:f>Sheet1!$D$2:$D$5</c:f>
              <c:numCache>
                <c:formatCode>General</c:formatCode>
                <c:ptCount val="4"/>
                <c:pt idx="0">
                  <c:v>0.24757265032751974</c:v>
                </c:pt>
                <c:pt idx="1">
                  <c:v>-0.91018892276423458</c:v>
                </c:pt>
                <c:pt idx="2">
                  <c:v>-1.1427694142042526</c:v>
                </c:pt>
                <c:pt idx="3">
                  <c:v>2.111123702313946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55</c:v>
                </c:pt>
                <c:pt idx="1">
                  <c:v>Av Price/Unit 41.05</c:v>
                </c:pt>
                <c:pt idx="2">
                  <c:v>Av Price/Unit 36.12</c:v>
                </c:pt>
                <c:pt idx="3">
                  <c:v>Av Price/Unit 45.96</c:v>
                </c:pt>
              </c:strCache>
            </c:strRef>
          </c:cat>
          <c:val>
            <c:numRef>
              <c:f>Sheet1!$E$2:$E$5</c:f>
              <c:numCache>
                <c:formatCode>General</c:formatCode>
                <c:ptCount val="4"/>
                <c:pt idx="0">
                  <c:v>5.0917789063075007</c:v>
                </c:pt>
                <c:pt idx="1">
                  <c:v>6.841971544715447</c:v>
                </c:pt>
                <c:pt idx="2">
                  <c:v>6.019958527734576</c:v>
                </c:pt>
                <c:pt idx="3">
                  <c:v>7.66072545340837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38</c:v>
                </c:pt>
                <c:pt idx="1">
                  <c:v>Av Price/Unit 45.06</c:v>
                </c:pt>
                <c:pt idx="2">
                  <c:v>Av Price/Unit 43.34</c:v>
                </c:pt>
                <c:pt idx="3">
                  <c:v>Av Price/Unit 38.73</c:v>
                </c:pt>
              </c:strCache>
            </c:strRef>
          </c:cat>
          <c:val>
            <c:numRef>
              <c:f>Sheet1!$B$2:$B$5</c:f>
              <c:numCache>
                <c:formatCode>General</c:formatCode>
                <c:ptCount val="4"/>
                <c:pt idx="0">
                  <c:v>11.449227761688043</c:v>
                </c:pt>
                <c:pt idx="1">
                  <c:v>14.471159104477611</c:v>
                </c:pt>
                <c:pt idx="2">
                  <c:v>12.908407894736843</c:v>
                </c:pt>
                <c:pt idx="3">
                  <c:v>13.52453202614379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38</c:v>
                </c:pt>
                <c:pt idx="1">
                  <c:v>Av Price/Unit 45.06</c:v>
                </c:pt>
                <c:pt idx="2">
                  <c:v>Av Price/Unit 43.34</c:v>
                </c:pt>
                <c:pt idx="3">
                  <c:v>Av Price/Unit 38.73</c:v>
                </c:pt>
              </c:strCache>
            </c:strRef>
          </c:cat>
          <c:val>
            <c:numRef>
              <c:f>Sheet1!$C$2:$C$5</c:f>
              <c:numCache>
                <c:formatCode>General</c:formatCode>
                <c:ptCount val="4"/>
                <c:pt idx="0">
                  <c:v>13.874155730244103</c:v>
                </c:pt>
                <c:pt idx="1">
                  <c:v>22.676255820895523</c:v>
                </c:pt>
                <c:pt idx="2">
                  <c:v>22.651332631578949</c:v>
                </c:pt>
                <c:pt idx="3">
                  <c:v>17.71435098039216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38</c:v>
                </c:pt>
                <c:pt idx="1">
                  <c:v>Av Price/Unit 45.06</c:v>
                </c:pt>
                <c:pt idx="2">
                  <c:v>Av Price/Unit 43.34</c:v>
                </c:pt>
                <c:pt idx="3">
                  <c:v>Av Price/Unit 38.73</c:v>
                </c:pt>
              </c:strCache>
            </c:strRef>
          </c:cat>
          <c:val>
            <c:numRef>
              <c:f>Sheet1!$D$2:$D$5</c:f>
              <c:numCache>
                <c:formatCode>General</c:formatCode>
                <c:ptCount val="4"/>
                <c:pt idx="0">
                  <c:v>-5.1515239277328817E-3</c:v>
                </c:pt>
                <c:pt idx="1">
                  <c:v>0.40229572139303116</c:v>
                </c:pt>
                <c:pt idx="2">
                  <c:v>0.55429456140350908</c:v>
                </c:pt>
                <c:pt idx="3">
                  <c:v>1.037805446623089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38</c:v>
                </c:pt>
                <c:pt idx="1">
                  <c:v>Av Price/Unit 45.06</c:v>
                </c:pt>
                <c:pt idx="2">
                  <c:v>Av Price/Unit 43.34</c:v>
                </c:pt>
                <c:pt idx="3">
                  <c:v>Av Price/Unit 38.73</c:v>
                </c:pt>
              </c:strCache>
            </c:strRef>
          </c:cat>
          <c:val>
            <c:numRef>
              <c:f>Sheet1!$E$2:$E$5</c:f>
              <c:numCache>
                <c:formatCode>General</c:formatCode>
                <c:ptCount val="4"/>
                <c:pt idx="0">
                  <c:v>5.0636463936008838</c:v>
                </c:pt>
                <c:pt idx="1">
                  <c:v>7.5099502487562209</c:v>
                </c:pt>
                <c:pt idx="2">
                  <c:v>7.2228070175438583</c:v>
                </c:pt>
                <c:pt idx="3">
                  <c:v>6.455337690631810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45</c:v>
                </c:pt>
                <c:pt idx="1">
                  <c:v>Av Price/Unit 36.29</c:v>
                </c:pt>
                <c:pt idx="2">
                  <c:v>Av Price/Unit 41.79</c:v>
                </c:pt>
                <c:pt idx="3">
                  <c:v>Av Price/Unit 44.94</c:v>
                </c:pt>
                <c:pt idx="4">
                  <c:v>Av Price/Unit 38.30</c:v>
                </c:pt>
                <c:pt idx="5">
                  <c:v>Av Price/Unit 38.76</c:v>
                </c:pt>
              </c:strCache>
            </c:strRef>
          </c:cat>
          <c:val>
            <c:numRef>
              <c:f>Sheet1!$B$2:$B$7</c:f>
              <c:numCache>
                <c:formatCode>General</c:formatCode>
                <c:ptCount val="6"/>
                <c:pt idx="0">
                  <c:v>11.29904943817197</c:v>
                </c:pt>
                <c:pt idx="1">
                  <c:v>13.485180642804966</c:v>
                </c:pt>
                <c:pt idx="2">
                  <c:v>12.613931331760671</c:v>
                </c:pt>
                <c:pt idx="3">
                  <c:v>13.672461798839457</c:v>
                </c:pt>
                <c:pt idx="4">
                  <c:v>13.928999999999998</c:v>
                </c:pt>
                <c:pt idx="5">
                  <c:v>13.86973011363636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45</c:v>
                </c:pt>
                <c:pt idx="1">
                  <c:v>Av Price/Unit 36.29</c:v>
                </c:pt>
                <c:pt idx="2">
                  <c:v>Av Price/Unit 41.79</c:v>
                </c:pt>
                <c:pt idx="3">
                  <c:v>Av Price/Unit 44.94</c:v>
                </c:pt>
                <c:pt idx="4">
                  <c:v>Av Price/Unit 38.30</c:v>
                </c:pt>
                <c:pt idx="5">
                  <c:v>Av Price/Unit 38.76</c:v>
                </c:pt>
              </c:strCache>
            </c:strRef>
          </c:cat>
          <c:val>
            <c:numRef>
              <c:f>Sheet1!$C$2:$C$7</c:f>
              <c:numCache>
                <c:formatCode>General</c:formatCode>
                <c:ptCount val="6"/>
                <c:pt idx="0">
                  <c:v>13.90373581956832</c:v>
                </c:pt>
                <c:pt idx="1">
                  <c:v>17.75744291453616</c:v>
                </c:pt>
                <c:pt idx="2">
                  <c:v>22.671476002573453</c:v>
                </c:pt>
                <c:pt idx="3">
                  <c:v>22.672167698259187</c:v>
                </c:pt>
                <c:pt idx="4">
                  <c:v>17.571000000000002</c:v>
                </c:pt>
                <c:pt idx="5">
                  <c:v>16.68171420454545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45</c:v>
                </c:pt>
                <c:pt idx="1">
                  <c:v>Av Price/Unit 36.29</c:v>
                </c:pt>
                <c:pt idx="2">
                  <c:v>Av Price/Unit 41.79</c:v>
                </c:pt>
                <c:pt idx="3">
                  <c:v>Av Price/Unit 44.94</c:v>
                </c:pt>
                <c:pt idx="4">
                  <c:v>Av Price/Unit 38.30</c:v>
                </c:pt>
                <c:pt idx="5">
                  <c:v>Av Price/Unit 38.76</c:v>
                </c:pt>
              </c:strCache>
            </c:strRef>
          </c:cat>
          <c:val>
            <c:numRef>
              <c:f>Sheet1!$D$2:$D$7</c:f>
              <c:numCache>
                <c:formatCode>General</c:formatCode>
                <c:ptCount val="6"/>
                <c:pt idx="0">
                  <c:v>0.16988052868421377</c:v>
                </c:pt>
                <c:pt idx="1">
                  <c:v>-1.0029413075237414</c:v>
                </c:pt>
                <c:pt idx="2">
                  <c:v>-0.46108107798985287</c:v>
                </c:pt>
                <c:pt idx="3">
                  <c:v>1.1073573178594458</c:v>
                </c:pt>
                <c:pt idx="4">
                  <c:v>0.37839305103149101</c:v>
                </c:pt>
                <c:pt idx="5">
                  <c:v>1.749692045454551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45</c:v>
                </c:pt>
                <c:pt idx="1">
                  <c:v>Av Price/Unit 36.29</c:v>
                </c:pt>
                <c:pt idx="2">
                  <c:v>Av Price/Unit 41.79</c:v>
                </c:pt>
                <c:pt idx="3">
                  <c:v>Av Price/Unit 44.94</c:v>
                </c:pt>
                <c:pt idx="4">
                  <c:v>Av Price/Unit 38.30</c:v>
                </c:pt>
                <c:pt idx="5">
                  <c:v>Av Price/Unit 38.76</c:v>
                </c:pt>
              </c:strCache>
            </c:strRef>
          </c:cat>
          <c:val>
            <c:numRef>
              <c:f>Sheet1!$E$2:$E$7</c:f>
              <c:numCache>
                <c:formatCode>General</c:formatCode>
                <c:ptCount val="6"/>
                <c:pt idx="0">
                  <c:v>5.0745331572849022</c:v>
                </c:pt>
                <c:pt idx="1">
                  <c:v>6.0479364499634771</c:v>
                </c:pt>
                <c:pt idx="2">
                  <c:v>6.9648652512688516</c:v>
                </c:pt>
                <c:pt idx="3">
                  <c:v>7.4904094132817489</c:v>
                </c:pt>
                <c:pt idx="4">
                  <c:v>6.3756786102062932</c:v>
                </c:pt>
                <c:pt idx="5">
                  <c:v>6.460227272727272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E6E5E5"/>
              </a:solidFill>
            </c:spPr>
            <c:extLst>
              <c:ext xmlns:c16="http://schemas.microsoft.com/office/drawing/2014/chart" uri="{C3380CC4-5D6E-409C-BE32-E72D297353CC}">
                <c16:uniqueId val="{00000005-CFF5-4D9B-9947-2A90D7752FBB}"/>
              </c:ext>
            </c:extLst>
          </c:dPt>
          <c:dPt>
            <c:idx val="3"/>
            <c:invertIfNegative val="0"/>
            <c:bubble3D val="0"/>
            <c:spPr>
              <a:solidFill>
                <a:srgbClr val="FF808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E6E5E5"/>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B272A33E-F142-4CA7-9594-1505BB5ECC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38283603-CB55-4B48-B458-2566079F7E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73D60466-528D-4BA8-945B-EE2B706CE5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F72F18A8-BD53-41FB-9119-64940B2C03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47221A2E-D298-470F-82EA-53AB1F7684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C0CB9885-76B5-435A-9CFD-F3FA1FE9C0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8AE7F7D4-8CBD-44F6-B207-5472933D2E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EBB363DF-0156-4409-BFF0-259765C8A2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43.796999999999997</c:v>
                </c:pt>
                <c:pt idx="1">
                  <c:v>43.801099999999998</c:v>
                </c:pt>
                <c:pt idx="2">
                  <c:v>41.972799999999999</c:v>
                </c:pt>
                <c:pt idx="3">
                  <c:v>44.305199999999999</c:v>
                </c:pt>
                <c:pt idx="4">
                  <c:v>40.946800000000003</c:v>
                </c:pt>
              </c:numCache>
            </c:numRef>
          </c:xVal>
          <c:yVal>
            <c:numRef>
              <c:f>Sheet1!$B$2:$B$6</c:f>
              <c:numCache>
                <c:formatCode>General</c:formatCode>
                <c:ptCount val="5"/>
                <c:pt idx="0">
                  <c:v>0.39450000000000002</c:v>
                </c:pt>
                <c:pt idx="1">
                  <c:v>0.39029999999999998</c:v>
                </c:pt>
                <c:pt idx="2">
                  <c:v>0.38640000000000002</c:v>
                </c:pt>
                <c:pt idx="3">
                  <c:v>0.39860000000000001</c:v>
                </c:pt>
                <c:pt idx="4">
                  <c:v>0.39029999999999998</c:v>
                </c:pt>
              </c:numCache>
            </c:numRef>
          </c:yVal>
          <c:bubbleSize>
            <c:numRef>
              <c:f>Sheet1!$C$2:$C$6</c:f>
              <c:numCache>
                <c:formatCode>General</c:formatCode>
                <c:ptCount val="5"/>
                <c:pt idx="0">
                  <c:v>24050008.05859999</c:v>
                </c:pt>
                <c:pt idx="1">
                  <c:v>3374614.503000001</c:v>
                </c:pt>
                <c:pt idx="2">
                  <c:v>850663.25030000089</c:v>
                </c:pt>
                <c:pt idx="3">
                  <c:v>1940875.943200001</c:v>
                </c:pt>
                <c:pt idx="4">
                  <c:v>1067975.5532000009</c:v>
                </c:pt>
              </c:numCache>
            </c:numRef>
          </c:bubbleSize>
          <c:bubble3D val="0"/>
          <c:extLst>
            <c:ext xmlns:c15="http://schemas.microsoft.com/office/drawing/2012/chart" uri="{02D57815-91ED-43cb-92C2-25804820EDAC}">
              <c15:datalabelsRange>
                <c15:f>Sheet1!$E$2:$E$29</c15:f>
                <c15:dlblRangeCache>
                  <c:ptCount val="28"/>
                  <c:pt idx="0">
                    <c:v>NICOLAS IDF</c:v>
                  </c:pt>
                  <c:pt idx="1">
                    <c:v>NICOLAS PAC</c:v>
                  </c:pt>
                  <c:pt idx="2">
                    <c:v>NICOLAS EST</c:v>
                  </c:pt>
                  <c:pt idx="3">
                    <c:v>NICOLAS RHO</c:v>
                  </c:pt>
                  <c:pt idx="4">
                    <c:v>NICOLAS AQU</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3.166239999999995"/>
          <c:min val="32.757440000000003"/>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9393768117934702"/>
        <c:crossBetween val="midCat"/>
      </c:valAx>
      <c:valAx>
        <c:axId val="1011451359"/>
        <c:scaling>
          <c:orientation val="minMax"/>
          <c:max val="0.83831999999999995"/>
          <c:min val="6.9120000000000029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3.68206843856047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37</c:v>
                </c:pt>
                <c:pt idx="1">
                  <c:v>Av Price/Unit 42.33</c:v>
                </c:pt>
                <c:pt idx="2">
                  <c:v>Av Price/Unit 37.65</c:v>
                </c:pt>
                <c:pt idx="3">
                  <c:v>Av Price/Unit 45.13</c:v>
                </c:pt>
              </c:strCache>
            </c:strRef>
          </c:cat>
          <c:val>
            <c:numRef>
              <c:f>Sheet1!$B$2:$B$5</c:f>
              <c:numCache>
                <c:formatCode>General</c:formatCode>
                <c:ptCount val="4"/>
                <c:pt idx="0">
                  <c:v>11.360709222520107</c:v>
                </c:pt>
                <c:pt idx="1">
                  <c:v>12.857552830188679</c:v>
                </c:pt>
                <c:pt idx="2">
                  <c:v>13.519763531669867</c:v>
                </c:pt>
                <c:pt idx="3">
                  <c:v>14.06558752886836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37</c:v>
                </c:pt>
                <c:pt idx="1">
                  <c:v>Av Price/Unit 42.33</c:v>
                </c:pt>
                <c:pt idx="2">
                  <c:v>Av Price/Unit 37.65</c:v>
                </c:pt>
                <c:pt idx="3">
                  <c:v>Av Price/Unit 45.13</c:v>
                </c:pt>
              </c:strCache>
            </c:strRef>
          </c:cat>
          <c:val>
            <c:numRef>
              <c:f>Sheet1!$C$2:$C$5</c:f>
              <c:numCache>
                <c:formatCode>General</c:formatCode>
                <c:ptCount val="4"/>
                <c:pt idx="0">
                  <c:v>13.89159091152815</c:v>
                </c:pt>
                <c:pt idx="1">
                  <c:v>22.654811320754721</c:v>
                </c:pt>
                <c:pt idx="2">
                  <c:v>17.719572744721688</c:v>
                </c:pt>
                <c:pt idx="3">
                  <c:v>22.67417990762124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37</c:v>
                </c:pt>
                <c:pt idx="1">
                  <c:v>Av Price/Unit 42.33</c:v>
                </c:pt>
                <c:pt idx="2">
                  <c:v>Av Price/Unit 37.65</c:v>
                </c:pt>
                <c:pt idx="3">
                  <c:v>Av Price/Unit 45.13</c:v>
                </c:pt>
              </c:strCache>
            </c:strRef>
          </c:cat>
          <c:val>
            <c:numRef>
              <c:f>Sheet1!$D$2:$D$5</c:f>
              <c:numCache>
                <c:formatCode>General</c:formatCode>
                <c:ptCount val="4"/>
                <c:pt idx="0">
                  <c:v>5.2883065236823512E-2</c:v>
                </c:pt>
                <c:pt idx="1">
                  <c:v>-0.2380804332634483</c:v>
                </c:pt>
                <c:pt idx="2">
                  <c:v>0.13942252079334239</c:v>
                </c:pt>
                <c:pt idx="3">
                  <c:v>0.8679571978444968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37</c:v>
                </c:pt>
                <c:pt idx="1">
                  <c:v>Av Price/Unit 42.33</c:v>
                </c:pt>
                <c:pt idx="2">
                  <c:v>Av Price/Unit 37.65</c:v>
                </c:pt>
                <c:pt idx="3">
                  <c:v>Av Price/Unit 45.13</c:v>
                </c:pt>
              </c:strCache>
            </c:strRef>
          </c:cat>
          <c:val>
            <c:numRef>
              <c:f>Sheet1!$E$2:$E$5</c:f>
              <c:numCache>
                <c:formatCode>General</c:formatCode>
                <c:ptCount val="4"/>
                <c:pt idx="0">
                  <c:v>5.0610366398570124</c:v>
                </c:pt>
                <c:pt idx="1">
                  <c:v>7.0548567435359839</c:v>
                </c:pt>
                <c:pt idx="2">
                  <c:v>6.2757517594369787</c:v>
                </c:pt>
                <c:pt idx="3">
                  <c:v>7.521555042340263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88</c:v>
                </c:pt>
                <c:pt idx="1">
                  <c:v>Av Price/Unit 45.02</c:v>
                </c:pt>
                <c:pt idx="2">
                  <c:v>Av Price/Unit 37.25</c:v>
                </c:pt>
                <c:pt idx="3">
                  <c:v>Av Price/Unit 43.28</c:v>
                </c:pt>
              </c:strCache>
            </c:strRef>
          </c:cat>
          <c:val>
            <c:numRef>
              <c:f>Sheet1!$B$2:$B$5</c:f>
              <c:numCache>
                <c:formatCode>General</c:formatCode>
                <c:ptCount val="4"/>
                <c:pt idx="0">
                  <c:v>11.362520689655172</c:v>
                </c:pt>
                <c:pt idx="1">
                  <c:v>14.329236741214057</c:v>
                </c:pt>
                <c:pt idx="2">
                  <c:v>13.537649107142856</c:v>
                </c:pt>
                <c:pt idx="3">
                  <c:v>12.87751393442623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88</c:v>
                </c:pt>
                <c:pt idx="1">
                  <c:v>Av Price/Unit 45.02</c:v>
                </c:pt>
                <c:pt idx="2">
                  <c:v>Av Price/Unit 37.25</c:v>
                </c:pt>
                <c:pt idx="3">
                  <c:v>Av Price/Unit 43.28</c:v>
                </c:pt>
              </c:strCache>
            </c:strRef>
          </c:cat>
          <c:val>
            <c:numRef>
              <c:f>Sheet1!$C$2:$C$5</c:f>
              <c:numCache>
                <c:formatCode>General</c:formatCode>
                <c:ptCount val="4"/>
                <c:pt idx="0">
                  <c:v>13.89123411330049</c:v>
                </c:pt>
                <c:pt idx="1">
                  <c:v>22.675529392971246</c:v>
                </c:pt>
                <c:pt idx="2">
                  <c:v>17.699987053571427</c:v>
                </c:pt>
                <c:pt idx="3">
                  <c:v>22.65344590163934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88</c:v>
                </c:pt>
                <c:pt idx="1">
                  <c:v>Av Price/Unit 45.02</c:v>
                </c:pt>
                <c:pt idx="2">
                  <c:v>Av Price/Unit 37.25</c:v>
                </c:pt>
                <c:pt idx="3">
                  <c:v>Av Price/Unit 43.28</c:v>
                </c:pt>
              </c:strCache>
            </c:strRef>
          </c:cat>
          <c:val>
            <c:numRef>
              <c:f>Sheet1!$D$2:$D$5</c:f>
              <c:numCache>
                <c:formatCode>General</c:formatCode>
                <c:ptCount val="4"/>
                <c:pt idx="0">
                  <c:v>0.47626709085933072</c:v>
                </c:pt>
                <c:pt idx="1">
                  <c:v>0.51382662406815882</c:v>
                </c:pt>
                <c:pt idx="2">
                  <c:v>-0.19596949404761332</c:v>
                </c:pt>
                <c:pt idx="3">
                  <c:v>0.5346139344262255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88</c:v>
                </c:pt>
                <c:pt idx="1">
                  <c:v>Av Price/Unit 45.02</c:v>
                </c:pt>
                <c:pt idx="2">
                  <c:v>Av Price/Unit 37.25</c:v>
                </c:pt>
                <c:pt idx="3">
                  <c:v>Av Price/Unit 43.28</c:v>
                </c:pt>
              </c:strCache>
            </c:strRef>
          </c:cat>
          <c:val>
            <c:numRef>
              <c:f>Sheet1!$E$2:$E$5</c:f>
              <c:numCache>
                <c:formatCode>General</c:formatCode>
                <c:ptCount val="4"/>
                <c:pt idx="0">
                  <c:v>5.1460043787630019</c:v>
                </c:pt>
                <c:pt idx="1">
                  <c:v>7.5037273695420641</c:v>
                </c:pt>
                <c:pt idx="2">
                  <c:v>6.2083333333333268</c:v>
                </c:pt>
                <c:pt idx="3">
                  <c:v>7.213114754098360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33</c:v>
                </c:pt>
                <c:pt idx="1">
                  <c:v>Av Price/Unit 45.33</c:v>
                </c:pt>
                <c:pt idx="2">
                  <c:v>Av Price/Unit 39.18</c:v>
                </c:pt>
                <c:pt idx="3">
                  <c:v>Av Price/Unit 41.79</c:v>
                </c:pt>
              </c:strCache>
            </c:strRef>
          </c:cat>
          <c:val>
            <c:numRef>
              <c:f>Sheet1!$B$2:$B$5</c:f>
              <c:numCache>
                <c:formatCode>General</c:formatCode>
                <c:ptCount val="4"/>
                <c:pt idx="0">
                  <c:v>11.481808982035929</c:v>
                </c:pt>
                <c:pt idx="1">
                  <c:v>13.750408333333334</c:v>
                </c:pt>
                <c:pt idx="2">
                  <c:v>13.548218018018018</c:v>
                </c:pt>
                <c:pt idx="3">
                  <c:v>12.67068333333333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33</c:v>
                </c:pt>
                <c:pt idx="1">
                  <c:v>Av Price/Unit 45.33</c:v>
                </c:pt>
                <c:pt idx="2">
                  <c:v>Av Price/Unit 39.18</c:v>
                </c:pt>
                <c:pt idx="3">
                  <c:v>Av Price/Unit 41.79</c:v>
                </c:pt>
              </c:strCache>
            </c:strRef>
          </c:cat>
          <c:val>
            <c:numRef>
              <c:f>Sheet1!$C$2:$C$5</c:f>
              <c:numCache>
                <c:formatCode>General</c:formatCode>
                <c:ptCount val="4"/>
                <c:pt idx="0">
                  <c:v>13.867738323353294</c:v>
                </c:pt>
                <c:pt idx="1">
                  <c:v>22.672566666666672</c:v>
                </c:pt>
                <c:pt idx="2">
                  <c:v>17.688413513513513</c:v>
                </c:pt>
                <c:pt idx="3">
                  <c:v>22.66759393939394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33</c:v>
                </c:pt>
                <c:pt idx="1">
                  <c:v>Av Price/Unit 45.33</c:v>
                </c:pt>
                <c:pt idx="2">
                  <c:v>Av Price/Unit 39.18</c:v>
                </c:pt>
                <c:pt idx="3">
                  <c:v>Av Price/Unit 41.79</c:v>
                </c:pt>
              </c:strCache>
            </c:strRef>
          </c:cat>
          <c:val>
            <c:numRef>
              <c:f>Sheet1!$D$2:$D$5</c:f>
              <c:numCache>
                <c:formatCode>General</c:formatCode>
                <c:ptCount val="4"/>
                <c:pt idx="0">
                  <c:v>-7.5096207584831376E-2</c:v>
                </c:pt>
                <c:pt idx="1">
                  <c:v>1.3547444444444423</c:v>
                </c:pt>
                <c:pt idx="2">
                  <c:v>1.413518618618621</c:v>
                </c:pt>
                <c:pt idx="3">
                  <c:v>-0.5150449494949498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33</c:v>
                </c:pt>
                <c:pt idx="1">
                  <c:v>Av Price/Unit 45.33</c:v>
                </c:pt>
                <c:pt idx="2">
                  <c:v>Av Price/Unit 39.18</c:v>
                </c:pt>
                <c:pt idx="3">
                  <c:v>Av Price/Unit 41.79</c:v>
                </c:pt>
              </c:strCache>
            </c:strRef>
          </c:cat>
          <c:val>
            <c:numRef>
              <c:f>Sheet1!$E$2:$E$5</c:f>
              <c:numCache>
                <c:formatCode>General</c:formatCode>
                <c:ptCount val="4"/>
                <c:pt idx="0">
                  <c:v>5.0548902195608783</c:v>
                </c:pt>
                <c:pt idx="1">
                  <c:v>7.5555555555555509</c:v>
                </c:pt>
                <c:pt idx="2">
                  <c:v>6.5300300300300274</c:v>
                </c:pt>
                <c:pt idx="3">
                  <c:v>6.964646464646462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60</c:v>
                </c:pt>
                <c:pt idx="1">
                  <c:v>Av Price/Unit 37.16</c:v>
                </c:pt>
                <c:pt idx="2">
                  <c:v>Av Price/Unit 43.83</c:v>
                </c:pt>
                <c:pt idx="3">
                  <c:v>Av Price/Unit 46.33</c:v>
                </c:pt>
              </c:strCache>
            </c:strRef>
          </c:cat>
          <c:val>
            <c:numRef>
              <c:f>Sheet1!$B$2:$B$5</c:f>
              <c:numCache>
                <c:formatCode>General</c:formatCode>
                <c:ptCount val="4"/>
                <c:pt idx="0">
                  <c:v>11.289530982658958</c:v>
                </c:pt>
                <c:pt idx="1">
                  <c:v>13.4595</c:v>
                </c:pt>
                <c:pt idx="2">
                  <c:v>12.934777966101697</c:v>
                </c:pt>
                <c:pt idx="3">
                  <c:v>14.01379629629629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60</c:v>
                </c:pt>
                <c:pt idx="1">
                  <c:v>Av Price/Unit 37.16</c:v>
                </c:pt>
                <c:pt idx="2">
                  <c:v>Av Price/Unit 43.83</c:v>
                </c:pt>
                <c:pt idx="3">
                  <c:v>Av Price/Unit 46.33</c:v>
                </c:pt>
              </c:strCache>
            </c:strRef>
          </c:cat>
          <c:val>
            <c:numRef>
              <c:f>Sheet1!$C$2:$C$5</c:f>
              <c:numCache>
                <c:formatCode>General</c:formatCode>
                <c:ptCount val="4"/>
                <c:pt idx="0">
                  <c:v>13.905610635838149</c:v>
                </c:pt>
                <c:pt idx="1">
                  <c:v>17.785564634146343</c:v>
                </c:pt>
                <c:pt idx="2">
                  <c:v>22.649528813559325</c:v>
                </c:pt>
                <c:pt idx="3">
                  <c:v>22.67391481481481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60</c:v>
                </c:pt>
                <c:pt idx="1">
                  <c:v>Av Price/Unit 37.16</c:v>
                </c:pt>
                <c:pt idx="2">
                  <c:v>Av Price/Unit 43.83</c:v>
                </c:pt>
                <c:pt idx="3">
                  <c:v>Av Price/Unit 46.33</c:v>
                </c:pt>
              </c:strCache>
            </c:strRef>
          </c:cat>
          <c:val>
            <c:numRef>
              <c:f>Sheet1!$D$2:$D$5</c:f>
              <c:numCache>
                <c:formatCode>General</c:formatCode>
                <c:ptCount val="4"/>
                <c:pt idx="0">
                  <c:v>0.30293159922928936</c:v>
                </c:pt>
                <c:pt idx="1">
                  <c:v>-0.27453617886178705</c:v>
                </c:pt>
                <c:pt idx="2">
                  <c:v>0.94111694915253707</c:v>
                </c:pt>
                <c:pt idx="3">
                  <c:v>1.923348148148157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60</c:v>
                </c:pt>
                <c:pt idx="1">
                  <c:v>Av Price/Unit 37.16</c:v>
                </c:pt>
                <c:pt idx="2">
                  <c:v>Av Price/Unit 43.83</c:v>
                </c:pt>
                <c:pt idx="3">
                  <c:v>Av Price/Unit 46.33</c:v>
                </c:pt>
              </c:strCache>
            </c:strRef>
          </c:cat>
          <c:val>
            <c:numRef>
              <c:f>Sheet1!$E$2:$E$5</c:f>
              <c:numCache>
                <c:formatCode>General</c:formatCode>
                <c:ptCount val="4"/>
                <c:pt idx="0">
                  <c:v>5.0996146435452765</c:v>
                </c:pt>
                <c:pt idx="1">
                  <c:v>6.194105691056909</c:v>
                </c:pt>
                <c:pt idx="2">
                  <c:v>7.3050847457627119</c:v>
                </c:pt>
                <c:pt idx="3">
                  <c:v>7.722222222222213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36</c:v>
                </c:pt>
                <c:pt idx="1">
                  <c:v>Av Price/Unit 41.62</c:v>
                </c:pt>
                <c:pt idx="2">
                  <c:v>Av Price/Unit 36.29</c:v>
                </c:pt>
                <c:pt idx="3">
                  <c:v>Av Price/Unit 45.07</c:v>
                </c:pt>
                <c:pt idx="4">
                  <c:v>Av Price/Unit 38.29</c:v>
                </c:pt>
                <c:pt idx="5">
                  <c:v>Av Price/Unit 40.61</c:v>
                </c:pt>
              </c:strCache>
            </c:strRef>
          </c:cat>
          <c:val>
            <c:numRef>
              <c:f>Sheet1!$B$2:$B$7</c:f>
              <c:numCache>
                <c:formatCode>General</c:formatCode>
                <c:ptCount val="6"/>
                <c:pt idx="0">
                  <c:v>11.3172250677099</c:v>
                </c:pt>
                <c:pt idx="1">
                  <c:v>12.639008579465543</c:v>
                </c:pt>
                <c:pt idx="2">
                  <c:v>13.502908928571429</c:v>
                </c:pt>
                <c:pt idx="3">
                  <c:v>14.030997142857144</c:v>
                </c:pt>
                <c:pt idx="4">
                  <c:v>13.929</c:v>
                </c:pt>
                <c:pt idx="5">
                  <c:v>13.94637894736842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36</c:v>
                </c:pt>
                <c:pt idx="1">
                  <c:v>Av Price/Unit 41.62</c:v>
                </c:pt>
                <c:pt idx="2">
                  <c:v>Av Price/Unit 36.29</c:v>
                </c:pt>
                <c:pt idx="3">
                  <c:v>Av Price/Unit 45.07</c:v>
                </c:pt>
                <c:pt idx="4">
                  <c:v>Av Price/Unit 38.29</c:v>
                </c:pt>
                <c:pt idx="5">
                  <c:v>Av Price/Unit 40.61</c:v>
                </c:pt>
              </c:strCache>
            </c:strRef>
          </c:cat>
          <c:val>
            <c:numRef>
              <c:f>Sheet1!$C$2:$C$7</c:f>
              <c:numCache>
                <c:formatCode>General</c:formatCode>
                <c:ptCount val="6"/>
                <c:pt idx="0">
                  <c:v>13.90015583057478</c:v>
                </c:pt>
                <c:pt idx="1">
                  <c:v>22.669760618846698</c:v>
                </c:pt>
                <c:pt idx="2">
                  <c:v>17.738029464285717</c:v>
                </c:pt>
                <c:pt idx="3">
                  <c:v>22.674002857142856</c:v>
                </c:pt>
                <c:pt idx="4">
                  <c:v>17.571000000000002</c:v>
                </c:pt>
                <c:pt idx="5">
                  <c:v>16.77328947368421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36</c:v>
                </c:pt>
                <c:pt idx="1">
                  <c:v>Av Price/Unit 41.62</c:v>
                </c:pt>
                <c:pt idx="2">
                  <c:v>Av Price/Unit 36.29</c:v>
                </c:pt>
                <c:pt idx="3">
                  <c:v>Av Price/Unit 45.07</c:v>
                </c:pt>
                <c:pt idx="4">
                  <c:v>Av Price/Unit 38.29</c:v>
                </c:pt>
                <c:pt idx="5">
                  <c:v>Av Price/Unit 40.61</c:v>
                </c:pt>
              </c:strCache>
            </c:strRef>
          </c:cat>
          <c:val>
            <c:numRef>
              <c:f>Sheet1!$D$2:$D$7</c:f>
              <c:numCache>
                <c:formatCode>General</c:formatCode>
                <c:ptCount val="6"/>
                <c:pt idx="0">
                  <c:v>8.4429714615311013E-2</c:v>
                </c:pt>
                <c:pt idx="1">
                  <c:v>-0.62209940615720427</c:v>
                </c:pt>
                <c:pt idx="2">
                  <c:v>-0.99577470238095955</c:v>
                </c:pt>
                <c:pt idx="3">
                  <c:v>0.8519806866002213</c:v>
                </c:pt>
                <c:pt idx="4">
                  <c:v>0.32072829131652369</c:v>
                </c:pt>
                <c:pt idx="5">
                  <c:v>3.118050877192981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36</c:v>
                </c:pt>
                <c:pt idx="1">
                  <c:v>Av Price/Unit 41.62</c:v>
                </c:pt>
                <c:pt idx="2">
                  <c:v>Av Price/Unit 36.29</c:v>
                </c:pt>
                <c:pt idx="3">
                  <c:v>Av Price/Unit 45.07</c:v>
                </c:pt>
                <c:pt idx="4">
                  <c:v>Av Price/Unit 38.29</c:v>
                </c:pt>
                <c:pt idx="5">
                  <c:v>Av Price/Unit 40.61</c:v>
                </c:pt>
              </c:strCache>
            </c:strRef>
          </c:cat>
          <c:val>
            <c:numRef>
              <c:f>Sheet1!$E$2:$E$7</c:f>
              <c:numCache>
                <c:formatCode>General</c:formatCode>
                <c:ptCount val="6"/>
                <c:pt idx="0">
                  <c:v>5.060362122579992</c:v>
                </c:pt>
                <c:pt idx="1">
                  <c:v>6.9373339584310028</c:v>
                </c:pt>
                <c:pt idx="2">
                  <c:v>6.0490327380952422</c:v>
                </c:pt>
                <c:pt idx="3">
                  <c:v>7.5114064230343285</c:v>
                </c:pt>
                <c:pt idx="4">
                  <c:v>6.3641456582633067</c:v>
                </c:pt>
                <c:pt idx="5">
                  <c:v>6.767543859649125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37</c:v>
                </c:pt>
                <c:pt idx="1">
                  <c:v>Av Price/Unit 45.27</c:v>
                </c:pt>
                <c:pt idx="2">
                  <c:v>Av Price/Unit 36.53</c:v>
                </c:pt>
                <c:pt idx="3">
                  <c:v>Av Price/Unit 42.20</c:v>
                </c:pt>
              </c:strCache>
            </c:strRef>
          </c:cat>
          <c:val>
            <c:numRef>
              <c:f>Sheet1!$B$2:$B$5</c:f>
              <c:numCache>
                <c:formatCode>General</c:formatCode>
                <c:ptCount val="4"/>
                <c:pt idx="0">
                  <c:v>11.304310708310098</c:v>
                </c:pt>
                <c:pt idx="1">
                  <c:v>13.810964635364636</c:v>
                </c:pt>
                <c:pt idx="2">
                  <c:v>13.473391683168318</c:v>
                </c:pt>
                <c:pt idx="3">
                  <c:v>12.72315587557603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37</c:v>
                </c:pt>
                <c:pt idx="1">
                  <c:v>Av Price/Unit 45.27</c:v>
                </c:pt>
                <c:pt idx="2">
                  <c:v>Av Price/Unit 36.53</c:v>
                </c:pt>
                <c:pt idx="3">
                  <c:v>Av Price/Unit 42.20</c:v>
                </c:pt>
              </c:strCache>
            </c:strRef>
          </c:cat>
          <c:val>
            <c:numRef>
              <c:f>Sheet1!$C$2:$C$5</c:f>
              <c:numCache>
                <c:formatCode>General</c:formatCode>
                <c:ptCount val="4"/>
                <c:pt idx="0">
                  <c:v>13.902699525934187</c:v>
                </c:pt>
                <c:pt idx="1">
                  <c:v>22.67287662337662</c:v>
                </c:pt>
                <c:pt idx="2">
                  <c:v>17.770352475247524</c:v>
                </c:pt>
                <c:pt idx="3">
                  <c:v>22.66400460829493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37</c:v>
                </c:pt>
                <c:pt idx="1">
                  <c:v>Av Price/Unit 45.27</c:v>
                </c:pt>
                <c:pt idx="2">
                  <c:v>Av Price/Unit 36.53</c:v>
                </c:pt>
                <c:pt idx="3">
                  <c:v>Av Price/Unit 42.20</c:v>
                </c:pt>
              </c:strCache>
            </c:strRef>
          </c:cat>
          <c:val>
            <c:numRef>
              <c:f>Sheet1!$D$2:$D$5</c:f>
              <c:numCache>
                <c:formatCode>General</c:formatCode>
                <c:ptCount val="4"/>
                <c:pt idx="0">
                  <c:v>0.10101635062279257</c:v>
                </c:pt>
                <c:pt idx="1">
                  <c:v>1.2400446220446213</c:v>
                </c:pt>
                <c:pt idx="2">
                  <c:v>-0.80149993399339792</c:v>
                </c:pt>
                <c:pt idx="3">
                  <c:v>-0.2201097926267223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37</c:v>
                </c:pt>
                <c:pt idx="1">
                  <c:v>Av Price/Unit 45.27</c:v>
                </c:pt>
                <c:pt idx="2">
                  <c:v>Av Price/Unit 36.53</c:v>
                </c:pt>
                <c:pt idx="3">
                  <c:v>Av Price/Unit 42.20</c:v>
                </c:pt>
              </c:strCache>
            </c:strRef>
          </c:cat>
          <c:val>
            <c:numRef>
              <c:f>Sheet1!$E$2:$E$5</c:f>
              <c:numCache>
                <c:formatCode>General</c:formatCode>
                <c:ptCount val="4"/>
                <c:pt idx="0">
                  <c:v>5.0616053169734121</c:v>
                </c:pt>
                <c:pt idx="1">
                  <c:v>7.5447885447885472</c:v>
                </c:pt>
                <c:pt idx="2">
                  <c:v>6.0884488448844838</c:v>
                </c:pt>
                <c:pt idx="3">
                  <c:v>7.0334101382488479</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42</c:v>
                </c:pt>
                <c:pt idx="1">
                  <c:v>Av Price/Unit 36.63</c:v>
                </c:pt>
                <c:pt idx="2">
                  <c:v>Av Price/Unit 42.69</c:v>
                </c:pt>
                <c:pt idx="3">
                  <c:v>Av Price/Unit 45.01</c:v>
                </c:pt>
                <c:pt idx="4">
                  <c:v>Av Price/Unit 38.92</c:v>
                </c:pt>
                <c:pt idx="5">
                  <c:v>Av Price/Unit 38.68</c:v>
                </c:pt>
              </c:strCache>
            </c:strRef>
          </c:cat>
          <c:val>
            <c:numRef>
              <c:f>Sheet1!$B$2:$B$7</c:f>
              <c:numCache>
                <c:formatCode>General</c:formatCode>
                <c:ptCount val="6"/>
                <c:pt idx="0">
                  <c:v>11.3010438953982</c:v>
                </c:pt>
                <c:pt idx="1">
                  <c:v>13.474212307692305</c:v>
                </c:pt>
                <c:pt idx="2">
                  <c:v>12.849195744680852</c:v>
                </c:pt>
                <c:pt idx="3">
                  <c:v>13.51406787989081</c:v>
                </c:pt>
                <c:pt idx="4">
                  <c:v>13.929</c:v>
                </c:pt>
                <c:pt idx="5">
                  <c:v>13.92732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42</c:v>
                </c:pt>
                <c:pt idx="1">
                  <c:v>Av Price/Unit 36.63</c:v>
                </c:pt>
                <c:pt idx="2">
                  <c:v>Av Price/Unit 42.69</c:v>
                </c:pt>
                <c:pt idx="3">
                  <c:v>Av Price/Unit 45.01</c:v>
                </c:pt>
                <c:pt idx="4">
                  <c:v>Av Price/Unit 38.92</c:v>
                </c:pt>
                <c:pt idx="5">
                  <c:v>Av Price/Unit 38.68</c:v>
                </c:pt>
              </c:strCache>
            </c:strRef>
          </c:cat>
          <c:val>
            <c:numRef>
              <c:f>Sheet1!$C$2:$C$7</c:f>
              <c:numCache>
                <c:formatCode>General</c:formatCode>
                <c:ptCount val="6"/>
                <c:pt idx="0">
                  <c:v>13.90334297843437</c:v>
                </c:pt>
                <c:pt idx="1">
                  <c:v>17.769453846153848</c:v>
                </c:pt>
                <c:pt idx="2">
                  <c:v>22.655382978723406</c:v>
                </c:pt>
                <c:pt idx="3">
                  <c:v>22.671356960873517</c:v>
                </c:pt>
                <c:pt idx="4">
                  <c:v>17.571000000000002</c:v>
                </c:pt>
                <c:pt idx="5">
                  <c:v>16.75052500000000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42</c:v>
                </c:pt>
                <c:pt idx="1">
                  <c:v>Av Price/Unit 36.63</c:v>
                </c:pt>
                <c:pt idx="2">
                  <c:v>Av Price/Unit 42.69</c:v>
                </c:pt>
                <c:pt idx="3">
                  <c:v>Av Price/Unit 45.01</c:v>
                </c:pt>
                <c:pt idx="4">
                  <c:v>Av Price/Unit 38.92</c:v>
                </c:pt>
                <c:pt idx="5">
                  <c:v>Av Price/Unit 38.68</c:v>
                </c:pt>
              </c:strCache>
            </c:strRef>
          </c:cat>
          <c:val>
            <c:numRef>
              <c:f>Sheet1!$D$2:$D$7</c:f>
              <c:numCache>
                <c:formatCode>General</c:formatCode>
                <c:ptCount val="6"/>
                <c:pt idx="0">
                  <c:v>0.14838948887757297</c:v>
                </c:pt>
                <c:pt idx="1">
                  <c:v>-0.72093888111887239</c:v>
                </c:pt>
                <c:pt idx="2">
                  <c:v>6.7761702127654644E-2</c:v>
                </c:pt>
                <c:pt idx="3">
                  <c:v>1.3205771307248995</c:v>
                </c:pt>
                <c:pt idx="4">
                  <c:v>0.86507936507936734</c:v>
                </c:pt>
                <c:pt idx="5">
                  <c:v>1.552542156862745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42</c:v>
                </c:pt>
                <c:pt idx="1">
                  <c:v>Av Price/Unit 36.63</c:v>
                </c:pt>
                <c:pt idx="2">
                  <c:v>Av Price/Unit 42.69</c:v>
                </c:pt>
                <c:pt idx="3">
                  <c:v>Av Price/Unit 45.01</c:v>
                </c:pt>
                <c:pt idx="4">
                  <c:v>Av Price/Unit 38.92</c:v>
                </c:pt>
                <c:pt idx="5">
                  <c:v>Av Price/Unit 38.68</c:v>
                </c:pt>
              </c:strCache>
            </c:strRef>
          </c:cat>
          <c:val>
            <c:numRef>
              <c:f>Sheet1!$E$2:$E$7</c:f>
              <c:numCache>
                <c:formatCode>General</c:formatCode>
                <c:ptCount val="6"/>
                <c:pt idx="0">
                  <c:v>5.0705552725420278</c:v>
                </c:pt>
                <c:pt idx="1">
                  <c:v>6.1045454545454492</c:v>
                </c:pt>
                <c:pt idx="2">
                  <c:v>7.1144680851063828</c:v>
                </c:pt>
                <c:pt idx="3">
                  <c:v>7.5012132241431564</c:v>
                </c:pt>
                <c:pt idx="4">
                  <c:v>6.4730158730158669</c:v>
                </c:pt>
                <c:pt idx="5">
                  <c:v>6.446078431372544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43</c:v>
                </c:pt>
                <c:pt idx="1">
                  <c:v>Av Price/Unit 44.67</c:v>
                </c:pt>
                <c:pt idx="2">
                  <c:v>Av Price/Unit 36.71</c:v>
                </c:pt>
                <c:pt idx="3">
                  <c:v>Av Price/Unit 41.48</c:v>
                </c:pt>
                <c:pt idx="4">
                  <c:v>Av Price/Unit 39.23</c:v>
                </c:pt>
                <c:pt idx="5">
                  <c:v>Av Price/Unit 40.18</c:v>
                </c:pt>
              </c:strCache>
            </c:strRef>
          </c:cat>
          <c:val>
            <c:numRef>
              <c:f>Sheet1!$B$2:$B$7</c:f>
              <c:numCache>
                <c:formatCode>General</c:formatCode>
                <c:ptCount val="6"/>
                <c:pt idx="0">
                  <c:v>11.356629487437186</c:v>
                </c:pt>
                <c:pt idx="1">
                  <c:v>13.835068749999998</c:v>
                </c:pt>
                <c:pt idx="2">
                  <c:v>13.496492433910664</c:v>
                </c:pt>
                <c:pt idx="3">
                  <c:v>12.512530751173712</c:v>
                </c:pt>
                <c:pt idx="4">
                  <c:v>13.929</c:v>
                </c:pt>
                <c:pt idx="5">
                  <c:v>13.84749384615384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43</c:v>
                </c:pt>
                <c:pt idx="1">
                  <c:v>Av Price/Unit 44.67</c:v>
                </c:pt>
                <c:pt idx="2">
                  <c:v>Av Price/Unit 36.71</c:v>
                </c:pt>
                <c:pt idx="3">
                  <c:v>Av Price/Unit 41.48</c:v>
                </c:pt>
                <c:pt idx="4">
                  <c:v>Av Price/Unit 39.23</c:v>
                </c:pt>
                <c:pt idx="5">
                  <c:v>Av Price/Unit 40.18</c:v>
                </c:pt>
              </c:strCache>
            </c:strRef>
          </c:cat>
          <c:val>
            <c:numRef>
              <c:f>Sheet1!$C$2:$C$7</c:f>
              <c:numCache>
                <c:formatCode>General</c:formatCode>
                <c:ptCount val="6"/>
                <c:pt idx="0">
                  <c:v>13.892394482412058</c:v>
                </c:pt>
                <c:pt idx="1">
                  <c:v>22.672999999999998</c:v>
                </c:pt>
                <c:pt idx="2">
                  <c:v>17.745055879671831</c:v>
                </c:pt>
                <c:pt idx="3">
                  <c:v>22.678412206572769</c:v>
                </c:pt>
                <c:pt idx="4">
                  <c:v>17.571000000000002</c:v>
                </c:pt>
                <c:pt idx="5">
                  <c:v>16.6551476923076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43</c:v>
                </c:pt>
                <c:pt idx="1">
                  <c:v>Av Price/Unit 44.67</c:v>
                </c:pt>
                <c:pt idx="2">
                  <c:v>Av Price/Unit 36.71</c:v>
                </c:pt>
                <c:pt idx="3">
                  <c:v>Av Price/Unit 41.48</c:v>
                </c:pt>
                <c:pt idx="4">
                  <c:v>Av Price/Unit 39.23</c:v>
                </c:pt>
                <c:pt idx="5">
                  <c:v>Av Price/Unit 40.18</c:v>
                </c:pt>
              </c:strCache>
            </c:strRef>
          </c:cat>
          <c:val>
            <c:numRef>
              <c:f>Sheet1!$D$2:$D$7</c:f>
              <c:numCache>
                <c:formatCode>General</c:formatCode>
                <c:ptCount val="6"/>
                <c:pt idx="0">
                  <c:v>0.10943499162479497</c:v>
                </c:pt>
                <c:pt idx="1">
                  <c:v>0.71711654589372387</c:v>
                </c:pt>
                <c:pt idx="2">
                  <c:v>-0.65054254026131986</c:v>
                </c:pt>
                <c:pt idx="3">
                  <c:v>-0.62423716744913094</c:v>
                </c:pt>
                <c:pt idx="4">
                  <c:v>1.0320512820512846</c:v>
                </c:pt>
                <c:pt idx="5">
                  <c:v>2.9845379487179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43</c:v>
                </c:pt>
                <c:pt idx="1">
                  <c:v>Av Price/Unit 44.67</c:v>
                </c:pt>
                <c:pt idx="2">
                  <c:v>Av Price/Unit 36.71</c:v>
                </c:pt>
                <c:pt idx="3">
                  <c:v>Av Price/Unit 41.48</c:v>
                </c:pt>
                <c:pt idx="4">
                  <c:v>Av Price/Unit 39.23</c:v>
                </c:pt>
                <c:pt idx="5">
                  <c:v>Av Price/Unit 40.18</c:v>
                </c:pt>
              </c:strCache>
            </c:strRef>
          </c:cat>
          <c:val>
            <c:numRef>
              <c:f>Sheet1!$E$2:$E$7</c:f>
              <c:numCache>
                <c:formatCode>General</c:formatCode>
                <c:ptCount val="6"/>
                <c:pt idx="0">
                  <c:v>5.0716917922948026</c:v>
                </c:pt>
                <c:pt idx="1">
                  <c:v>7.4450483091787465</c:v>
                </c:pt>
                <c:pt idx="2">
                  <c:v>6.1182011546642334</c:v>
                </c:pt>
                <c:pt idx="3">
                  <c:v>6.9133411580594606</c:v>
                </c:pt>
                <c:pt idx="4">
                  <c:v>6.5064102564102502</c:v>
                </c:pt>
                <c:pt idx="5">
                  <c:v>6.697435897435899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68</c:v>
                </c:pt>
                <c:pt idx="1">
                  <c:v>Av Price/Unit 36.92</c:v>
                </c:pt>
                <c:pt idx="2">
                  <c:v>Av Price/Unit 44.35</c:v>
                </c:pt>
                <c:pt idx="3">
                  <c:v>Av Price/Unit 42.06</c:v>
                </c:pt>
                <c:pt idx="4">
                  <c:v>Av Price/Unit 39.15</c:v>
                </c:pt>
                <c:pt idx="5">
                  <c:v>Av Price/Unit 40.12</c:v>
                </c:pt>
              </c:strCache>
            </c:strRef>
          </c:cat>
          <c:val>
            <c:numRef>
              <c:f>Sheet1!$B$2:$B$7</c:f>
              <c:numCache>
                <c:formatCode>General</c:formatCode>
                <c:ptCount val="6"/>
                <c:pt idx="0">
                  <c:v>11.32673680592279</c:v>
                </c:pt>
                <c:pt idx="1">
                  <c:v>13.484842068361086</c:v>
                </c:pt>
                <c:pt idx="2">
                  <c:v>13.440805296343001</c:v>
                </c:pt>
                <c:pt idx="3">
                  <c:v>12.680091365777082</c:v>
                </c:pt>
                <c:pt idx="4">
                  <c:v>13.929</c:v>
                </c:pt>
                <c:pt idx="5">
                  <c:v>13.89409565217391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68</c:v>
                </c:pt>
                <c:pt idx="1">
                  <c:v>Av Price/Unit 36.92</c:v>
                </c:pt>
                <c:pt idx="2">
                  <c:v>Av Price/Unit 44.35</c:v>
                </c:pt>
                <c:pt idx="3">
                  <c:v>Av Price/Unit 42.06</c:v>
                </c:pt>
                <c:pt idx="4">
                  <c:v>Av Price/Unit 39.15</c:v>
                </c:pt>
                <c:pt idx="5">
                  <c:v>Av Price/Unit 40.12</c:v>
                </c:pt>
              </c:strCache>
            </c:strRef>
          </c:cat>
          <c:val>
            <c:numRef>
              <c:f>Sheet1!$C$2:$C$7</c:f>
              <c:numCache>
                <c:formatCode>General</c:formatCode>
                <c:ptCount val="6"/>
                <c:pt idx="0">
                  <c:v>13.898282337387625</c:v>
                </c:pt>
                <c:pt idx="1">
                  <c:v>17.757813672217356</c:v>
                </c:pt>
                <c:pt idx="2">
                  <c:v>22.670981967213116</c:v>
                </c:pt>
                <c:pt idx="3">
                  <c:v>22.666950392464678</c:v>
                </c:pt>
                <c:pt idx="4">
                  <c:v>17.571000000000002</c:v>
                </c:pt>
                <c:pt idx="5">
                  <c:v>16.71082463768116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68</c:v>
                </c:pt>
                <c:pt idx="1">
                  <c:v>Av Price/Unit 36.92</c:v>
                </c:pt>
                <c:pt idx="2">
                  <c:v>Av Price/Unit 44.35</c:v>
                </c:pt>
                <c:pt idx="3">
                  <c:v>Av Price/Unit 42.06</c:v>
                </c:pt>
                <c:pt idx="4">
                  <c:v>Av Price/Unit 39.15</c:v>
                </c:pt>
                <c:pt idx="5">
                  <c:v>Av Price/Unit 40.12</c:v>
                </c:pt>
              </c:strCache>
            </c:strRef>
          </c:cat>
          <c:val>
            <c:numRef>
              <c:f>Sheet1!$D$2:$D$7</c:f>
              <c:numCache>
                <c:formatCode>General</c:formatCode>
                <c:ptCount val="6"/>
                <c:pt idx="0">
                  <c:v>0.34302245725366021</c:v>
                </c:pt>
                <c:pt idx="1">
                  <c:v>-0.47286316096990433</c:v>
                </c:pt>
                <c:pt idx="2">
                  <c:v>0.84380042034468516</c:v>
                </c:pt>
                <c:pt idx="3">
                  <c:v>-0.29340491889063003</c:v>
                </c:pt>
                <c:pt idx="4">
                  <c:v>0.78682170542636243</c:v>
                </c:pt>
                <c:pt idx="5">
                  <c:v>2.825031400966196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68</c:v>
                </c:pt>
                <c:pt idx="1">
                  <c:v>Av Price/Unit 36.92</c:v>
                </c:pt>
                <c:pt idx="2">
                  <c:v>Av Price/Unit 44.35</c:v>
                </c:pt>
                <c:pt idx="3">
                  <c:v>Av Price/Unit 42.06</c:v>
                </c:pt>
                <c:pt idx="4">
                  <c:v>Av Price/Unit 39.15</c:v>
                </c:pt>
                <c:pt idx="5">
                  <c:v>Av Price/Unit 40.12</c:v>
                </c:pt>
              </c:strCache>
            </c:strRef>
          </c:cat>
          <c:val>
            <c:numRef>
              <c:f>Sheet1!$E$2:$E$7</c:f>
              <c:numCache>
                <c:formatCode>General</c:formatCode>
                <c:ptCount val="6"/>
                <c:pt idx="0">
                  <c:v>5.1136083201128129</c:v>
                </c:pt>
                <c:pt idx="1">
                  <c:v>6.1539585159217038</c:v>
                </c:pt>
                <c:pt idx="2">
                  <c:v>7.3911307271962983</c:v>
                </c:pt>
                <c:pt idx="3">
                  <c:v>7.0107273678702233</c:v>
                </c:pt>
                <c:pt idx="4">
                  <c:v>6.4573643410852677</c:v>
                </c:pt>
                <c:pt idx="5">
                  <c:v>6.685990338164247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5.30</c:v>
                </c:pt>
                <c:pt idx="1">
                  <c:v>Av Price/Unit 270.80</c:v>
                </c:pt>
                <c:pt idx="2">
                  <c:v>Av Price/Unit 37.53</c:v>
                </c:pt>
                <c:pt idx="3">
                  <c:v>Av Price/Unit 87.92</c:v>
                </c:pt>
                <c:pt idx="4">
                  <c:v>Av Price/Unit 372.49</c:v>
                </c:pt>
                <c:pt idx="5">
                  <c:v>Av Price/Unit 99.26</c:v>
                </c:pt>
                <c:pt idx="6">
                  <c:v>Av Price/Unit 333.84</c:v>
                </c:pt>
                <c:pt idx="7">
                  <c:v>Av Price/Unit 272.45</c:v>
                </c:pt>
                <c:pt idx="8">
                  <c:v>Av Price/Unit 87.28</c:v>
                </c:pt>
                <c:pt idx="9">
                  <c:v>Av Price/Unit 92.22</c:v>
                </c:pt>
                <c:pt idx="10">
                  <c:v>Av Price/Unit 219.19</c:v>
                </c:pt>
                <c:pt idx="11">
                  <c:v>Av Price/Unit 63.90</c:v>
                </c:pt>
              </c:strCache>
            </c:strRef>
          </c:cat>
          <c:val>
            <c:numRef>
              <c:f>Sheet1!$B$2:$B$13</c:f>
              <c:numCache>
                <c:formatCode>General</c:formatCode>
                <c:ptCount val="12"/>
                <c:pt idx="0">
                  <c:v>65.903026519337004</c:v>
                </c:pt>
                <c:pt idx="1">
                  <c:v>81.256164255319149</c:v>
                </c:pt>
                <c:pt idx="2">
                  <c:v>12.518891443298966</c:v>
                </c:pt>
                <c:pt idx="3">
                  <c:v>30.360788775510205</c:v>
                </c:pt>
                <c:pt idx="4">
                  <c:v>113.44119850746269</c:v>
                </c:pt>
                <c:pt idx="5">
                  <c:v>32.650662068965524</c:v>
                </c:pt>
                <c:pt idx="6">
                  <c:v>92.124222580645153</c:v>
                </c:pt>
                <c:pt idx="7">
                  <c:v>83.091796875</c:v>
                </c:pt>
                <c:pt idx="8">
                  <c:v>29.435734158415841</c:v>
                </c:pt>
                <c:pt idx="9">
                  <c:v>30.387364331210186</c:v>
                </c:pt>
                <c:pt idx="10">
                  <c:v>77.096437499999993</c:v>
                </c:pt>
                <c:pt idx="11">
                  <c:v>22.1894418181818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5.30</c:v>
                </c:pt>
                <c:pt idx="1">
                  <c:v>Av Price/Unit 270.80</c:v>
                </c:pt>
                <c:pt idx="2">
                  <c:v>Av Price/Unit 37.53</c:v>
                </c:pt>
                <c:pt idx="3">
                  <c:v>Av Price/Unit 87.92</c:v>
                </c:pt>
                <c:pt idx="4">
                  <c:v>Av Price/Unit 372.49</c:v>
                </c:pt>
                <c:pt idx="5">
                  <c:v>Av Price/Unit 99.26</c:v>
                </c:pt>
                <c:pt idx="6">
                  <c:v>Av Price/Unit 333.84</c:v>
                </c:pt>
                <c:pt idx="7">
                  <c:v>Av Price/Unit 272.45</c:v>
                </c:pt>
                <c:pt idx="8">
                  <c:v>Av Price/Unit 87.28</c:v>
                </c:pt>
                <c:pt idx="9">
                  <c:v>Av Price/Unit 92.22</c:v>
                </c:pt>
                <c:pt idx="10">
                  <c:v>Av Price/Unit 219.19</c:v>
                </c:pt>
                <c:pt idx="11">
                  <c:v>Av Price/Unit 63.90</c:v>
                </c:pt>
              </c:strCache>
            </c:strRef>
          </c:cat>
          <c:val>
            <c:numRef>
              <c:f>Sheet1!$C$2:$C$13</c:f>
              <c:numCache>
                <c:formatCode>General</c:formatCode>
                <c:ptCount val="12"/>
                <c:pt idx="0">
                  <c:v>141.20806077348067</c:v>
                </c:pt>
                <c:pt idx="1">
                  <c:v>137.24522085106381</c:v>
                </c:pt>
                <c:pt idx="2">
                  <c:v>18.346485670103089</c:v>
                </c:pt>
                <c:pt idx="3">
                  <c:v>42.923954081632651</c:v>
                </c:pt>
                <c:pt idx="4">
                  <c:v>170.62020149253732</c:v>
                </c:pt>
                <c:pt idx="5">
                  <c:v>47.735439655172414</c:v>
                </c:pt>
                <c:pt idx="6">
                  <c:v>167.17166935483871</c:v>
                </c:pt>
                <c:pt idx="7">
                  <c:v>150.63218750000001</c:v>
                </c:pt>
                <c:pt idx="8">
                  <c:v>40.750619306930687</c:v>
                </c:pt>
                <c:pt idx="9">
                  <c:v>42.754030573248407</c:v>
                </c:pt>
                <c:pt idx="10">
                  <c:v>103.19</c:v>
                </c:pt>
                <c:pt idx="11">
                  <c:v>29.77872727272727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5.30</c:v>
                </c:pt>
                <c:pt idx="1">
                  <c:v>Av Price/Unit 270.80</c:v>
                </c:pt>
                <c:pt idx="2">
                  <c:v>Av Price/Unit 37.53</c:v>
                </c:pt>
                <c:pt idx="3">
                  <c:v>Av Price/Unit 87.92</c:v>
                </c:pt>
                <c:pt idx="4">
                  <c:v>Av Price/Unit 372.49</c:v>
                </c:pt>
                <c:pt idx="5">
                  <c:v>Av Price/Unit 99.26</c:v>
                </c:pt>
                <c:pt idx="6">
                  <c:v>Av Price/Unit 333.84</c:v>
                </c:pt>
                <c:pt idx="7">
                  <c:v>Av Price/Unit 272.45</c:v>
                </c:pt>
                <c:pt idx="8">
                  <c:v>Av Price/Unit 87.28</c:v>
                </c:pt>
                <c:pt idx="9">
                  <c:v>Av Price/Unit 92.22</c:v>
                </c:pt>
                <c:pt idx="10">
                  <c:v>Av Price/Unit 219.19</c:v>
                </c:pt>
                <c:pt idx="11">
                  <c:v>Av Price/Unit 63.90</c:v>
                </c:pt>
              </c:strCache>
            </c:strRef>
          </c:cat>
          <c:val>
            <c:numRef>
              <c:f>Sheet1!$D$2:$D$13</c:f>
              <c:numCache>
                <c:formatCode>General</c:formatCode>
                <c:ptCount val="12"/>
                <c:pt idx="0">
                  <c:v>-2.6981038674032902</c:v>
                </c:pt>
                <c:pt idx="1">
                  <c:v>7.1688276595744753</c:v>
                </c:pt>
                <c:pt idx="2">
                  <c:v>0.40948017182131125</c:v>
                </c:pt>
                <c:pt idx="3">
                  <c:v>-1.9436734693869084E-2</c:v>
                </c:pt>
                <c:pt idx="4">
                  <c:v>26.349047761193901</c:v>
                </c:pt>
                <c:pt idx="5">
                  <c:v>2.3330074712643665</c:v>
                </c:pt>
                <c:pt idx="6">
                  <c:v>18.903032795698948</c:v>
                </c:pt>
                <c:pt idx="7">
                  <c:v>-6.6797135416666436</c:v>
                </c:pt>
                <c:pt idx="8">
                  <c:v>2.5446696369637039</c:v>
                </c:pt>
                <c:pt idx="9">
                  <c:v>3.711046709129505</c:v>
                </c:pt>
                <c:pt idx="10">
                  <c:v>2.3698125000000232</c:v>
                </c:pt>
                <c:pt idx="11">
                  <c:v>1.279305656565661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5.30</c:v>
                </c:pt>
                <c:pt idx="1">
                  <c:v>Av Price/Unit 270.80</c:v>
                </c:pt>
                <c:pt idx="2">
                  <c:v>Av Price/Unit 37.53</c:v>
                </c:pt>
                <c:pt idx="3">
                  <c:v>Av Price/Unit 87.92</c:v>
                </c:pt>
                <c:pt idx="4">
                  <c:v>Av Price/Unit 372.49</c:v>
                </c:pt>
                <c:pt idx="5">
                  <c:v>Av Price/Unit 99.26</c:v>
                </c:pt>
                <c:pt idx="6">
                  <c:v>Av Price/Unit 333.84</c:v>
                </c:pt>
                <c:pt idx="7">
                  <c:v>Av Price/Unit 272.45</c:v>
                </c:pt>
                <c:pt idx="8">
                  <c:v>Av Price/Unit 87.28</c:v>
                </c:pt>
                <c:pt idx="9">
                  <c:v>Av Price/Unit 92.22</c:v>
                </c:pt>
                <c:pt idx="10">
                  <c:v>Av Price/Unit 219.19</c:v>
                </c:pt>
                <c:pt idx="11">
                  <c:v>Av Price/Unit 63.90</c:v>
                </c:pt>
              </c:strCache>
            </c:strRef>
          </c:cat>
          <c:val>
            <c:numRef>
              <c:f>Sheet1!$E$2:$E$13</c:f>
              <c:numCache>
                <c:formatCode>General</c:formatCode>
                <c:ptCount val="12"/>
                <c:pt idx="0">
                  <c:v>40.882596685082831</c:v>
                </c:pt>
                <c:pt idx="1">
                  <c:v>45.134042553191492</c:v>
                </c:pt>
                <c:pt idx="2">
                  <c:v>6.2549828178694105</c:v>
                </c:pt>
                <c:pt idx="3">
                  <c:v>14.653061224489797</c:v>
                </c:pt>
                <c:pt idx="4">
                  <c:v>62.082089552238862</c:v>
                </c:pt>
                <c:pt idx="5">
                  <c:v>16.543821839080465</c:v>
                </c:pt>
                <c:pt idx="6">
                  <c:v>55.639784946236517</c:v>
                </c:pt>
                <c:pt idx="7">
                  <c:v>45.408854166666657</c:v>
                </c:pt>
                <c:pt idx="8">
                  <c:v>14.546204620462049</c:v>
                </c:pt>
                <c:pt idx="9">
                  <c:v>15.370488322717618</c:v>
                </c:pt>
                <c:pt idx="10">
                  <c:v>36.531249999999964</c:v>
                </c:pt>
                <c:pt idx="11">
                  <c:v>10.64949494949494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6511AA16-89F4-4121-802B-9BE4760255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C880559A-6785-4CC0-A71C-4A50A2AECF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A2D9D789-9F98-4D38-B9E1-EF61B241BF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FB7E315C-5216-49B0-A981-C9FA166B6D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C22AD010-9FC6-419E-9048-D42BA737B2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C7C5BF4B-2D8B-4BA3-939B-4A585FCC21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B9B424BF-1C52-4B19-B474-254092BE13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5CD41E81-0E06-4861-A129-AFF1A073F1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81.802800000000005</c:v>
                </c:pt>
                <c:pt idx="1">
                  <c:v>88.02</c:v>
                </c:pt>
                <c:pt idx="2">
                  <c:v>53.391599999999997</c:v>
                </c:pt>
                <c:pt idx="3">
                  <c:v>80.309700000000007</c:v>
                </c:pt>
                <c:pt idx="4">
                  <c:v>74.442400000000006</c:v>
                </c:pt>
              </c:numCache>
            </c:numRef>
          </c:xVal>
          <c:yVal>
            <c:numRef>
              <c:f>Sheet1!$B$2:$B$6</c:f>
              <c:numCache>
                <c:formatCode>General</c:formatCode>
                <c:ptCount val="5"/>
                <c:pt idx="0">
                  <c:v>0.40429999999999999</c:v>
                </c:pt>
                <c:pt idx="1">
                  <c:v>0.40139999999999998</c:v>
                </c:pt>
                <c:pt idx="2">
                  <c:v>0.37040000000000001</c:v>
                </c:pt>
                <c:pt idx="3">
                  <c:v>0.40460000000000002</c:v>
                </c:pt>
                <c:pt idx="4">
                  <c:v>0.4083</c:v>
                </c:pt>
              </c:numCache>
            </c:numRef>
          </c:yVal>
          <c:bubbleSize>
            <c:numRef>
              <c:f>Sheet1!$C$2:$C$6</c:f>
              <c:numCache>
                <c:formatCode>General</c:formatCode>
                <c:ptCount val="5"/>
                <c:pt idx="0">
                  <c:v>4484593.9220000012</c:v>
                </c:pt>
                <c:pt idx="1">
                  <c:v>774047.78830000071</c:v>
                </c:pt>
                <c:pt idx="2">
                  <c:v>203261.72849999991</c:v>
                </c:pt>
                <c:pt idx="3">
                  <c:v>347419.88890000019</c:v>
                </c:pt>
                <c:pt idx="4">
                  <c:v>155733.57440000001</c:v>
                </c:pt>
              </c:numCache>
            </c:numRef>
          </c:bubbleSize>
          <c:bubble3D val="0"/>
          <c:extLst>
            <c:ext xmlns:c15="http://schemas.microsoft.com/office/drawing/2012/chart" uri="{02D57815-91ED-43cb-92C2-25804820EDAC}">
              <c15:datalabelsRange>
                <c15:f>Sheet1!$E$2:$E$29</c15:f>
                <c15:dlblRangeCache>
                  <c:ptCount val="28"/>
                  <c:pt idx="0">
                    <c:v>NICOLAS IDF</c:v>
                  </c:pt>
                  <c:pt idx="1">
                    <c:v>NICOLAS PAC</c:v>
                  </c:pt>
                  <c:pt idx="2">
                    <c:v>NICOLAS EST</c:v>
                  </c:pt>
                  <c:pt idx="3">
                    <c:v>NICOLAS RHO</c:v>
                  </c:pt>
                  <c:pt idx="4">
                    <c:v>NICOLAS AQU</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05.624"/>
          <c:min val="42.713279999999997"/>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289043240392397"/>
        <c:crossBetween val="midCat"/>
      </c:valAx>
      <c:valAx>
        <c:axId val="1011451359"/>
        <c:scaling>
          <c:orientation val="minMax"/>
          <c:max val="0.84995999999999994"/>
          <c:min val="5.6320000000000016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81.3623190806066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7.90</c:v>
                </c:pt>
                <c:pt idx="1">
                  <c:v>Av Price/Unit 273.41</c:v>
                </c:pt>
                <c:pt idx="2">
                  <c:v>Av Price/Unit 360.93</c:v>
                </c:pt>
                <c:pt idx="3">
                  <c:v>Av Price/Unit 37.59</c:v>
                </c:pt>
                <c:pt idx="4">
                  <c:v>Av Price/Unit 270.48</c:v>
                </c:pt>
                <c:pt idx="5">
                  <c:v>Av Price/Unit 88.56</c:v>
                </c:pt>
                <c:pt idx="6">
                  <c:v>Av Price/Unit 90.73</c:v>
                </c:pt>
                <c:pt idx="7">
                  <c:v>Av Price/Unit 333.51</c:v>
                </c:pt>
                <c:pt idx="8">
                  <c:v>Av Price/Unit 100.38</c:v>
                </c:pt>
                <c:pt idx="9">
                  <c:v>Av Price/Unit 92.63</c:v>
                </c:pt>
                <c:pt idx="10">
                  <c:v>Av Price/Unit 64.01</c:v>
                </c:pt>
                <c:pt idx="11">
                  <c:v>Av Price/Unit 231.83</c:v>
                </c:pt>
              </c:strCache>
            </c:strRef>
          </c:cat>
          <c:val>
            <c:numRef>
              <c:f>Sheet1!$B$2:$B$13</c:f>
              <c:numCache>
                <c:formatCode>General</c:formatCode>
                <c:ptCount val="12"/>
                <c:pt idx="0">
                  <c:v>64.270417543859637</c:v>
                </c:pt>
                <c:pt idx="1">
                  <c:v>81.578980181818238</c:v>
                </c:pt>
                <c:pt idx="2">
                  <c:v>113.49248979963571</c:v>
                </c:pt>
                <c:pt idx="3">
                  <c:v>12.520718631408963</c:v>
                </c:pt>
                <c:pt idx="4">
                  <c:v>84.971772208436718</c:v>
                </c:pt>
                <c:pt idx="5">
                  <c:v>29.414377054515871</c:v>
                </c:pt>
                <c:pt idx="6">
                  <c:v>30.348047523892262</c:v>
                </c:pt>
                <c:pt idx="7">
                  <c:v>92.504101238390049</c:v>
                </c:pt>
                <c:pt idx="8">
                  <c:v>32.965743548387131</c:v>
                </c:pt>
                <c:pt idx="9">
                  <c:v>30.381549550449556</c:v>
                </c:pt>
                <c:pt idx="10">
                  <c:v>21.457211747285296</c:v>
                </c:pt>
                <c:pt idx="11">
                  <c:v>76.69452650602401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7.90</c:v>
                </c:pt>
                <c:pt idx="1">
                  <c:v>Av Price/Unit 273.41</c:v>
                </c:pt>
                <c:pt idx="2">
                  <c:v>Av Price/Unit 360.93</c:v>
                </c:pt>
                <c:pt idx="3">
                  <c:v>Av Price/Unit 37.59</c:v>
                </c:pt>
                <c:pt idx="4">
                  <c:v>Av Price/Unit 270.48</c:v>
                </c:pt>
                <c:pt idx="5">
                  <c:v>Av Price/Unit 88.56</c:v>
                </c:pt>
                <c:pt idx="6">
                  <c:v>Av Price/Unit 90.73</c:v>
                </c:pt>
                <c:pt idx="7">
                  <c:v>Av Price/Unit 333.51</c:v>
                </c:pt>
                <c:pt idx="8">
                  <c:v>Av Price/Unit 100.38</c:v>
                </c:pt>
                <c:pt idx="9">
                  <c:v>Av Price/Unit 92.63</c:v>
                </c:pt>
                <c:pt idx="10">
                  <c:v>Av Price/Unit 64.01</c:v>
                </c:pt>
                <c:pt idx="11">
                  <c:v>Av Price/Unit 231.83</c:v>
                </c:pt>
              </c:strCache>
            </c:strRef>
          </c:cat>
          <c:val>
            <c:numRef>
              <c:f>Sheet1!$C$2:$C$13</c:f>
              <c:numCache>
                <c:formatCode>General</c:formatCode>
                <c:ptCount val="12"/>
                <c:pt idx="0">
                  <c:v>141.75126705653028</c:v>
                </c:pt>
                <c:pt idx="1">
                  <c:v>137.16818345454544</c:v>
                </c:pt>
                <c:pt idx="2">
                  <c:v>170.6284990892533</c:v>
                </c:pt>
                <c:pt idx="3">
                  <c:v>18.352526221235362</c:v>
                </c:pt>
                <c:pt idx="4">
                  <c:v>151.27721588089341</c:v>
                </c:pt>
                <c:pt idx="5">
                  <c:v>40.762507648494704</c:v>
                </c:pt>
                <c:pt idx="6">
                  <c:v>42.987777410947004</c:v>
                </c:pt>
                <c:pt idx="7">
                  <c:v>167.23312383900921</c:v>
                </c:pt>
                <c:pt idx="8">
                  <c:v>47.658383064516158</c:v>
                </c:pt>
                <c:pt idx="9">
                  <c:v>42.764643356643383</c:v>
                </c:pt>
                <c:pt idx="10">
                  <c:v>30.012416584402782</c:v>
                </c:pt>
                <c:pt idx="11">
                  <c:v>103.1899999999998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7.90</c:v>
                </c:pt>
                <c:pt idx="1">
                  <c:v>Av Price/Unit 273.41</c:v>
                </c:pt>
                <c:pt idx="2">
                  <c:v>Av Price/Unit 360.93</c:v>
                </c:pt>
                <c:pt idx="3">
                  <c:v>Av Price/Unit 37.59</c:v>
                </c:pt>
                <c:pt idx="4">
                  <c:v>Av Price/Unit 270.48</c:v>
                </c:pt>
                <c:pt idx="5">
                  <c:v>Av Price/Unit 88.56</c:v>
                </c:pt>
                <c:pt idx="6">
                  <c:v>Av Price/Unit 90.73</c:v>
                </c:pt>
                <c:pt idx="7">
                  <c:v>Av Price/Unit 333.51</c:v>
                </c:pt>
                <c:pt idx="8">
                  <c:v>Av Price/Unit 100.38</c:v>
                </c:pt>
                <c:pt idx="9">
                  <c:v>Av Price/Unit 92.63</c:v>
                </c:pt>
                <c:pt idx="10">
                  <c:v>Av Price/Unit 64.01</c:v>
                </c:pt>
                <c:pt idx="11">
                  <c:v>Av Price/Unit 231.83</c:v>
                </c:pt>
              </c:strCache>
            </c:strRef>
          </c:cat>
          <c:val>
            <c:numRef>
              <c:f>Sheet1!$D$2:$D$13</c:f>
              <c:numCache>
                <c:formatCode>General</c:formatCode>
                <c:ptCount val="12"/>
                <c:pt idx="0">
                  <c:v>0.56457270955172589</c:v>
                </c:pt>
                <c:pt idx="1">
                  <c:v>9.0922303030304192</c:v>
                </c:pt>
                <c:pt idx="2">
                  <c:v>16.650110078931618</c:v>
                </c:pt>
                <c:pt idx="3">
                  <c:v>0.45408038621988922</c:v>
                </c:pt>
                <c:pt idx="4">
                  <c:v>-10.851965756823745</c:v>
                </c:pt>
                <c:pt idx="5">
                  <c:v>3.6256647952265126</c:v>
                </c:pt>
                <c:pt idx="6">
                  <c:v>2.2759619171735181</c:v>
                </c:pt>
                <c:pt idx="7">
                  <c:v>18.185891537667771</c:v>
                </c:pt>
                <c:pt idx="8">
                  <c:v>3.0284271505376381</c:v>
                </c:pt>
                <c:pt idx="9">
                  <c:v>4.044949284049224</c:v>
                </c:pt>
                <c:pt idx="10">
                  <c:v>1.8719313919052141</c:v>
                </c:pt>
                <c:pt idx="11">
                  <c:v>13.30489785809899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7.90</c:v>
                </c:pt>
                <c:pt idx="1">
                  <c:v>Av Price/Unit 273.41</c:v>
                </c:pt>
                <c:pt idx="2">
                  <c:v>Av Price/Unit 360.93</c:v>
                </c:pt>
                <c:pt idx="3">
                  <c:v>Av Price/Unit 37.59</c:v>
                </c:pt>
                <c:pt idx="4">
                  <c:v>Av Price/Unit 270.48</c:v>
                </c:pt>
                <c:pt idx="5">
                  <c:v>Av Price/Unit 88.56</c:v>
                </c:pt>
                <c:pt idx="6">
                  <c:v>Av Price/Unit 90.73</c:v>
                </c:pt>
                <c:pt idx="7">
                  <c:v>Av Price/Unit 333.51</c:v>
                </c:pt>
                <c:pt idx="8">
                  <c:v>Av Price/Unit 100.38</c:v>
                </c:pt>
                <c:pt idx="9">
                  <c:v>Av Price/Unit 92.63</c:v>
                </c:pt>
                <c:pt idx="10">
                  <c:v>Av Price/Unit 64.01</c:v>
                </c:pt>
                <c:pt idx="11">
                  <c:v>Av Price/Unit 231.83</c:v>
                </c:pt>
              </c:strCache>
            </c:strRef>
          </c:cat>
          <c:val>
            <c:numRef>
              <c:f>Sheet1!$E$2:$E$13</c:f>
              <c:numCache>
                <c:formatCode>General</c:formatCode>
                <c:ptCount val="12"/>
                <c:pt idx="0">
                  <c:v>41.317251461988249</c:v>
                </c:pt>
                <c:pt idx="1">
                  <c:v>45.56787878787879</c:v>
                </c:pt>
                <c:pt idx="2">
                  <c:v>60.154219793563719</c:v>
                </c:pt>
                <c:pt idx="3">
                  <c:v>6.2654757098640808</c:v>
                </c:pt>
                <c:pt idx="4">
                  <c:v>45.079404466501167</c:v>
                </c:pt>
                <c:pt idx="5">
                  <c:v>14.760509899647367</c:v>
                </c:pt>
                <c:pt idx="6">
                  <c:v>15.122357370402545</c:v>
                </c:pt>
                <c:pt idx="7">
                  <c:v>55.584623323013311</c:v>
                </c:pt>
                <c:pt idx="8">
                  <c:v>16.730510752688193</c:v>
                </c:pt>
                <c:pt idx="9">
                  <c:v>15.438228438228473</c:v>
                </c:pt>
                <c:pt idx="10">
                  <c:v>10.668311944718679</c:v>
                </c:pt>
                <c:pt idx="11">
                  <c:v>38.6378848728246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6.54</c:v>
                </c:pt>
                <c:pt idx="1">
                  <c:v>Av Price/Unit 265.90</c:v>
                </c:pt>
                <c:pt idx="2">
                  <c:v>Av Price/Unit 37.23</c:v>
                </c:pt>
                <c:pt idx="3">
                  <c:v>Av Price/Unit 347.25</c:v>
                </c:pt>
                <c:pt idx="4">
                  <c:v>Av Price/Unit 86.80</c:v>
                </c:pt>
                <c:pt idx="5">
                  <c:v>Av Price/Unit 91.04</c:v>
                </c:pt>
                <c:pt idx="6">
                  <c:v>Av Price/Unit 98.06</c:v>
                </c:pt>
                <c:pt idx="7">
                  <c:v>Av Price/Unit 89.37</c:v>
                </c:pt>
                <c:pt idx="8">
                  <c:v>Av Price/Unit 345.26</c:v>
                </c:pt>
                <c:pt idx="9">
                  <c:v>Av Price/Unit 62.72</c:v>
                </c:pt>
                <c:pt idx="10">
                  <c:v>Av Price/Unit 277.43</c:v>
                </c:pt>
                <c:pt idx="11">
                  <c:v>Av Price/Unit 227.00</c:v>
                </c:pt>
              </c:strCache>
            </c:strRef>
          </c:cat>
          <c:val>
            <c:numRef>
              <c:f>Sheet1!$B$2:$B$13</c:f>
              <c:numCache>
                <c:formatCode>General</c:formatCode>
                <c:ptCount val="12"/>
                <c:pt idx="0">
                  <c:v>64.273155932203395</c:v>
                </c:pt>
                <c:pt idx="1">
                  <c:v>81.265867182130592</c:v>
                </c:pt>
                <c:pt idx="2">
                  <c:v>12.52040069387755</c:v>
                </c:pt>
                <c:pt idx="3">
                  <c:v>113.73466615384616</c:v>
                </c:pt>
                <c:pt idx="4">
                  <c:v>29.406685563380289</c:v>
                </c:pt>
                <c:pt idx="5">
                  <c:v>30.379989240506333</c:v>
                </c:pt>
                <c:pt idx="6">
                  <c:v>32.998570000000001</c:v>
                </c:pt>
                <c:pt idx="7">
                  <c:v>30.335172222222223</c:v>
                </c:pt>
                <c:pt idx="8">
                  <c:v>100.01884468085107</c:v>
                </c:pt>
                <c:pt idx="9">
                  <c:v>21.480197058823531</c:v>
                </c:pt>
                <c:pt idx="10">
                  <c:v>85.309170212765963</c:v>
                </c:pt>
                <c:pt idx="11">
                  <c:v>76.4574296703296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6.54</c:v>
                </c:pt>
                <c:pt idx="1">
                  <c:v>Av Price/Unit 265.90</c:v>
                </c:pt>
                <c:pt idx="2">
                  <c:v>Av Price/Unit 37.23</c:v>
                </c:pt>
                <c:pt idx="3">
                  <c:v>Av Price/Unit 347.25</c:v>
                </c:pt>
                <c:pt idx="4">
                  <c:v>Av Price/Unit 86.80</c:v>
                </c:pt>
                <c:pt idx="5">
                  <c:v>Av Price/Unit 91.04</c:v>
                </c:pt>
                <c:pt idx="6">
                  <c:v>Av Price/Unit 98.06</c:v>
                </c:pt>
                <c:pt idx="7">
                  <c:v>Av Price/Unit 89.37</c:v>
                </c:pt>
                <c:pt idx="8">
                  <c:v>Av Price/Unit 345.26</c:v>
                </c:pt>
                <c:pt idx="9">
                  <c:v>Av Price/Unit 62.72</c:v>
                </c:pt>
                <c:pt idx="10">
                  <c:v>Av Price/Unit 277.43</c:v>
                </c:pt>
                <c:pt idx="11">
                  <c:v>Av Price/Unit 227.00</c:v>
                </c:pt>
              </c:strCache>
            </c:strRef>
          </c:cat>
          <c:val>
            <c:numRef>
              <c:f>Sheet1!$C$2:$C$13</c:f>
              <c:numCache>
                <c:formatCode>General</c:formatCode>
                <c:ptCount val="12"/>
                <c:pt idx="0">
                  <c:v>141.75035593220341</c:v>
                </c:pt>
                <c:pt idx="1">
                  <c:v>137.24290532646046</c:v>
                </c:pt>
                <c:pt idx="2">
                  <c:v>18.351475142857144</c:v>
                </c:pt>
                <c:pt idx="3">
                  <c:v>170.66767692307695</c:v>
                </c:pt>
                <c:pt idx="4">
                  <c:v>40.766789084507039</c:v>
                </c:pt>
                <c:pt idx="5">
                  <c:v>42.767491139240505</c:v>
                </c:pt>
                <c:pt idx="6">
                  <c:v>47.650355000000012</c:v>
                </c:pt>
                <c:pt idx="7">
                  <c:v>43.052272222222221</c:v>
                </c:pt>
                <c:pt idx="8">
                  <c:v>168.44881382978724</c:v>
                </c:pt>
                <c:pt idx="9">
                  <c:v>30.005080882352942</c:v>
                </c:pt>
                <c:pt idx="10">
                  <c:v>151.39297872340427</c:v>
                </c:pt>
                <c:pt idx="11">
                  <c:v>103.1900000000000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6.54</c:v>
                </c:pt>
                <c:pt idx="1">
                  <c:v>Av Price/Unit 265.90</c:v>
                </c:pt>
                <c:pt idx="2">
                  <c:v>Av Price/Unit 37.23</c:v>
                </c:pt>
                <c:pt idx="3">
                  <c:v>Av Price/Unit 347.25</c:v>
                </c:pt>
                <c:pt idx="4">
                  <c:v>Av Price/Unit 86.80</c:v>
                </c:pt>
                <c:pt idx="5">
                  <c:v>Av Price/Unit 91.04</c:v>
                </c:pt>
                <c:pt idx="6">
                  <c:v>Av Price/Unit 98.06</c:v>
                </c:pt>
                <c:pt idx="7">
                  <c:v>Av Price/Unit 89.37</c:v>
                </c:pt>
                <c:pt idx="8">
                  <c:v>Av Price/Unit 345.26</c:v>
                </c:pt>
                <c:pt idx="9">
                  <c:v>Av Price/Unit 62.72</c:v>
                </c:pt>
                <c:pt idx="10">
                  <c:v>Av Price/Unit 277.43</c:v>
                </c:pt>
                <c:pt idx="11">
                  <c:v>Av Price/Unit 227.00</c:v>
                </c:pt>
              </c:strCache>
            </c:strRef>
          </c:cat>
          <c:val>
            <c:numRef>
              <c:f>Sheet1!$D$2:$D$13</c:f>
              <c:numCache>
                <c:formatCode>General</c:formatCode>
                <c:ptCount val="12"/>
                <c:pt idx="0">
                  <c:v>-0.57410251669230661</c:v>
                </c:pt>
                <c:pt idx="1">
                  <c:v>3.0777108820160493</c:v>
                </c:pt>
                <c:pt idx="2">
                  <c:v>0.15085936054421722</c:v>
                </c:pt>
                <c:pt idx="3">
                  <c:v>4.9726569230768973</c:v>
                </c:pt>
                <c:pt idx="4">
                  <c:v>2.1592718309859009</c:v>
                </c:pt>
                <c:pt idx="5">
                  <c:v>2.7157404360056461</c:v>
                </c:pt>
                <c:pt idx="6">
                  <c:v>1.0719083333333401</c:v>
                </c:pt>
                <c:pt idx="7">
                  <c:v>1.0870925925926116</c:v>
                </c:pt>
                <c:pt idx="8">
                  <c:v>19.245107446808504</c:v>
                </c:pt>
                <c:pt idx="9">
                  <c:v>0.7818789215686337</c:v>
                </c:pt>
                <c:pt idx="10">
                  <c:v>-5.514205673758795</c:v>
                </c:pt>
                <c:pt idx="11">
                  <c:v>9.519236996337042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6.54</c:v>
                </c:pt>
                <c:pt idx="1">
                  <c:v>Av Price/Unit 265.90</c:v>
                </c:pt>
                <c:pt idx="2">
                  <c:v>Av Price/Unit 37.23</c:v>
                </c:pt>
                <c:pt idx="3">
                  <c:v>Av Price/Unit 347.25</c:v>
                </c:pt>
                <c:pt idx="4">
                  <c:v>Av Price/Unit 86.80</c:v>
                </c:pt>
                <c:pt idx="5">
                  <c:v>Av Price/Unit 91.04</c:v>
                </c:pt>
                <c:pt idx="6">
                  <c:v>Av Price/Unit 98.06</c:v>
                </c:pt>
                <c:pt idx="7">
                  <c:v>Av Price/Unit 89.37</c:v>
                </c:pt>
                <c:pt idx="8">
                  <c:v>Av Price/Unit 345.26</c:v>
                </c:pt>
                <c:pt idx="9">
                  <c:v>Av Price/Unit 62.72</c:v>
                </c:pt>
                <c:pt idx="10">
                  <c:v>Av Price/Unit 277.43</c:v>
                </c:pt>
                <c:pt idx="11">
                  <c:v>Av Price/Unit 227.00</c:v>
                </c:pt>
              </c:strCache>
            </c:strRef>
          </c:cat>
          <c:val>
            <c:numRef>
              <c:f>Sheet1!$E$2:$E$13</c:f>
              <c:numCache>
                <c:formatCode>General</c:formatCode>
                <c:ptCount val="12"/>
                <c:pt idx="0">
                  <c:v>41.089881869542857</c:v>
                </c:pt>
                <c:pt idx="1">
                  <c:v>44.31729667812138</c:v>
                </c:pt>
                <c:pt idx="2">
                  <c:v>6.204557823129254</c:v>
                </c:pt>
                <c:pt idx="3">
                  <c:v>57.875</c:v>
                </c:pt>
                <c:pt idx="4">
                  <c:v>14.466549295774648</c:v>
                </c:pt>
                <c:pt idx="5">
                  <c:v>15.172644163150482</c:v>
                </c:pt>
                <c:pt idx="6">
                  <c:v>16.34416666666667</c:v>
                </c:pt>
                <c:pt idx="7">
                  <c:v>14.8949074074074</c:v>
                </c:pt>
                <c:pt idx="8">
                  <c:v>57.542553191489361</c:v>
                </c:pt>
                <c:pt idx="9">
                  <c:v>10.453431372549009</c:v>
                </c:pt>
                <c:pt idx="10">
                  <c:v>46.237588652482216</c:v>
                </c:pt>
                <c:pt idx="11">
                  <c:v>37.833333333333279</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5.01</c:v>
                </c:pt>
                <c:pt idx="1">
                  <c:v>Av Price/Unit 270.62</c:v>
                </c:pt>
                <c:pt idx="2">
                  <c:v>Av Price/Unit 356.48</c:v>
                </c:pt>
                <c:pt idx="3">
                  <c:v>Av Price/Unit 304.42</c:v>
                </c:pt>
                <c:pt idx="4">
                  <c:v>Av Price/Unit 37.64</c:v>
                </c:pt>
                <c:pt idx="5">
                  <c:v>Av Price/Unit 89.56</c:v>
                </c:pt>
                <c:pt idx="6">
                  <c:v>Av Price/Unit 99.92</c:v>
                </c:pt>
                <c:pt idx="7">
                  <c:v>Av Price/Unit 93.84</c:v>
                </c:pt>
                <c:pt idx="8">
                  <c:v>Av Price/Unit 397.74</c:v>
                </c:pt>
                <c:pt idx="9">
                  <c:v>Av Price/Unit 234.04</c:v>
                </c:pt>
                <c:pt idx="10">
                  <c:v>Av Price/Unit 288.18</c:v>
                </c:pt>
                <c:pt idx="11">
                  <c:v>Av Price/Unit 758.33</c:v>
                </c:pt>
              </c:strCache>
            </c:strRef>
          </c:cat>
          <c:val>
            <c:numRef>
              <c:f>Sheet1!$B$2:$B$13</c:f>
              <c:numCache>
                <c:formatCode>General</c:formatCode>
                <c:ptCount val="12"/>
                <c:pt idx="0">
                  <c:v>62.465647787610614</c:v>
                </c:pt>
                <c:pt idx="1">
                  <c:v>81.192601544401541</c:v>
                </c:pt>
                <c:pt idx="2">
                  <c:v>105.03052962962961</c:v>
                </c:pt>
                <c:pt idx="3">
                  <c:v>77.139940963855409</c:v>
                </c:pt>
                <c:pt idx="4">
                  <c:v>12.525242718446602</c:v>
                </c:pt>
                <c:pt idx="5">
                  <c:v>29.442109499999997</c:v>
                </c:pt>
                <c:pt idx="6">
                  <c:v>32.79869837398374</c:v>
                </c:pt>
                <c:pt idx="7">
                  <c:v>30.400788888888886</c:v>
                </c:pt>
                <c:pt idx="8">
                  <c:v>122.56408064516127</c:v>
                </c:pt>
                <c:pt idx="9">
                  <c:v>76.502021739130413</c:v>
                </c:pt>
                <c:pt idx="10">
                  <c:v>84.717061764705889</c:v>
                </c:pt>
                <c:pt idx="11">
                  <c:v>234.5771749999999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5.01</c:v>
                </c:pt>
                <c:pt idx="1">
                  <c:v>Av Price/Unit 270.62</c:v>
                </c:pt>
                <c:pt idx="2">
                  <c:v>Av Price/Unit 356.48</c:v>
                </c:pt>
                <c:pt idx="3">
                  <c:v>Av Price/Unit 304.42</c:v>
                </c:pt>
                <c:pt idx="4">
                  <c:v>Av Price/Unit 37.64</c:v>
                </c:pt>
                <c:pt idx="5">
                  <c:v>Av Price/Unit 89.56</c:v>
                </c:pt>
                <c:pt idx="6">
                  <c:v>Av Price/Unit 99.92</c:v>
                </c:pt>
                <c:pt idx="7">
                  <c:v>Av Price/Unit 93.84</c:v>
                </c:pt>
                <c:pt idx="8">
                  <c:v>Av Price/Unit 397.74</c:v>
                </c:pt>
                <c:pt idx="9">
                  <c:v>Av Price/Unit 234.04</c:v>
                </c:pt>
                <c:pt idx="10">
                  <c:v>Av Price/Unit 288.18</c:v>
                </c:pt>
                <c:pt idx="11">
                  <c:v>Av Price/Unit 758.33</c:v>
                </c:pt>
              </c:strCache>
            </c:strRef>
          </c:cat>
          <c:val>
            <c:numRef>
              <c:f>Sheet1!$C$2:$C$13</c:f>
              <c:numCache>
                <c:formatCode>General</c:formatCode>
                <c:ptCount val="12"/>
                <c:pt idx="0">
                  <c:v>142.35175516224189</c:v>
                </c:pt>
                <c:pt idx="1">
                  <c:v>137.26038957528959</c:v>
                </c:pt>
                <c:pt idx="2">
                  <c:v>169.25957407407412</c:v>
                </c:pt>
                <c:pt idx="3">
                  <c:v>164.74760240963855</c:v>
                </c:pt>
                <c:pt idx="4">
                  <c:v>18.367482524271843</c:v>
                </c:pt>
                <c:pt idx="5">
                  <c:v>40.747070500000007</c:v>
                </c:pt>
                <c:pt idx="6">
                  <c:v>47.699235772357724</c:v>
                </c:pt>
                <c:pt idx="7">
                  <c:v>42.729528888888886</c:v>
                </c:pt>
                <c:pt idx="8">
                  <c:v>172.08436129032259</c:v>
                </c:pt>
                <c:pt idx="9">
                  <c:v>103.19</c:v>
                </c:pt>
                <c:pt idx="10">
                  <c:v>151.18982352941177</c:v>
                </c:pt>
                <c:pt idx="11">
                  <c:v>421.4992083333333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5.01</c:v>
                </c:pt>
                <c:pt idx="1">
                  <c:v>Av Price/Unit 270.62</c:v>
                </c:pt>
                <c:pt idx="2">
                  <c:v>Av Price/Unit 356.48</c:v>
                </c:pt>
                <c:pt idx="3">
                  <c:v>Av Price/Unit 304.42</c:v>
                </c:pt>
                <c:pt idx="4">
                  <c:v>Av Price/Unit 37.64</c:v>
                </c:pt>
                <c:pt idx="5">
                  <c:v>Av Price/Unit 89.56</c:v>
                </c:pt>
                <c:pt idx="6">
                  <c:v>Av Price/Unit 99.92</c:v>
                </c:pt>
                <c:pt idx="7">
                  <c:v>Av Price/Unit 93.84</c:v>
                </c:pt>
                <c:pt idx="8">
                  <c:v>Av Price/Unit 397.74</c:v>
                </c:pt>
                <c:pt idx="9">
                  <c:v>Av Price/Unit 234.04</c:v>
                </c:pt>
                <c:pt idx="10">
                  <c:v>Av Price/Unit 288.18</c:v>
                </c:pt>
                <c:pt idx="11">
                  <c:v>Av Price/Unit 758.33</c:v>
                </c:pt>
              </c:strCache>
            </c:strRef>
          </c:cat>
          <c:val>
            <c:numRef>
              <c:f>Sheet1!$D$2:$D$13</c:f>
              <c:numCache>
                <c:formatCode>General</c:formatCode>
                <c:ptCount val="12"/>
                <c:pt idx="0">
                  <c:v>-0.64581986234020405</c:v>
                </c:pt>
                <c:pt idx="1">
                  <c:v>7.0618093951094068</c:v>
                </c:pt>
                <c:pt idx="2">
                  <c:v>22.777797530864177</c:v>
                </c:pt>
                <c:pt idx="3">
                  <c:v>11.797195582329351</c:v>
                </c:pt>
                <c:pt idx="4">
                  <c:v>0.47184714131607564</c:v>
                </c:pt>
                <c:pt idx="5">
                  <c:v>4.4399866666666696</c:v>
                </c:pt>
                <c:pt idx="6">
                  <c:v>2.7676485094850989</c:v>
                </c:pt>
                <c:pt idx="7">
                  <c:v>5.0672130864197982</c:v>
                </c:pt>
                <c:pt idx="8">
                  <c:v>36.803170967742005</c:v>
                </c:pt>
                <c:pt idx="9">
                  <c:v>15.344210144927558</c:v>
                </c:pt>
                <c:pt idx="10">
                  <c:v>4.2401735294117771</c:v>
                </c:pt>
                <c:pt idx="11">
                  <c:v>-24.13193888888861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5.01</c:v>
                </c:pt>
                <c:pt idx="1">
                  <c:v>Av Price/Unit 270.62</c:v>
                </c:pt>
                <c:pt idx="2">
                  <c:v>Av Price/Unit 356.48</c:v>
                </c:pt>
                <c:pt idx="3">
                  <c:v>Av Price/Unit 304.42</c:v>
                </c:pt>
                <c:pt idx="4">
                  <c:v>Av Price/Unit 37.64</c:v>
                </c:pt>
                <c:pt idx="5">
                  <c:v>Av Price/Unit 89.56</c:v>
                </c:pt>
                <c:pt idx="6">
                  <c:v>Av Price/Unit 99.92</c:v>
                </c:pt>
                <c:pt idx="7">
                  <c:v>Av Price/Unit 93.84</c:v>
                </c:pt>
                <c:pt idx="8">
                  <c:v>Av Price/Unit 397.74</c:v>
                </c:pt>
                <c:pt idx="9">
                  <c:v>Av Price/Unit 234.04</c:v>
                </c:pt>
                <c:pt idx="10">
                  <c:v>Av Price/Unit 288.18</c:v>
                </c:pt>
                <c:pt idx="11">
                  <c:v>Av Price/Unit 758.33</c:v>
                </c:pt>
              </c:strCache>
            </c:strRef>
          </c:cat>
          <c:val>
            <c:numRef>
              <c:f>Sheet1!$E$2:$E$13</c:f>
              <c:numCache>
                <c:formatCode>General</c:formatCode>
                <c:ptCount val="12"/>
                <c:pt idx="0">
                  <c:v>40.834316617502445</c:v>
                </c:pt>
                <c:pt idx="1">
                  <c:v>45.102960102960097</c:v>
                </c:pt>
                <c:pt idx="2">
                  <c:v>59.413580246913583</c:v>
                </c:pt>
                <c:pt idx="3">
                  <c:v>50.736947791164631</c:v>
                </c:pt>
                <c:pt idx="4">
                  <c:v>6.2729234088457408</c:v>
                </c:pt>
                <c:pt idx="5">
                  <c:v>14.925833333333339</c:v>
                </c:pt>
                <c:pt idx="6">
                  <c:v>16.653116531165303</c:v>
                </c:pt>
                <c:pt idx="7">
                  <c:v>15.639506172839484</c:v>
                </c:pt>
                <c:pt idx="8">
                  <c:v>66.290322580645096</c:v>
                </c:pt>
                <c:pt idx="9">
                  <c:v>39.007246376811565</c:v>
                </c:pt>
                <c:pt idx="10">
                  <c:v>48.029411764705884</c:v>
                </c:pt>
                <c:pt idx="11">
                  <c:v>126.3888888888887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8.93</c:v>
                </c:pt>
                <c:pt idx="1">
                  <c:v>Av Price/Unit 283.46</c:v>
                </c:pt>
                <c:pt idx="2">
                  <c:v>Av Price/Unit 258.63</c:v>
                </c:pt>
                <c:pt idx="3">
                  <c:v>Av Price/Unit 372.98</c:v>
                </c:pt>
                <c:pt idx="4">
                  <c:v>Av Price/Unit 374.47</c:v>
                </c:pt>
                <c:pt idx="5">
                  <c:v>Av Price/Unit 37.77</c:v>
                </c:pt>
                <c:pt idx="6">
                  <c:v>Av Price/Unit 93.21</c:v>
                </c:pt>
                <c:pt idx="7">
                  <c:v>Av Price/Unit 174.16</c:v>
                </c:pt>
                <c:pt idx="8">
                  <c:v>Av Price/Unit 91.10</c:v>
                </c:pt>
                <c:pt idx="9">
                  <c:v>Av Price/Unit 90.20</c:v>
                </c:pt>
                <c:pt idx="10">
                  <c:v>Av Price/Unit 65.00</c:v>
                </c:pt>
                <c:pt idx="11">
                  <c:v>Av Price/Unit 102.82</c:v>
                </c:pt>
              </c:strCache>
            </c:strRef>
          </c:cat>
          <c:val>
            <c:numRef>
              <c:f>Sheet1!$B$2:$B$13</c:f>
              <c:numCache>
                <c:formatCode>General</c:formatCode>
                <c:ptCount val="12"/>
                <c:pt idx="0">
                  <c:v>64.166237209302338</c:v>
                </c:pt>
                <c:pt idx="1">
                  <c:v>81.638522797927465</c:v>
                </c:pt>
                <c:pt idx="2">
                  <c:v>87.004747101449269</c:v>
                </c:pt>
                <c:pt idx="3">
                  <c:v>120.97387560975609</c:v>
                </c:pt>
                <c:pt idx="4">
                  <c:v>119.9191842105263</c:v>
                </c:pt>
                <c:pt idx="5">
                  <c:v>12.524827272727274</c:v>
                </c:pt>
                <c:pt idx="6">
                  <c:v>30.317735483870969</c:v>
                </c:pt>
                <c:pt idx="7">
                  <c:v>63.696413725490189</c:v>
                </c:pt>
                <c:pt idx="8">
                  <c:v>30.314489534883716</c:v>
                </c:pt>
                <c:pt idx="9">
                  <c:v>29.288873493975906</c:v>
                </c:pt>
                <c:pt idx="10">
                  <c:v>20.237033333333333</c:v>
                </c:pt>
                <c:pt idx="11">
                  <c:v>33.26732985074627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8.93</c:v>
                </c:pt>
                <c:pt idx="1">
                  <c:v>Av Price/Unit 283.46</c:v>
                </c:pt>
                <c:pt idx="2">
                  <c:v>Av Price/Unit 258.63</c:v>
                </c:pt>
                <c:pt idx="3">
                  <c:v>Av Price/Unit 372.98</c:v>
                </c:pt>
                <c:pt idx="4">
                  <c:v>Av Price/Unit 374.47</c:v>
                </c:pt>
                <c:pt idx="5">
                  <c:v>Av Price/Unit 37.77</c:v>
                </c:pt>
                <c:pt idx="6">
                  <c:v>Av Price/Unit 93.21</c:v>
                </c:pt>
                <c:pt idx="7">
                  <c:v>Av Price/Unit 174.16</c:v>
                </c:pt>
                <c:pt idx="8">
                  <c:v>Av Price/Unit 91.10</c:v>
                </c:pt>
                <c:pt idx="9">
                  <c:v>Av Price/Unit 90.20</c:v>
                </c:pt>
                <c:pt idx="10">
                  <c:v>Av Price/Unit 65.00</c:v>
                </c:pt>
                <c:pt idx="11">
                  <c:v>Av Price/Unit 102.82</c:v>
                </c:pt>
              </c:strCache>
            </c:strRef>
          </c:cat>
          <c:val>
            <c:numRef>
              <c:f>Sheet1!$C$2:$C$13</c:f>
              <c:numCache>
                <c:formatCode>General</c:formatCode>
                <c:ptCount val="12"/>
                <c:pt idx="0">
                  <c:v>141.78593023255812</c:v>
                </c:pt>
                <c:pt idx="1">
                  <c:v>137.15397409326422</c:v>
                </c:pt>
                <c:pt idx="2">
                  <c:v>151.97473913043481</c:v>
                </c:pt>
                <c:pt idx="3">
                  <c:v>171.83879268292682</c:v>
                </c:pt>
                <c:pt idx="4">
                  <c:v>171.66817105263155</c:v>
                </c:pt>
                <c:pt idx="5">
                  <c:v>18.366109090909092</c:v>
                </c:pt>
                <c:pt idx="6">
                  <c:v>43.139616129032255</c:v>
                </c:pt>
                <c:pt idx="7">
                  <c:v>88.231686274509812</c:v>
                </c:pt>
                <c:pt idx="8">
                  <c:v>42.887037209302328</c:v>
                </c:pt>
                <c:pt idx="9">
                  <c:v>40.832368674698799</c:v>
                </c:pt>
                <c:pt idx="10">
                  <c:v>30.401833333333336</c:v>
                </c:pt>
                <c:pt idx="11">
                  <c:v>47.58462686567164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8.93</c:v>
                </c:pt>
                <c:pt idx="1">
                  <c:v>Av Price/Unit 283.46</c:v>
                </c:pt>
                <c:pt idx="2">
                  <c:v>Av Price/Unit 258.63</c:v>
                </c:pt>
                <c:pt idx="3">
                  <c:v>Av Price/Unit 372.98</c:v>
                </c:pt>
                <c:pt idx="4">
                  <c:v>Av Price/Unit 374.47</c:v>
                </c:pt>
                <c:pt idx="5">
                  <c:v>Av Price/Unit 37.77</c:v>
                </c:pt>
                <c:pt idx="6">
                  <c:v>Av Price/Unit 93.21</c:v>
                </c:pt>
                <c:pt idx="7">
                  <c:v>Av Price/Unit 174.16</c:v>
                </c:pt>
                <c:pt idx="8">
                  <c:v>Av Price/Unit 91.10</c:v>
                </c:pt>
                <c:pt idx="9">
                  <c:v>Av Price/Unit 90.20</c:v>
                </c:pt>
                <c:pt idx="10">
                  <c:v>Av Price/Unit 65.00</c:v>
                </c:pt>
                <c:pt idx="11">
                  <c:v>Av Price/Unit 102.82</c:v>
                </c:pt>
              </c:strCache>
            </c:strRef>
          </c:cat>
          <c:val>
            <c:numRef>
              <c:f>Sheet1!$D$2:$D$13</c:f>
              <c:numCache>
                <c:formatCode>General</c:formatCode>
                <c:ptCount val="12"/>
                <c:pt idx="0">
                  <c:v>1.4864630490955903</c:v>
                </c:pt>
                <c:pt idx="1">
                  <c:v>17.425119689119242</c:v>
                </c:pt>
                <c:pt idx="2">
                  <c:v>-23.454123913043446</c:v>
                </c:pt>
                <c:pt idx="3">
                  <c:v>18.000339837398428</c:v>
                </c:pt>
                <c:pt idx="4">
                  <c:v>20.474048245614199</c:v>
                </c:pt>
                <c:pt idx="5">
                  <c:v>0.58358528138528598</c:v>
                </c:pt>
                <c:pt idx="6">
                  <c:v>4.2173795698925005</c:v>
                </c:pt>
                <c:pt idx="7">
                  <c:v>-6.7973810457516208</c:v>
                </c:pt>
                <c:pt idx="8">
                  <c:v>2.7190158914728642</c:v>
                </c:pt>
                <c:pt idx="9">
                  <c:v>5.0494405622490035</c:v>
                </c:pt>
                <c:pt idx="10">
                  <c:v>3.5278000000000134</c:v>
                </c:pt>
                <c:pt idx="11">
                  <c:v>4.832122885572161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8.93</c:v>
                </c:pt>
                <c:pt idx="1">
                  <c:v>Av Price/Unit 283.46</c:v>
                </c:pt>
                <c:pt idx="2">
                  <c:v>Av Price/Unit 258.63</c:v>
                </c:pt>
                <c:pt idx="3">
                  <c:v>Av Price/Unit 372.98</c:v>
                </c:pt>
                <c:pt idx="4">
                  <c:v>Av Price/Unit 374.47</c:v>
                </c:pt>
                <c:pt idx="5">
                  <c:v>Av Price/Unit 37.77</c:v>
                </c:pt>
                <c:pt idx="6">
                  <c:v>Av Price/Unit 93.21</c:v>
                </c:pt>
                <c:pt idx="7">
                  <c:v>Av Price/Unit 174.16</c:v>
                </c:pt>
                <c:pt idx="8">
                  <c:v>Av Price/Unit 91.10</c:v>
                </c:pt>
                <c:pt idx="9">
                  <c:v>Av Price/Unit 90.20</c:v>
                </c:pt>
                <c:pt idx="10">
                  <c:v>Av Price/Unit 65.00</c:v>
                </c:pt>
                <c:pt idx="11">
                  <c:v>Av Price/Unit 102.82</c:v>
                </c:pt>
              </c:strCache>
            </c:strRef>
          </c:cat>
          <c:val>
            <c:numRef>
              <c:f>Sheet1!$E$2:$E$13</c:f>
              <c:numCache>
                <c:formatCode>General</c:formatCode>
                <c:ptCount val="12"/>
                <c:pt idx="0">
                  <c:v>41.487726098191224</c:v>
                </c:pt>
                <c:pt idx="1">
                  <c:v>47.243523316062102</c:v>
                </c:pt>
                <c:pt idx="2">
                  <c:v>43.105072463768089</c:v>
                </c:pt>
                <c:pt idx="3">
                  <c:v>62.162601626016198</c:v>
                </c:pt>
                <c:pt idx="4">
                  <c:v>62.412280701754277</c:v>
                </c:pt>
                <c:pt idx="5">
                  <c:v>6.2949134199134162</c:v>
                </c:pt>
                <c:pt idx="6">
                  <c:v>15.534946236559129</c:v>
                </c:pt>
                <c:pt idx="7">
                  <c:v>29.026143790849666</c:v>
                </c:pt>
                <c:pt idx="8">
                  <c:v>15.18410852713178</c:v>
                </c:pt>
                <c:pt idx="9">
                  <c:v>15.034136546184724</c:v>
                </c:pt>
                <c:pt idx="10">
                  <c:v>10.833333333333325</c:v>
                </c:pt>
                <c:pt idx="11">
                  <c:v>17.13681592039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56.34</c:v>
                </c:pt>
                <c:pt idx="1">
                  <c:v>Av Price/Unit 271.94</c:v>
                </c:pt>
                <c:pt idx="2">
                  <c:v>Av Price/Unit 101.71</c:v>
                </c:pt>
                <c:pt idx="3">
                  <c:v>Av Price/Unit 359.96</c:v>
                </c:pt>
                <c:pt idx="4">
                  <c:v>Av Price/Unit 38.90</c:v>
                </c:pt>
                <c:pt idx="5">
                  <c:v>Av Price/Unit 262.46</c:v>
                </c:pt>
                <c:pt idx="6">
                  <c:v>Av Price/Unit 90.09</c:v>
                </c:pt>
                <c:pt idx="7">
                  <c:v>Av Price/Unit 93.64</c:v>
                </c:pt>
                <c:pt idx="8">
                  <c:v>Av Price/Unit 98.90</c:v>
                </c:pt>
                <c:pt idx="9">
                  <c:v>Av Price/Unit 238.42</c:v>
                </c:pt>
                <c:pt idx="10">
                  <c:v>Av Price/Unit 91.29</c:v>
                </c:pt>
                <c:pt idx="11">
                  <c:v>Av Price/Unit 67.21</c:v>
                </c:pt>
              </c:strCache>
            </c:strRef>
          </c:cat>
          <c:val>
            <c:numRef>
              <c:f>Sheet1!$B$2:$B$13</c:f>
              <c:numCache>
                <c:formatCode>General</c:formatCode>
                <c:ptCount val="12"/>
                <c:pt idx="0">
                  <c:v>64.548943558282204</c:v>
                </c:pt>
                <c:pt idx="1">
                  <c:v>83.436933333333343</c:v>
                </c:pt>
                <c:pt idx="2">
                  <c:v>33.226723076923072</c:v>
                </c:pt>
                <c:pt idx="3">
                  <c:v>113.16474347826089</c:v>
                </c:pt>
                <c:pt idx="4">
                  <c:v>12.51979304812834</c:v>
                </c:pt>
                <c:pt idx="5">
                  <c:v>80.991308333333336</c:v>
                </c:pt>
                <c:pt idx="6">
                  <c:v>29.619617910447758</c:v>
                </c:pt>
                <c:pt idx="7">
                  <c:v>30.363568965517242</c:v>
                </c:pt>
                <c:pt idx="8">
                  <c:v>30.411402083333325</c:v>
                </c:pt>
                <c:pt idx="9">
                  <c:v>76.875773684210515</c:v>
                </c:pt>
                <c:pt idx="10">
                  <c:v>30.26610526315789</c:v>
                </c:pt>
                <c:pt idx="11">
                  <c:v>21.96136037735848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56.34</c:v>
                </c:pt>
                <c:pt idx="1">
                  <c:v>Av Price/Unit 271.94</c:v>
                </c:pt>
                <c:pt idx="2">
                  <c:v>Av Price/Unit 101.71</c:v>
                </c:pt>
                <c:pt idx="3">
                  <c:v>Av Price/Unit 359.96</c:v>
                </c:pt>
                <c:pt idx="4">
                  <c:v>Av Price/Unit 38.90</c:v>
                </c:pt>
                <c:pt idx="5">
                  <c:v>Av Price/Unit 262.46</c:v>
                </c:pt>
                <c:pt idx="6">
                  <c:v>Av Price/Unit 90.09</c:v>
                </c:pt>
                <c:pt idx="7">
                  <c:v>Av Price/Unit 93.64</c:v>
                </c:pt>
                <c:pt idx="8">
                  <c:v>Av Price/Unit 98.90</c:v>
                </c:pt>
                <c:pt idx="9">
                  <c:v>Av Price/Unit 238.42</c:v>
                </c:pt>
                <c:pt idx="10">
                  <c:v>Av Price/Unit 91.29</c:v>
                </c:pt>
                <c:pt idx="11">
                  <c:v>Av Price/Unit 67.21</c:v>
                </c:pt>
              </c:strCache>
            </c:strRef>
          </c:cat>
          <c:val>
            <c:numRef>
              <c:f>Sheet1!$C$2:$C$13</c:f>
              <c:numCache>
                <c:formatCode>General</c:formatCode>
                <c:ptCount val="12"/>
                <c:pt idx="0">
                  <c:v>141.65859509202454</c:v>
                </c:pt>
                <c:pt idx="1">
                  <c:v>136.7247980392157</c:v>
                </c:pt>
                <c:pt idx="2">
                  <c:v>47.594557692307674</c:v>
                </c:pt>
                <c:pt idx="3">
                  <c:v>170.57547826086957</c:v>
                </c:pt>
                <c:pt idx="4">
                  <c:v>18.349466310160427</c:v>
                </c:pt>
                <c:pt idx="5">
                  <c:v>149.91149999999999</c:v>
                </c:pt>
                <c:pt idx="6">
                  <c:v>40.64826119402985</c:v>
                </c:pt>
                <c:pt idx="7">
                  <c:v>42.910027586206901</c:v>
                </c:pt>
                <c:pt idx="8">
                  <c:v>42.710158333333332</c:v>
                </c:pt>
                <c:pt idx="9">
                  <c:v>103.19000000000003</c:v>
                </c:pt>
                <c:pt idx="10">
                  <c:v>43.671647368421048</c:v>
                </c:pt>
                <c:pt idx="11">
                  <c:v>29.85151886792453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56.34</c:v>
                </c:pt>
                <c:pt idx="1">
                  <c:v>Av Price/Unit 271.94</c:v>
                </c:pt>
                <c:pt idx="2">
                  <c:v>Av Price/Unit 101.71</c:v>
                </c:pt>
                <c:pt idx="3">
                  <c:v>Av Price/Unit 359.96</c:v>
                </c:pt>
                <c:pt idx="4">
                  <c:v>Av Price/Unit 38.90</c:v>
                </c:pt>
                <c:pt idx="5">
                  <c:v>Av Price/Unit 262.46</c:v>
                </c:pt>
                <c:pt idx="6">
                  <c:v>Av Price/Unit 90.09</c:v>
                </c:pt>
                <c:pt idx="7">
                  <c:v>Av Price/Unit 93.64</c:v>
                </c:pt>
                <c:pt idx="8">
                  <c:v>Av Price/Unit 98.90</c:v>
                </c:pt>
                <c:pt idx="9">
                  <c:v>Av Price/Unit 238.42</c:v>
                </c:pt>
                <c:pt idx="10">
                  <c:v>Av Price/Unit 91.29</c:v>
                </c:pt>
                <c:pt idx="11">
                  <c:v>Av Price/Unit 67.21</c:v>
                </c:pt>
              </c:strCache>
            </c:strRef>
          </c:cat>
          <c:val>
            <c:numRef>
              <c:f>Sheet1!$D$2:$D$13</c:f>
              <c:numCache>
                <c:formatCode>General</c:formatCode>
                <c:ptCount val="12"/>
                <c:pt idx="0">
                  <c:v>7.4120932515337188</c:v>
                </c:pt>
                <c:pt idx="1">
                  <c:v>6.4559156862745226</c:v>
                </c:pt>
                <c:pt idx="2">
                  <c:v>3.938334615384619</c:v>
                </c:pt>
                <c:pt idx="3">
                  <c:v>16.223546376811498</c:v>
                </c:pt>
                <c:pt idx="4">
                  <c:v>1.5504716577540094</c:v>
                </c:pt>
                <c:pt idx="5">
                  <c:v>-12.187530555555554</c:v>
                </c:pt>
                <c:pt idx="6">
                  <c:v>4.8067477611940319</c:v>
                </c:pt>
                <c:pt idx="7">
                  <c:v>4.7580126436781711</c:v>
                </c:pt>
                <c:pt idx="8">
                  <c:v>9.2916340277777749</c:v>
                </c:pt>
                <c:pt idx="9">
                  <c:v>18.618436842105325</c:v>
                </c:pt>
                <c:pt idx="10">
                  <c:v>2.1368087719298217</c:v>
                </c:pt>
                <c:pt idx="11">
                  <c:v>4.193410062893086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56.34</c:v>
                </c:pt>
                <c:pt idx="1">
                  <c:v>Av Price/Unit 271.94</c:v>
                </c:pt>
                <c:pt idx="2">
                  <c:v>Av Price/Unit 101.71</c:v>
                </c:pt>
                <c:pt idx="3">
                  <c:v>Av Price/Unit 359.96</c:v>
                </c:pt>
                <c:pt idx="4">
                  <c:v>Av Price/Unit 38.90</c:v>
                </c:pt>
                <c:pt idx="5">
                  <c:v>Av Price/Unit 262.46</c:v>
                </c:pt>
                <c:pt idx="6">
                  <c:v>Av Price/Unit 90.09</c:v>
                </c:pt>
                <c:pt idx="7">
                  <c:v>Av Price/Unit 93.64</c:v>
                </c:pt>
                <c:pt idx="8">
                  <c:v>Av Price/Unit 98.90</c:v>
                </c:pt>
                <c:pt idx="9">
                  <c:v>Av Price/Unit 238.42</c:v>
                </c:pt>
                <c:pt idx="10">
                  <c:v>Av Price/Unit 91.29</c:v>
                </c:pt>
                <c:pt idx="11">
                  <c:v>Av Price/Unit 67.21</c:v>
                </c:pt>
              </c:strCache>
            </c:strRef>
          </c:cat>
          <c:val>
            <c:numRef>
              <c:f>Sheet1!$E$2:$E$13</c:f>
              <c:numCache>
                <c:formatCode>General</c:formatCode>
                <c:ptCount val="12"/>
                <c:pt idx="0">
                  <c:v>42.723926380368098</c:v>
                </c:pt>
                <c:pt idx="1">
                  <c:v>45.323529411764667</c:v>
                </c:pt>
                <c:pt idx="2">
                  <c:v>16.951923076923094</c:v>
                </c:pt>
                <c:pt idx="3">
                  <c:v>59.99275362318847</c:v>
                </c:pt>
                <c:pt idx="4">
                  <c:v>6.4839572192513373</c:v>
                </c:pt>
                <c:pt idx="5">
                  <c:v>43.743055555555543</c:v>
                </c:pt>
                <c:pt idx="6">
                  <c:v>15.014925373134329</c:v>
                </c:pt>
                <c:pt idx="7">
                  <c:v>15.606321839080449</c:v>
                </c:pt>
                <c:pt idx="8">
                  <c:v>16.482638888888886</c:v>
                </c:pt>
                <c:pt idx="9">
                  <c:v>39.736842105263136</c:v>
                </c:pt>
                <c:pt idx="10">
                  <c:v>15.214912280701739</c:v>
                </c:pt>
                <c:pt idx="11">
                  <c:v>11.20125786163521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4.92</c:v>
                </c:pt>
                <c:pt idx="1">
                  <c:v>Av Price/Unit 267.06</c:v>
                </c:pt>
                <c:pt idx="2">
                  <c:v>Av Price/Unit 348.53</c:v>
                </c:pt>
                <c:pt idx="3">
                  <c:v>Av Price/Unit 37.17</c:v>
                </c:pt>
                <c:pt idx="4">
                  <c:v>Av Price/Unit 86.75</c:v>
                </c:pt>
                <c:pt idx="5">
                  <c:v>Av Price/Unit 329.50</c:v>
                </c:pt>
                <c:pt idx="6">
                  <c:v>Av Price/Unit 263.29</c:v>
                </c:pt>
                <c:pt idx="7">
                  <c:v>Av Price/Unit 88.87</c:v>
                </c:pt>
                <c:pt idx="8">
                  <c:v>Av Price/Unit 90.21</c:v>
                </c:pt>
                <c:pt idx="9">
                  <c:v>Av Price/Unit 97.57</c:v>
                </c:pt>
                <c:pt idx="10">
                  <c:v>Av Price/Unit 62.30</c:v>
                </c:pt>
                <c:pt idx="11">
                  <c:v>Av Price/Unit 220.21</c:v>
                </c:pt>
              </c:strCache>
            </c:strRef>
          </c:cat>
          <c:val>
            <c:numRef>
              <c:f>Sheet1!$B$2:$B$13</c:f>
              <c:numCache>
                <c:formatCode>General</c:formatCode>
                <c:ptCount val="12"/>
                <c:pt idx="0">
                  <c:v>64.466908187543723</c:v>
                </c:pt>
                <c:pt idx="1">
                  <c:v>81.532491080277495</c:v>
                </c:pt>
                <c:pt idx="2">
                  <c:v>114.74976534653464</c:v>
                </c:pt>
                <c:pt idx="3">
                  <c:v>12.520509540636041</c:v>
                </c:pt>
                <c:pt idx="4">
                  <c:v>29.382363877118646</c:v>
                </c:pt>
                <c:pt idx="5">
                  <c:v>96.113471200000006</c:v>
                </c:pt>
                <c:pt idx="6">
                  <c:v>85.890453497942403</c:v>
                </c:pt>
                <c:pt idx="7">
                  <c:v>30.339909673202612</c:v>
                </c:pt>
                <c:pt idx="8">
                  <c:v>30.367006548431096</c:v>
                </c:pt>
                <c:pt idx="9">
                  <c:v>32.990944578313254</c:v>
                </c:pt>
                <c:pt idx="10">
                  <c:v>21.14352672064777</c:v>
                </c:pt>
                <c:pt idx="11">
                  <c:v>76.72226842105263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4.92</c:v>
                </c:pt>
                <c:pt idx="1">
                  <c:v>Av Price/Unit 267.06</c:v>
                </c:pt>
                <c:pt idx="2">
                  <c:v>Av Price/Unit 348.53</c:v>
                </c:pt>
                <c:pt idx="3">
                  <c:v>Av Price/Unit 37.17</c:v>
                </c:pt>
                <c:pt idx="4">
                  <c:v>Av Price/Unit 86.75</c:v>
                </c:pt>
                <c:pt idx="5">
                  <c:v>Av Price/Unit 329.50</c:v>
                </c:pt>
                <c:pt idx="6">
                  <c:v>Av Price/Unit 263.29</c:v>
                </c:pt>
                <c:pt idx="7">
                  <c:v>Av Price/Unit 88.87</c:v>
                </c:pt>
                <c:pt idx="8">
                  <c:v>Av Price/Unit 90.21</c:v>
                </c:pt>
                <c:pt idx="9">
                  <c:v>Av Price/Unit 97.57</c:v>
                </c:pt>
                <c:pt idx="10">
                  <c:v>Av Price/Unit 62.30</c:v>
                </c:pt>
                <c:pt idx="11">
                  <c:v>Av Price/Unit 220.21</c:v>
                </c:pt>
              </c:strCache>
            </c:strRef>
          </c:cat>
          <c:val>
            <c:numRef>
              <c:f>Sheet1!$C$2:$C$13</c:f>
              <c:numCache>
                <c:formatCode>General</c:formatCode>
                <c:ptCount val="12"/>
                <c:pt idx="0">
                  <c:v>141.68589013296011</c:v>
                </c:pt>
                <c:pt idx="1">
                  <c:v>137.17927770069377</c:v>
                </c:pt>
                <c:pt idx="2">
                  <c:v>170.83189356435645</c:v>
                </c:pt>
                <c:pt idx="3">
                  <c:v>18.351834982332157</c:v>
                </c:pt>
                <c:pt idx="4">
                  <c:v>40.780327648305082</c:v>
                </c:pt>
                <c:pt idx="5">
                  <c:v>167.817026</c:v>
                </c:pt>
                <c:pt idx="6">
                  <c:v>151.59241975308643</c:v>
                </c:pt>
                <c:pt idx="7">
                  <c:v>43.028541437908501</c:v>
                </c:pt>
                <c:pt idx="8">
                  <c:v>42.791186357435194</c:v>
                </c:pt>
                <c:pt idx="9">
                  <c:v>47.652219879518078</c:v>
                </c:pt>
                <c:pt idx="10">
                  <c:v>30.112528340080971</c:v>
                </c:pt>
                <c:pt idx="11">
                  <c:v>103.1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4.92</c:v>
                </c:pt>
                <c:pt idx="1">
                  <c:v>Av Price/Unit 267.06</c:v>
                </c:pt>
                <c:pt idx="2">
                  <c:v>Av Price/Unit 348.53</c:v>
                </c:pt>
                <c:pt idx="3">
                  <c:v>Av Price/Unit 37.17</c:v>
                </c:pt>
                <c:pt idx="4">
                  <c:v>Av Price/Unit 86.75</c:v>
                </c:pt>
                <c:pt idx="5">
                  <c:v>Av Price/Unit 329.50</c:v>
                </c:pt>
                <c:pt idx="6">
                  <c:v>Av Price/Unit 263.29</c:v>
                </c:pt>
                <c:pt idx="7">
                  <c:v>Av Price/Unit 88.87</c:v>
                </c:pt>
                <c:pt idx="8">
                  <c:v>Av Price/Unit 90.21</c:v>
                </c:pt>
                <c:pt idx="9">
                  <c:v>Av Price/Unit 97.57</c:v>
                </c:pt>
                <c:pt idx="10">
                  <c:v>Av Price/Unit 62.30</c:v>
                </c:pt>
                <c:pt idx="11">
                  <c:v>Av Price/Unit 220.21</c:v>
                </c:pt>
              </c:strCache>
            </c:strRef>
          </c:cat>
          <c:val>
            <c:numRef>
              <c:f>Sheet1!$D$2:$D$13</c:f>
              <c:numCache>
                <c:formatCode>General</c:formatCode>
                <c:ptCount val="12"/>
                <c:pt idx="0">
                  <c:v>-2.0502790762771497</c:v>
                </c:pt>
                <c:pt idx="1">
                  <c:v>3.8410888338289055</c:v>
                </c:pt>
                <c:pt idx="2">
                  <c:v>4.8576975247524956</c:v>
                </c:pt>
                <c:pt idx="3">
                  <c:v>0.10318389961039287</c:v>
                </c:pt>
                <c:pt idx="4">
                  <c:v>2.127209604519777</c:v>
                </c:pt>
                <c:pt idx="5">
                  <c:v>10.649502799999993</c:v>
                </c:pt>
                <c:pt idx="6">
                  <c:v>-18.072722359396437</c:v>
                </c:pt>
                <c:pt idx="7">
                  <c:v>0.69146174291940099</c:v>
                </c:pt>
                <c:pt idx="8">
                  <c:v>2.0202973169622567</c:v>
                </c:pt>
                <c:pt idx="9">
                  <c:v>0.66205642570285761</c:v>
                </c:pt>
                <c:pt idx="10">
                  <c:v>0.66027422402160596</c:v>
                </c:pt>
                <c:pt idx="11">
                  <c:v>3.596503508771945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4.92</c:v>
                </c:pt>
                <c:pt idx="1">
                  <c:v>Av Price/Unit 267.06</c:v>
                </c:pt>
                <c:pt idx="2">
                  <c:v>Av Price/Unit 348.53</c:v>
                </c:pt>
                <c:pt idx="3">
                  <c:v>Av Price/Unit 37.17</c:v>
                </c:pt>
                <c:pt idx="4">
                  <c:v>Av Price/Unit 86.75</c:v>
                </c:pt>
                <c:pt idx="5">
                  <c:v>Av Price/Unit 329.50</c:v>
                </c:pt>
                <c:pt idx="6">
                  <c:v>Av Price/Unit 263.29</c:v>
                </c:pt>
                <c:pt idx="7">
                  <c:v>Av Price/Unit 88.87</c:v>
                </c:pt>
                <c:pt idx="8">
                  <c:v>Av Price/Unit 90.21</c:v>
                </c:pt>
                <c:pt idx="9">
                  <c:v>Av Price/Unit 97.57</c:v>
                </c:pt>
                <c:pt idx="10">
                  <c:v>Av Price/Unit 62.30</c:v>
                </c:pt>
                <c:pt idx="11">
                  <c:v>Av Price/Unit 220.21</c:v>
                </c:pt>
              </c:strCache>
            </c:strRef>
          </c:cat>
          <c:val>
            <c:numRef>
              <c:f>Sheet1!$E$2:$E$13</c:f>
              <c:numCache>
                <c:formatCode>General</c:formatCode>
                <c:ptCount val="12"/>
                <c:pt idx="0">
                  <c:v>40.820503848845348</c:v>
                </c:pt>
                <c:pt idx="1">
                  <c:v>44.510571522960014</c:v>
                </c:pt>
                <c:pt idx="2">
                  <c:v>58.087871287128678</c:v>
                </c:pt>
                <c:pt idx="3">
                  <c:v>6.1951164265651926</c:v>
                </c:pt>
                <c:pt idx="4">
                  <c:v>14.457980225988695</c:v>
                </c:pt>
                <c:pt idx="5">
                  <c:v>54.915999999999997</c:v>
                </c:pt>
                <c:pt idx="6">
                  <c:v>43.882030178326453</c:v>
                </c:pt>
                <c:pt idx="7">
                  <c:v>14.811982570806107</c:v>
                </c:pt>
                <c:pt idx="8">
                  <c:v>15.035698044565708</c:v>
                </c:pt>
                <c:pt idx="9">
                  <c:v>16.261044176706807</c:v>
                </c:pt>
                <c:pt idx="10">
                  <c:v>10.383265856950057</c:v>
                </c:pt>
                <c:pt idx="11">
                  <c:v>36.70175438596489</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77.32</c:v>
                </c:pt>
                <c:pt idx="1">
                  <c:v>Av Price/Unit 247.68</c:v>
                </c:pt>
                <c:pt idx="2">
                  <c:v>Av Price/Unit 357.97</c:v>
                </c:pt>
                <c:pt idx="3">
                  <c:v>Av Price/Unit 303.64</c:v>
                </c:pt>
                <c:pt idx="4">
                  <c:v>Av Price/Unit 37.69</c:v>
                </c:pt>
                <c:pt idx="5">
                  <c:v>Av Price/Unit 101.66</c:v>
                </c:pt>
                <c:pt idx="6">
                  <c:v>Av Price/Unit 287.09</c:v>
                </c:pt>
                <c:pt idx="7">
                  <c:v>Av Price/Unit 94.41</c:v>
                </c:pt>
                <c:pt idx="8">
                  <c:v>Av Price/Unit 90.26</c:v>
                </c:pt>
                <c:pt idx="9">
                  <c:v>Av Price/Unit 91.24</c:v>
                </c:pt>
                <c:pt idx="10">
                  <c:v>Av Price/Unit 264.74</c:v>
                </c:pt>
                <c:pt idx="11">
                  <c:v>Av Price/Unit 425.12</c:v>
                </c:pt>
              </c:strCache>
            </c:strRef>
          </c:cat>
          <c:val>
            <c:numRef>
              <c:f>Sheet1!$B$2:$B$13</c:f>
              <c:numCache>
                <c:formatCode>General</c:formatCode>
                <c:ptCount val="12"/>
                <c:pt idx="0">
                  <c:v>81.75226546546547</c:v>
                </c:pt>
                <c:pt idx="1">
                  <c:v>63.311173195876279</c:v>
                </c:pt>
                <c:pt idx="2">
                  <c:v>113.8332242105263</c:v>
                </c:pt>
                <c:pt idx="3">
                  <c:v>80.389563636363633</c:v>
                </c:pt>
                <c:pt idx="4">
                  <c:v>12.522366984126984</c:v>
                </c:pt>
                <c:pt idx="5">
                  <c:v>32.415299999999995</c:v>
                </c:pt>
                <c:pt idx="6">
                  <c:v>84.57368000000001</c:v>
                </c:pt>
                <c:pt idx="7">
                  <c:v>30.393274311926607</c:v>
                </c:pt>
                <c:pt idx="8">
                  <c:v>29.548677272727272</c:v>
                </c:pt>
                <c:pt idx="9">
                  <c:v>30.353060919540237</c:v>
                </c:pt>
                <c:pt idx="10">
                  <c:v>80.214531250000036</c:v>
                </c:pt>
                <c:pt idx="11">
                  <c:v>130.7570764705882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77.32</c:v>
                </c:pt>
                <c:pt idx="1">
                  <c:v>Av Price/Unit 247.68</c:v>
                </c:pt>
                <c:pt idx="2">
                  <c:v>Av Price/Unit 357.97</c:v>
                </c:pt>
                <c:pt idx="3">
                  <c:v>Av Price/Unit 303.64</c:v>
                </c:pt>
                <c:pt idx="4">
                  <c:v>Av Price/Unit 37.69</c:v>
                </c:pt>
                <c:pt idx="5">
                  <c:v>Av Price/Unit 101.66</c:v>
                </c:pt>
                <c:pt idx="6">
                  <c:v>Av Price/Unit 287.09</c:v>
                </c:pt>
                <c:pt idx="7">
                  <c:v>Av Price/Unit 94.41</c:v>
                </c:pt>
                <c:pt idx="8">
                  <c:v>Av Price/Unit 90.26</c:v>
                </c:pt>
                <c:pt idx="9">
                  <c:v>Av Price/Unit 91.24</c:v>
                </c:pt>
                <c:pt idx="10">
                  <c:v>Av Price/Unit 264.74</c:v>
                </c:pt>
                <c:pt idx="11">
                  <c:v>Av Price/Unit 425.12</c:v>
                </c:pt>
              </c:strCache>
            </c:strRef>
          </c:cat>
          <c:val>
            <c:numRef>
              <c:f>Sheet1!$C$2:$C$13</c:f>
              <c:numCache>
                <c:formatCode>General</c:formatCode>
                <c:ptCount val="12"/>
                <c:pt idx="0">
                  <c:v>137.12683033033034</c:v>
                </c:pt>
                <c:pt idx="1">
                  <c:v>142.0704295532646</c:v>
                </c:pt>
                <c:pt idx="2">
                  <c:v>170.68362105263159</c:v>
                </c:pt>
                <c:pt idx="3">
                  <c:v>165.27330681818185</c:v>
                </c:pt>
                <c:pt idx="4">
                  <c:v>18.357975555555555</c:v>
                </c:pt>
                <c:pt idx="5">
                  <c:v>47.792999999999999</c:v>
                </c:pt>
                <c:pt idx="6">
                  <c:v>151.14062857142855</c:v>
                </c:pt>
                <c:pt idx="7">
                  <c:v>42.743244036697241</c:v>
                </c:pt>
                <c:pt idx="8">
                  <c:v>40.687750000000001</c:v>
                </c:pt>
                <c:pt idx="9">
                  <c:v>42.962664367816089</c:v>
                </c:pt>
                <c:pt idx="10">
                  <c:v>112.59796874999996</c:v>
                </c:pt>
                <c:pt idx="11">
                  <c:v>173.4170999999999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77.32</c:v>
                </c:pt>
                <c:pt idx="1">
                  <c:v>Av Price/Unit 247.68</c:v>
                </c:pt>
                <c:pt idx="2">
                  <c:v>Av Price/Unit 357.97</c:v>
                </c:pt>
                <c:pt idx="3">
                  <c:v>Av Price/Unit 303.64</c:v>
                </c:pt>
                <c:pt idx="4">
                  <c:v>Av Price/Unit 37.69</c:v>
                </c:pt>
                <c:pt idx="5">
                  <c:v>Av Price/Unit 101.66</c:v>
                </c:pt>
                <c:pt idx="6">
                  <c:v>Av Price/Unit 287.09</c:v>
                </c:pt>
                <c:pt idx="7">
                  <c:v>Av Price/Unit 94.41</c:v>
                </c:pt>
                <c:pt idx="8">
                  <c:v>Av Price/Unit 90.26</c:v>
                </c:pt>
                <c:pt idx="9">
                  <c:v>Av Price/Unit 91.24</c:v>
                </c:pt>
                <c:pt idx="10">
                  <c:v>Av Price/Unit 264.74</c:v>
                </c:pt>
                <c:pt idx="11">
                  <c:v>Av Price/Unit 425.12</c:v>
                </c:pt>
              </c:strCache>
            </c:strRef>
          </c:cat>
          <c:val>
            <c:numRef>
              <c:f>Sheet1!$D$2:$D$13</c:f>
              <c:numCache>
                <c:formatCode>General</c:formatCode>
                <c:ptCount val="12"/>
                <c:pt idx="0">
                  <c:v>12.217000300300299</c:v>
                </c:pt>
                <c:pt idx="1">
                  <c:v>1.0158772050401126</c:v>
                </c:pt>
                <c:pt idx="2">
                  <c:v>13.790172280701768</c:v>
                </c:pt>
                <c:pt idx="3">
                  <c:v>7.3674325757575616</c:v>
                </c:pt>
                <c:pt idx="4">
                  <c:v>0.52966021164021271</c:v>
                </c:pt>
                <c:pt idx="5">
                  <c:v>4.5089619047619038</c:v>
                </c:pt>
                <c:pt idx="6">
                  <c:v>3.5237866666666946</c:v>
                </c:pt>
                <c:pt idx="7">
                  <c:v>5.5408516819571929</c:v>
                </c:pt>
                <c:pt idx="8">
                  <c:v>4.9832696969696855</c:v>
                </c:pt>
                <c:pt idx="9">
                  <c:v>2.7187574712643539</c:v>
                </c:pt>
                <c:pt idx="10">
                  <c:v>29.270833333333314</c:v>
                </c:pt>
                <c:pt idx="11">
                  <c:v>50.09052941176469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77.32</c:v>
                </c:pt>
                <c:pt idx="1">
                  <c:v>Av Price/Unit 247.68</c:v>
                </c:pt>
                <c:pt idx="2">
                  <c:v>Av Price/Unit 357.97</c:v>
                </c:pt>
                <c:pt idx="3">
                  <c:v>Av Price/Unit 303.64</c:v>
                </c:pt>
                <c:pt idx="4">
                  <c:v>Av Price/Unit 37.69</c:v>
                </c:pt>
                <c:pt idx="5">
                  <c:v>Av Price/Unit 101.66</c:v>
                </c:pt>
                <c:pt idx="6">
                  <c:v>Av Price/Unit 287.09</c:v>
                </c:pt>
                <c:pt idx="7">
                  <c:v>Av Price/Unit 94.41</c:v>
                </c:pt>
                <c:pt idx="8">
                  <c:v>Av Price/Unit 90.26</c:v>
                </c:pt>
                <c:pt idx="9">
                  <c:v>Av Price/Unit 91.24</c:v>
                </c:pt>
                <c:pt idx="10">
                  <c:v>Av Price/Unit 264.74</c:v>
                </c:pt>
                <c:pt idx="11">
                  <c:v>Av Price/Unit 425.12</c:v>
                </c:pt>
              </c:strCache>
            </c:strRef>
          </c:cat>
          <c:val>
            <c:numRef>
              <c:f>Sheet1!$E$2:$E$13</c:f>
              <c:numCache>
                <c:formatCode>General</c:formatCode>
                <c:ptCount val="12"/>
                <c:pt idx="0">
                  <c:v>46.219219219219219</c:v>
                </c:pt>
                <c:pt idx="1">
                  <c:v>41.279495990836182</c:v>
                </c:pt>
                <c:pt idx="2">
                  <c:v>59.661403508771919</c:v>
                </c:pt>
                <c:pt idx="3">
                  <c:v>50.606060606060595</c:v>
                </c:pt>
                <c:pt idx="4">
                  <c:v>6.282010582010578</c:v>
                </c:pt>
                <c:pt idx="5">
                  <c:v>16.943452380952376</c:v>
                </c:pt>
                <c:pt idx="6">
                  <c:v>47.847619047619027</c:v>
                </c:pt>
                <c:pt idx="7">
                  <c:v>15.735474006116203</c:v>
                </c:pt>
                <c:pt idx="8">
                  <c:v>15.0439393939394</c:v>
                </c:pt>
                <c:pt idx="9">
                  <c:v>15.206896551724139</c:v>
                </c:pt>
                <c:pt idx="10">
                  <c:v>44.416666666666686</c:v>
                </c:pt>
                <c:pt idx="11">
                  <c:v>70.85294117647059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258.25</c:v>
                </c:pt>
                <c:pt idx="1">
                  <c:v>Av Price/Unit 281.66</c:v>
                </c:pt>
                <c:pt idx="2">
                  <c:v>Av Price/Unit 417.67</c:v>
                </c:pt>
                <c:pt idx="3">
                  <c:v>Av Price/Unit 39.66</c:v>
                </c:pt>
                <c:pt idx="4">
                  <c:v>Av Price/Unit 109.57</c:v>
                </c:pt>
                <c:pt idx="5">
                  <c:v>Av Price/Unit 367.25</c:v>
                </c:pt>
                <c:pt idx="6">
                  <c:v>Av Price/Unit 93.24</c:v>
                </c:pt>
                <c:pt idx="7">
                  <c:v>Av Price/Unit 320.67</c:v>
                </c:pt>
                <c:pt idx="8">
                  <c:v>Av Price/Unit 67.44</c:v>
                </c:pt>
                <c:pt idx="9">
                  <c:v>Av Price/Unit 114.57</c:v>
                </c:pt>
                <c:pt idx="10">
                  <c:v>Av Price/Unit 203.33</c:v>
                </c:pt>
              </c:strCache>
            </c:strRef>
          </c:cat>
          <c:val>
            <c:numRef>
              <c:f>Sheet1!$B$2:$B$12</c:f>
              <c:numCache>
                <c:formatCode>General</c:formatCode>
                <c:ptCount val="11"/>
                <c:pt idx="0">
                  <c:v>64.473559999999992</c:v>
                </c:pt>
                <c:pt idx="1">
                  <c:v>83.221795121951217</c:v>
                </c:pt>
                <c:pt idx="2">
                  <c:v>114.04676666666667</c:v>
                </c:pt>
                <c:pt idx="3">
                  <c:v>12.516976744186044</c:v>
                </c:pt>
                <c:pt idx="4">
                  <c:v>32.911699999999996</c:v>
                </c:pt>
                <c:pt idx="5">
                  <c:v>103.90350000000001</c:v>
                </c:pt>
                <c:pt idx="6">
                  <c:v>29.374757142857149</c:v>
                </c:pt>
                <c:pt idx="7">
                  <c:v>86.979699999999994</c:v>
                </c:pt>
                <c:pt idx="8">
                  <c:v>22.064820000000001</c:v>
                </c:pt>
                <c:pt idx="9">
                  <c:v>30.474278571428574</c:v>
                </c:pt>
                <c:pt idx="10">
                  <c:v>68.24580000000000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258.25</c:v>
                </c:pt>
                <c:pt idx="1">
                  <c:v>Av Price/Unit 281.66</c:v>
                </c:pt>
                <c:pt idx="2">
                  <c:v>Av Price/Unit 417.67</c:v>
                </c:pt>
                <c:pt idx="3">
                  <c:v>Av Price/Unit 39.66</c:v>
                </c:pt>
                <c:pt idx="4">
                  <c:v>Av Price/Unit 109.57</c:v>
                </c:pt>
                <c:pt idx="5">
                  <c:v>Av Price/Unit 367.25</c:v>
                </c:pt>
                <c:pt idx="6">
                  <c:v>Av Price/Unit 93.24</c:v>
                </c:pt>
                <c:pt idx="7">
                  <c:v>Av Price/Unit 320.67</c:v>
                </c:pt>
                <c:pt idx="8">
                  <c:v>Av Price/Unit 67.44</c:v>
                </c:pt>
                <c:pt idx="9">
                  <c:v>Av Price/Unit 114.57</c:v>
                </c:pt>
                <c:pt idx="10">
                  <c:v>Av Price/Unit 203.33</c:v>
                </c:pt>
              </c:strCache>
            </c:strRef>
          </c:cat>
          <c:val>
            <c:numRef>
              <c:f>Sheet1!$C$2:$C$12</c:f>
              <c:numCache>
                <c:formatCode>General</c:formatCode>
                <c:ptCount val="11"/>
                <c:pt idx="0">
                  <c:v>141.68367692307692</c:v>
                </c:pt>
                <c:pt idx="1">
                  <c:v>136.77613902439023</c:v>
                </c:pt>
                <c:pt idx="2">
                  <c:v>170.71816666666666</c:v>
                </c:pt>
                <c:pt idx="3">
                  <c:v>18.340155813953491</c:v>
                </c:pt>
                <c:pt idx="4">
                  <c:v>47.671599999999998</c:v>
                </c:pt>
                <c:pt idx="5">
                  <c:v>169.07724999999999</c:v>
                </c:pt>
                <c:pt idx="6">
                  <c:v>40.784561904761908</c:v>
                </c:pt>
                <c:pt idx="7">
                  <c:v>142.18700000000001</c:v>
                </c:pt>
                <c:pt idx="8">
                  <c:v>29.8185</c:v>
                </c:pt>
                <c:pt idx="9">
                  <c:v>42.595399999999998</c:v>
                </c:pt>
                <c:pt idx="10">
                  <c:v>99.545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258.25</c:v>
                </c:pt>
                <c:pt idx="1">
                  <c:v>Av Price/Unit 281.66</c:v>
                </c:pt>
                <c:pt idx="2">
                  <c:v>Av Price/Unit 417.67</c:v>
                </c:pt>
                <c:pt idx="3">
                  <c:v>Av Price/Unit 39.66</c:v>
                </c:pt>
                <c:pt idx="4">
                  <c:v>Av Price/Unit 109.57</c:v>
                </c:pt>
                <c:pt idx="5">
                  <c:v>Av Price/Unit 367.25</c:v>
                </c:pt>
                <c:pt idx="6">
                  <c:v>Av Price/Unit 93.24</c:v>
                </c:pt>
                <c:pt idx="7">
                  <c:v>Av Price/Unit 320.67</c:v>
                </c:pt>
                <c:pt idx="8">
                  <c:v>Av Price/Unit 67.44</c:v>
                </c:pt>
                <c:pt idx="9">
                  <c:v>Av Price/Unit 114.57</c:v>
                </c:pt>
                <c:pt idx="10">
                  <c:v>Av Price/Unit 203.33</c:v>
                </c:pt>
              </c:strCache>
            </c:strRef>
          </c:cat>
          <c:val>
            <c:numRef>
              <c:f>Sheet1!$D$2:$D$12</c:f>
              <c:numCache>
                <c:formatCode>General</c:formatCode>
                <c:ptCount val="11"/>
                <c:pt idx="0">
                  <c:v>9.047891282051296</c:v>
                </c:pt>
                <c:pt idx="1">
                  <c:v>14.717513008130084</c:v>
                </c:pt>
                <c:pt idx="2">
                  <c:v>63.290622222222225</c:v>
                </c:pt>
                <c:pt idx="3">
                  <c:v>2.1951325581395338</c:v>
                </c:pt>
                <c:pt idx="4">
                  <c:v>10.722255555555606</c:v>
                </c:pt>
                <c:pt idx="5">
                  <c:v>33.060916666666685</c:v>
                </c:pt>
                <c:pt idx="6">
                  <c:v>7.5390936507936601</c:v>
                </c:pt>
                <c:pt idx="7">
                  <c:v>38.055522222222237</c:v>
                </c:pt>
                <c:pt idx="8">
                  <c:v>4.3166800000000052</c:v>
                </c:pt>
                <c:pt idx="9">
                  <c:v>22.406511904761913</c:v>
                </c:pt>
                <c:pt idx="10">
                  <c:v>1.652744444444465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258.25</c:v>
                </c:pt>
                <c:pt idx="1">
                  <c:v>Av Price/Unit 281.66</c:v>
                </c:pt>
                <c:pt idx="2">
                  <c:v>Av Price/Unit 417.67</c:v>
                </c:pt>
                <c:pt idx="3">
                  <c:v>Av Price/Unit 39.66</c:v>
                </c:pt>
                <c:pt idx="4">
                  <c:v>Av Price/Unit 109.57</c:v>
                </c:pt>
                <c:pt idx="5">
                  <c:v>Av Price/Unit 367.25</c:v>
                </c:pt>
                <c:pt idx="6">
                  <c:v>Av Price/Unit 93.24</c:v>
                </c:pt>
                <c:pt idx="7">
                  <c:v>Av Price/Unit 320.67</c:v>
                </c:pt>
                <c:pt idx="8">
                  <c:v>Av Price/Unit 67.44</c:v>
                </c:pt>
                <c:pt idx="9">
                  <c:v>Av Price/Unit 114.57</c:v>
                </c:pt>
                <c:pt idx="10">
                  <c:v>Av Price/Unit 203.33</c:v>
                </c:pt>
              </c:strCache>
            </c:strRef>
          </c:cat>
          <c:val>
            <c:numRef>
              <c:f>Sheet1!$E$2:$E$12</c:f>
              <c:numCache>
                <c:formatCode>General</c:formatCode>
                <c:ptCount val="11"/>
                <c:pt idx="0">
                  <c:v>43.041025641025605</c:v>
                </c:pt>
                <c:pt idx="1">
                  <c:v>46.943089430894297</c:v>
                </c:pt>
                <c:pt idx="2">
                  <c:v>69.611111111111086</c:v>
                </c:pt>
                <c:pt idx="3">
                  <c:v>6.6104651162790695</c:v>
                </c:pt>
                <c:pt idx="4">
                  <c:v>18.261111111111102</c:v>
                </c:pt>
                <c:pt idx="5">
                  <c:v>61.208333333333314</c:v>
                </c:pt>
                <c:pt idx="6">
                  <c:v>15.539682539682525</c:v>
                </c:pt>
                <c:pt idx="7">
                  <c:v>53.444444444444422</c:v>
                </c:pt>
                <c:pt idx="8">
                  <c:v>11.239999999999991</c:v>
                </c:pt>
                <c:pt idx="9">
                  <c:v>19.095238095238091</c:v>
                </c:pt>
                <c:pt idx="10">
                  <c:v>33.888888888888879</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50.67</c:v>
                </c:pt>
                <c:pt idx="1">
                  <c:v>Av Price/Unit 278.18</c:v>
                </c:pt>
                <c:pt idx="2">
                  <c:v>Av Price/Unit 275.30</c:v>
                </c:pt>
                <c:pt idx="3">
                  <c:v>Av Price/Unit 38.64</c:v>
                </c:pt>
                <c:pt idx="4">
                  <c:v>Av Price/Unit 94.65</c:v>
                </c:pt>
                <c:pt idx="5">
                  <c:v>Av Price/Unit 103.60</c:v>
                </c:pt>
                <c:pt idx="6">
                  <c:v>Av Price/Unit 339.94</c:v>
                </c:pt>
                <c:pt idx="7">
                  <c:v>Av Price/Unit 96.83</c:v>
                </c:pt>
                <c:pt idx="8">
                  <c:v>Av Price/Unit 66.17</c:v>
                </c:pt>
                <c:pt idx="9">
                  <c:v>Av Price/Unit 91.72</c:v>
                </c:pt>
                <c:pt idx="10">
                  <c:v>Av Price/Unit 423.42</c:v>
                </c:pt>
                <c:pt idx="11">
                  <c:v>Av Price/Unit 352.70</c:v>
                </c:pt>
              </c:strCache>
            </c:strRef>
          </c:cat>
          <c:val>
            <c:numRef>
              <c:f>Sheet1!$B$2:$B$13</c:f>
              <c:numCache>
                <c:formatCode>General</c:formatCode>
                <c:ptCount val="12"/>
                <c:pt idx="0">
                  <c:v>63.582144186046506</c:v>
                </c:pt>
                <c:pt idx="1">
                  <c:v>81.452283333333341</c:v>
                </c:pt>
                <c:pt idx="2">
                  <c:v>82.750103278688528</c:v>
                </c:pt>
                <c:pt idx="3">
                  <c:v>12.524002283105023</c:v>
                </c:pt>
                <c:pt idx="4">
                  <c:v>30.345403370786524</c:v>
                </c:pt>
                <c:pt idx="5">
                  <c:v>33.24263333333333</c:v>
                </c:pt>
                <c:pt idx="6">
                  <c:v>100.54941111111111</c:v>
                </c:pt>
                <c:pt idx="7">
                  <c:v>30.380133898305086</c:v>
                </c:pt>
                <c:pt idx="8">
                  <c:v>21.958001298701298</c:v>
                </c:pt>
                <c:pt idx="9">
                  <c:v>29.430517021276597</c:v>
                </c:pt>
                <c:pt idx="10">
                  <c:v>93.760233333333318</c:v>
                </c:pt>
                <c:pt idx="11">
                  <c:v>86.97969999999999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50.67</c:v>
                </c:pt>
                <c:pt idx="1">
                  <c:v>Av Price/Unit 278.18</c:v>
                </c:pt>
                <c:pt idx="2">
                  <c:v>Av Price/Unit 275.30</c:v>
                </c:pt>
                <c:pt idx="3">
                  <c:v>Av Price/Unit 38.64</c:v>
                </c:pt>
                <c:pt idx="4">
                  <c:v>Av Price/Unit 94.65</c:v>
                </c:pt>
                <c:pt idx="5">
                  <c:v>Av Price/Unit 103.60</c:v>
                </c:pt>
                <c:pt idx="6">
                  <c:v>Av Price/Unit 339.94</c:v>
                </c:pt>
                <c:pt idx="7">
                  <c:v>Av Price/Unit 96.83</c:v>
                </c:pt>
                <c:pt idx="8">
                  <c:v>Av Price/Unit 66.17</c:v>
                </c:pt>
                <c:pt idx="9">
                  <c:v>Av Price/Unit 91.72</c:v>
                </c:pt>
                <c:pt idx="10">
                  <c:v>Av Price/Unit 423.42</c:v>
                </c:pt>
                <c:pt idx="11">
                  <c:v>Av Price/Unit 352.70</c:v>
                </c:pt>
              </c:strCache>
            </c:strRef>
          </c:cat>
          <c:val>
            <c:numRef>
              <c:f>Sheet1!$C$2:$C$13</c:f>
              <c:numCache>
                <c:formatCode>General</c:formatCode>
                <c:ptCount val="12"/>
                <c:pt idx="0">
                  <c:v>141.98027131782945</c:v>
                </c:pt>
                <c:pt idx="1">
                  <c:v>137.19841862745096</c:v>
                </c:pt>
                <c:pt idx="2">
                  <c:v>150.51495081967215</c:v>
                </c:pt>
                <c:pt idx="3">
                  <c:v>18.36338173515982</c:v>
                </c:pt>
                <c:pt idx="4">
                  <c:v>43.001022471910119</c:v>
                </c:pt>
                <c:pt idx="5">
                  <c:v>47.590666666666678</c:v>
                </c:pt>
                <c:pt idx="6">
                  <c:v>168.50327777777775</c:v>
                </c:pt>
                <c:pt idx="7">
                  <c:v>42.767227118644058</c:v>
                </c:pt>
                <c:pt idx="8">
                  <c:v>29.85259090909091</c:v>
                </c:pt>
                <c:pt idx="9">
                  <c:v>40.753523404255318</c:v>
                </c:pt>
                <c:pt idx="10">
                  <c:v>167.43633333333335</c:v>
                </c:pt>
                <c:pt idx="11">
                  <c:v>142.1870000000000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50.67</c:v>
                </c:pt>
                <c:pt idx="1">
                  <c:v>Av Price/Unit 278.18</c:v>
                </c:pt>
                <c:pt idx="2">
                  <c:v>Av Price/Unit 275.30</c:v>
                </c:pt>
                <c:pt idx="3">
                  <c:v>Av Price/Unit 38.64</c:v>
                </c:pt>
                <c:pt idx="4">
                  <c:v>Av Price/Unit 94.65</c:v>
                </c:pt>
                <c:pt idx="5">
                  <c:v>Av Price/Unit 103.60</c:v>
                </c:pt>
                <c:pt idx="6">
                  <c:v>Av Price/Unit 339.94</c:v>
                </c:pt>
                <c:pt idx="7">
                  <c:v>Av Price/Unit 96.83</c:v>
                </c:pt>
                <c:pt idx="8">
                  <c:v>Av Price/Unit 66.17</c:v>
                </c:pt>
                <c:pt idx="9">
                  <c:v>Av Price/Unit 91.72</c:v>
                </c:pt>
                <c:pt idx="10">
                  <c:v>Av Price/Unit 423.42</c:v>
                </c:pt>
                <c:pt idx="11">
                  <c:v>Av Price/Unit 352.70</c:v>
                </c:pt>
              </c:strCache>
            </c:strRef>
          </c:cat>
          <c:val>
            <c:numRef>
              <c:f>Sheet1!$D$2:$D$13</c:f>
              <c:numCache>
                <c:formatCode>General</c:formatCode>
                <c:ptCount val="12"/>
                <c:pt idx="0">
                  <c:v>3.3264733850128891</c:v>
                </c:pt>
                <c:pt idx="1">
                  <c:v>13.163023529411817</c:v>
                </c:pt>
                <c:pt idx="2">
                  <c:v>-3.8524857923497393</c:v>
                </c:pt>
                <c:pt idx="3">
                  <c:v>1.3119601217656047</c:v>
                </c:pt>
                <c:pt idx="4">
                  <c:v>5.529978651685397</c:v>
                </c:pt>
                <c:pt idx="5">
                  <c:v>5.5000333333333487</c:v>
                </c:pt>
                <c:pt idx="6">
                  <c:v>14.234348148148058</c:v>
                </c:pt>
                <c:pt idx="7">
                  <c:v>7.5447293785310734</c:v>
                </c:pt>
                <c:pt idx="8">
                  <c:v>3.3301004329004371</c:v>
                </c:pt>
                <c:pt idx="9">
                  <c:v>6.2521297872340398</c:v>
                </c:pt>
                <c:pt idx="10">
                  <c:v>91.650655555555488</c:v>
                </c:pt>
                <c:pt idx="11">
                  <c:v>52.39580000000000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50.67</c:v>
                </c:pt>
                <c:pt idx="1">
                  <c:v>Av Price/Unit 278.18</c:v>
                </c:pt>
                <c:pt idx="2">
                  <c:v>Av Price/Unit 275.30</c:v>
                </c:pt>
                <c:pt idx="3">
                  <c:v>Av Price/Unit 38.64</c:v>
                </c:pt>
                <c:pt idx="4">
                  <c:v>Av Price/Unit 94.65</c:v>
                </c:pt>
                <c:pt idx="5">
                  <c:v>Av Price/Unit 103.60</c:v>
                </c:pt>
                <c:pt idx="6">
                  <c:v>Av Price/Unit 339.94</c:v>
                </c:pt>
                <c:pt idx="7">
                  <c:v>Av Price/Unit 96.83</c:v>
                </c:pt>
                <c:pt idx="8">
                  <c:v>Av Price/Unit 66.17</c:v>
                </c:pt>
                <c:pt idx="9">
                  <c:v>Av Price/Unit 91.72</c:v>
                </c:pt>
                <c:pt idx="10">
                  <c:v>Av Price/Unit 423.42</c:v>
                </c:pt>
                <c:pt idx="11">
                  <c:v>Av Price/Unit 352.70</c:v>
                </c:pt>
              </c:strCache>
            </c:strRef>
          </c:cat>
          <c:val>
            <c:numRef>
              <c:f>Sheet1!$E$2:$E$13</c:f>
              <c:numCache>
                <c:formatCode>General</c:formatCode>
                <c:ptCount val="12"/>
                <c:pt idx="0">
                  <c:v>41.777777777777771</c:v>
                </c:pt>
                <c:pt idx="1">
                  <c:v>46.362745098039177</c:v>
                </c:pt>
                <c:pt idx="2">
                  <c:v>45.882513661202196</c:v>
                </c:pt>
                <c:pt idx="3">
                  <c:v>6.4398782343987806</c:v>
                </c:pt>
                <c:pt idx="4">
                  <c:v>15.775280898876394</c:v>
                </c:pt>
                <c:pt idx="5">
                  <c:v>17.266666666666652</c:v>
                </c:pt>
                <c:pt idx="6">
                  <c:v>56.65740740740744</c:v>
                </c:pt>
                <c:pt idx="7">
                  <c:v>16.138418079096052</c:v>
                </c:pt>
                <c:pt idx="8">
                  <c:v>11.02813852813852</c:v>
                </c:pt>
                <c:pt idx="9">
                  <c:v>15.287234042553191</c:v>
                </c:pt>
                <c:pt idx="10">
                  <c:v>70.569444444444414</c:v>
                </c:pt>
                <c:pt idx="11">
                  <c:v>56.312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79.15</c:v>
                </c:pt>
                <c:pt idx="1">
                  <c:v>Av Price/Unit 286.78</c:v>
                </c:pt>
                <c:pt idx="2">
                  <c:v>Av Price/Unit 38.66</c:v>
                </c:pt>
                <c:pt idx="3">
                  <c:v>Av Price/Unit 90.83</c:v>
                </c:pt>
                <c:pt idx="4">
                  <c:v>Av Price/Unit 299.15</c:v>
                </c:pt>
                <c:pt idx="5">
                  <c:v>Av Price/Unit 394.73</c:v>
                </c:pt>
                <c:pt idx="6">
                  <c:v>Av Price/Unit 250.69</c:v>
                </c:pt>
                <c:pt idx="7">
                  <c:v>Av Price/Unit 105.12</c:v>
                </c:pt>
                <c:pt idx="8">
                  <c:v>Av Price/Unit 92.59</c:v>
                </c:pt>
                <c:pt idx="9">
                  <c:v>Av Price/Unit 68.77</c:v>
                </c:pt>
                <c:pt idx="10">
                  <c:v>Av Price/Unit 101.00</c:v>
                </c:pt>
                <c:pt idx="11">
                  <c:v>Av Price/Unit 316.33</c:v>
                </c:pt>
              </c:strCache>
            </c:strRef>
          </c:cat>
          <c:val>
            <c:numRef>
              <c:f>Sheet1!$B$2:$B$13</c:f>
              <c:numCache>
                <c:formatCode>General</c:formatCode>
                <c:ptCount val="12"/>
                <c:pt idx="0">
                  <c:v>81.435320512820496</c:v>
                </c:pt>
                <c:pt idx="1">
                  <c:v>62.185399999999994</c:v>
                </c:pt>
                <c:pt idx="2">
                  <c:v>12.523339455782313</c:v>
                </c:pt>
                <c:pt idx="3">
                  <c:v>29.563904347826085</c:v>
                </c:pt>
                <c:pt idx="4">
                  <c:v>86.857761538461546</c:v>
                </c:pt>
                <c:pt idx="5">
                  <c:v>101.13715454545455</c:v>
                </c:pt>
                <c:pt idx="6">
                  <c:v>76.002712499999987</c:v>
                </c:pt>
                <c:pt idx="7">
                  <c:v>32.725549999999998</c:v>
                </c:pt>
                <c:pt idx="8">
                  <c:v>30.395093103448279</c:v>
                </c:pt>
                <c:pt idx="9">
                  <c:v>23.037674193548387</c:v>
                </c:pt>
                <c:pt idx="10">
                  <c:v>30.480700000000002</c:v>
                </c:pt>
                <c:pt idx="11">
                  <c:v>90.39929999999999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79.15</c:v>
                </c:pt>
                <c:pt idx="1">
                  <c:v>Av Price/Unit 286.78</c:v>
                </c:pt>
                <c:pt idx="2">
                  <c:v>Av Price/Unit 38.66</c:v>
                </c:pt>
                <c:pt idx="3">
                  <c:v>Av Price/Unit 90.83</c:v>
                </c:pt>
                <c:pt idx="4">
                  <c:v>Av Price/Unit 299.15</c:v>
                </c:pt>
                <c:pt idx="5">
                  <c:v>Av Price/Unit 394.73</c:v>
                </c:pt>
                <c:pt idx="6">
                  <c:v>Av Price/Unit 250.69</c:v>
                </c:pt>
                <c:pt idx="7">
                  <c:v>Av Price/Unit 105.12</c:v>
                </c:pt>
                <c:pt idx="8">
                  <c:v>Av Price/Unit 92.59</c:v>
                </c:pt>
                <c:pt idx="9">
                  <c:v>Av Price/Unit 68.77</c:v>
                </c:pt>
                <c:pt idx="10">
                  <c:v>Av Price/Unit 101.00</c:v>
                </c:pt>
                <c:pt idx="11">
                  <c:v>Av Price/Unit 316.33</c:v>
                </c:pt>
              </c:strCache>
            </c:strRef>
          </c:cat>
          <c:val>
            <c:numRef>
              <c:f>Sheet1!$C$2:$C$13</c:f>
              <c:numCache>
                <c:formatCode>General</c:formatCode>
                <c:ptCount val="12"/>
                <c:pt idx="0">
                  <c:v>137.20246666666665</c:v>
                </c:pt>
                <c:pt idx="1">
                  <c:v>142.44499999999999</c:v>
                </c:pt>
                <c:pt idx="2">
                  <c:v>18.361190476190476</c:v>
                </c:pt>
                <c:pt idx="3">
                  <c:v>40.679273913043481</c:v>
                </c:pt>
                <c:pt idx="4">
                  <c:v>151.92430769230765</c:v>
                </c:pt>
                <c:pt idx="5">
                  <c:v>168.62972727272731</c:v>
                </c:pt>
                <c:pt idx="6">
                  <c:v>103.19000000000003</c:v>
                </c:pt>
                <c:pt idx="7">
                  <c:v>47.717124999999989</c:v>
                </c:pt>
                <c:pt idx="8">
                  <c:v>42.75211724137931</c:v>
                </c:pt>
                <c:pt idx="9">
                  <c:v>29.50801612903226</c:v>
                </c:pt>
                <c:pt idx="10">
                  <c:v>42.583680000000001</c:v>
                </c:pt>
                <c:pt idx="11">
                  <c:v>117.9340000000000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79.15</c:v>
                </c:pt>
                <c:pt idx="1">
                  <c:v>Av Price/Unit 286.78</c:v>
                </c:pt>
                <c:pt idx="2">
                  <c:v>Av Price/Unit 38.66</c:v>
                </c:pt>
                <c:pt idx="3">
                  <c:v>Av Price/Unit 90.83</c:v>
                </c:pt>
                <c:pt idx="4">
                  <c:v>Av Price/Unit 299.15</c:v>
                </c:pt>
                <c:pt idx="5">
                  <c:v>Av Price/Unit 394.73</c:v>
                </c:pt>
                <c:pt idx="6">
                  <c:v>Av Price/Unit 250.69</c:v>
                </c:pt>
                <c:pt idx="7">
                  <c:v>Av Price/Unit 105.12</c:v>
                </c:pt>
                <c:pt idx="8">
                  <c:v>Av Price/Unit 92.59</c:v>
                </c:pt>
                <c:pt idx="9">
                  <c:v>Av Price/Unit 68.77</c:v>
                </c:pt>
                <c:pt idx="10">
                  <c:v>Av Price/Unit 101.00</c:v>
                </c:pt>
                <c:pt idx="11">
                  <c:v>Av Price/Unit 316.33</c:v>
                </c:pt>
              </c:strCache>
            </c:strRef>
          </c:cat>
          <c:val>
            <c:numRef>
              <c:f>Sheet1!$D$2:$D$13</c:f>
              <c:numCache>
                <c:formatCode>General</c:formatCode>
                <c:ptCount val="12"/>
                <c:pt idx="0">
                  <c:v>13.990417948717976</c:v>
                </c:pt>
                <c:pt idx="1">
                  <c:v>34.355107246376804</c:v>
                </c:pt>
                <c:pt idx="2">
                  <c:v>1.3319750566893482</c:v>
                </c:pt>
                <c:pt idx="3">
                  <c:v>5.4452275362318829</c:v>
                </c:pt>
                <c:pt idx="4">
                  <c:v>10.5128025641026</c:v>
                </c:pt>
                <c:pt idx="5">
                  <c:v>59.172512121212151</c:v>
                </c:pt>
                <c:pt idx="6">
                  <c:v>29.713537500000029</c:v>
                </c:pt>
                <c:pt idx="7">
                  <c:v>7.1614916666666915</c:v>
                </c:pt>
                <c:pt idx="8">
                  <c:v>4.00796206896554</c:v>
                </c:pt>
                <c:pt idx="9">
                  <c:v>4.766137634408615</c:v>
                </c:pt>
                <c:pt idx="10">
                  <c:v>11.102286666666657</c:v>
                </c:pt>
                <c:pt idx="11">
                  <c:v>55.27781111111113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79.15</c:v>
                </c:pt>
                <c:pt idx="1">
                  <c:v>Av Price/Unit 286.78</c:v>
                </c:pt>
                <c:pt idx="2">
                  <c:v>Av Price/Unit 38.66</c:v>
                </c:pt>
                <c:pt idx="3">
                  <c:v>Av Price/Unit 90.83</c:v>
                </c:pt>
                <c:pt idx="4">
                  <c:v>Av Price/Unit 299.15</c:v>
                </c:pt>
                <c:pt idx="5">
                  <c:v>Av Price/Unit 394.73</c:v>
                </c:pt>
                <c:pt idx="6">
                  <c:v>Av Price/Unit 250.69</c:v>
                </c:pt>
                <c:pt idx="7">
                  <c:v>Av Price/Unit 105.12</c:v>
                </c:pt>
                <c:pt idx="8">
                  <c:v>Av Price/Unit 92.59</c:v>
                </c:pt>
                <c:pt idx="9">
                  <c:v>Av Price/Unit 68.77</c:v>
                </c:pt>
                <c:pt idx="10">
                  <c:v>Av Price/Unit 101.00</c:v>
                </c:pt>
                <c:pt idx="11">
                  <c:v>Av Price/Unit 316.33</c:v>
                </c:pt>
              </c:strCache>
            </c:strRef>
          </c:cat>
          <c:val>
            <c:numRef>
              <c:f>Sheet1!$E$2:$E$13</c:f>
              <c:numCache>
                <c:formatCode>General</c:formatCode>
                <c:ptCount val="12"/>
                <c:pt idx="0">
                  <c:v>46.525641025640979</c:v>
                </c:pt>
                <c:pt idx="1">
                  <c:v>47.797101449275353</c:v>
                </c:pt>
                <c:pt idx="2">
                  <c:v>6.4433106575963679</c:v>
                </c:pt>
                <c:pt idx="3">
                  <c:v>15.137681159420284</c:v>
                </c:pt>
                <c:pt idx="4">
                  <c:v>49.858974358974351</c:v>
                </c:pt>
                <c:pt idx="5">
                  <c:v>65.787878787878739</c:v>
                </c:pt>
                <c:pt idx="6">
                  <c:v>41.78125</c:v>
                </c:pt>
                <c:pt idx="7">
                  <c:v>17.520833333333343</c:v>
                </c:pt>
                <c:pt idx="8">
                  <c:v>15.431034482758621</c:v>
                </c:pt>
                <c:pt idx="9">
                  <c:v>11.462365591397832</c:v>
                </c:pt>
                <c:pt idx="10">
                  <c:v>16.833333333333336</c:v>
                </c:pt>
                <c:pt idx="11">
                  <c:v>52.72222222222220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E6E5E5"/>
              </a:solidFill>
            </c:spPr>
            <c:extLst>
              <c:ext xmlns:c16="http://schemas.microsoft.com/office/drawing/2014/chart" uri="{C3380CC4-5D6E-409C-BE32-E72D297353CC}">
                <c16:uniqueId val="{00000005-CFF5-4D9B-9947-2A90D7752FBB}"/>
              </c:ext>
            </c:extLst>
          </c:dPt>
          <c:dPt>
            <c:idx val="3"/>
            <c:invertIfNegative val="0"/>
            <c:bubble3D val="0"/>
            <c:spPr>
              <a:solidFill>
                <a:srgbClr val="FF808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7FF5B73F-774B-411B-8A44-91B24AB67B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76E1872-77B2-4656-8F24-09B25D5DCC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4D9E462-01F5-409A-8B97-780F486329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D12058C9-9040-4DD9-9ADB-16358926F8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0B267DE4-492C-45ED-883B-FB7AD4201E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EC42B5E0-B168-4ACE-B601-AE794A0C77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B634D454-0B36-48BA-8558-D6B0FDA0B9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FE4B476C-6D8F-42C0-A3C0-91B5A9559E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40.085900000000002</c:v>
                </c:pt>
                <c:pt idx="1">
                  <c:v>42.001199999999997</c:v>
                </c:pt>
                <c:pt idx="2">
                  <c:v>34.5319</c:v>
                </c:pt>
                <c:pt idx="3">
                  <c:v>38.241199999999999</c:v>
                </c:pt>
                <c:pt idx="4">
                  <c:v>36.632599999999996</c:v>
                </c:pt>
              </c:numCache>
            </c:numRef>
          </c:xVal>
          <c:yVal>
            <c:numRef>
              <c:f>Sheet1!$B$2:$B$6</c:f>
              <c:numCache>
                <c:formatCode>General</c:formatCode>
                <c:ptCount val="5"/>
                <c:pt idx="0">
                  <c:v>0.40799999999999997</c:v>
                </c:pt>
                <c:pt idx="1">
                  <c:v>0.40210000000000001</c:v>
                </c:pt>
                <c:pt idx="2">
                  <c:v>0.3926</c:v>
                </c:pt>
                <c:pt idx="3">
                  <c:v>0.41010000000000002</c:v>
                </c:pt>
                <c:pt idx="4">
                  <c:v>0.40439999999999998</c:v>
                </c:pt>
              </c:numCache>
            </c:numRef>
          </c:yVal>
          <c:bubbleSize>
            <c:numRef>
              <c:f>Sheet1!$C$2:$C$6</c:f>
              <c:numCache>
                <c:formatCode>General</c:formatCode>
                <c:ptCount val="5"/>
                <c:pt idx="0">
                  <c:v>38574118.479200043</c:v>
                </c:pt>
                <c:pt idx="1">
                  <c:v>5454279.342000003</c:v>
                </c:pt>
                <c:pt idx="2">
                  <c:v>1474546.456800004</c:v>
                </c:pt>
                <c:pt idx="3">
                  <c:v>3097502.3717000061</c:v>
                </c:pt>
                <c:pt idx="4">
                  <c:v>1618283.3653000011</c:v>
                </c:pt>
              </c:numCache>
            </c:numRef>
          </c:bubbleSize>
          <c:bubble3D val="0"/>
          <c:extLst>
            <c:ext xmlns:c15="http://schemas.microsoft.com/office/drawing/2012/chart" uri="{02D57815-91ED-43cb-92C2-25804820EDAC}">
              <c15:datalabelsRange>
                <c15:f>Sheet1!$E$2:$E$29</c15:f>
                <c15:dlblRangeCache>
                  <c:ptCount val="28"/>
                  <c:pt idx="0">
                    <c:v>NICOLAS IDF</c:v>
                  </c:pt>
                  <c:pt idx="1">
                    <c:v>NICOLAS PAC</c:v>
                  </c:pt>
                  <c:pt idx="2">
                    <c:v>NICOLAS EST</c:v>
                  </c:pt>
                  <c:pt idx="3">
                    <c:v>NICOLAS RHO</c:v>
                  </c:pt>
                  <c:pt idx="4">
                    <c:v>NICOLAS AQU</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0.401439999999994"/>
          <c:min val="27.625520000000002"/>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692053565132297"/>
        <c:crossBetween val="midCat"/>
      </c:valAx>
      <c:valAx>
        <c:axId val="1011451359"/>
        <c:scaling>
          <c:orientation val="minMax"/>
          <c:max val="0.85211999999999988"/>
          <c:min val="7.4080000000000021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9.9057793485000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7.28</c:v>
                </c:pt>
                <c:pt idx="1">
                  <c:v>Av Price/Unit 271.17</c:v>
                </c:pt>
                <c:pt idx="2">
                  <c:v>Av Price/Unit 346.94</c:v>
                </c:pt>
                <c:pt idx="3">
                  <c:v>Av Price/Unit 260.47</c:v>
                </c:pt>
                <c:pt idx="4">
                  <c:v>Av Price/Unit 37.13</c:v>
                </c:pt>
                <c:pt idx="5">
                  <c:v>Av Price/Unit 327.96</c:v>
                </c:pt>
                <c:pt idx="6">
                  <c:v>Av Price/Unit 86.63</c:v>
                </c:pt>
                <c:pt idx="7">
                  <c:v>Av Price/Unit 90.62</c:v>
                </c:pt>
                <c:pt idx="8">
                  <c:v>Av Price/Unit 89.39</c:v>
                </c:pt>
                <c:pt idx="9">
                  <c:v>Av Price/Unit 98.54</c:v>
                </c:pt>
                <c:pt idx="10">
                  <c:v>Av Price/Unit 62.72</c:v>
                </c:pt>
                <c:pt idx="11">
                  <c:v>Av Price/Unit 223.52</c:v>
                </c:pt>
              </c:strCache>
            </c:strRef>
          </c:cat>
          <c:val>
            <c:numRef>
              <c:f>Sheet1!$B$2:$B$13</c:f>
              <c:numCache>
                <c:formatCode>General</c:formatCode>
                <c:ptCount val="12"/>
                <c:pt idx="0">
                  <c:v>63.493308745247155</c:v>
                </c:pt>
                <c:pt idx="1">
                  <c:v>81.703569767441849</c:v>
                </c:pt>
                <c:pt idx="2">
                  <c:v>113.62848762886598</c:v>
                </c:pt>
                <c:pt idx="3">
                  <c:v>85.515437500000004</c:v>
                </c:pt>
                <c:pt idx="4">
                  <c:v>12.519640837282781</c:v>
                </c:pt>
                <c:pt idx="5">
                  <c:v>93.150112030075178</c:v>
                </c:pt>
                <c:pt idx="6">
                  <c:v>29.475736717062642</c:v>
                </c:pt>
                <c:pt idx="7">
                  <c:v>30.365778571428574</c:v>
                </c:pt>
                <c:pt idx="8">
                  <c:v>30.334982461538463</c:v>
                </c:pt>
                <c:pt idx="9">
                  <c:v>32.995835593220335</c:v>
                </c:pt>
                <c:pt idx="10">
                  <c:v>21.455183538083542</c:v>
                </c:pt>
                <c:pt idx="11">
                  <c:v>76.60165714285713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7.28</c:v>
                </c:pt>
                <c:pt idx="1">
                  <c:v>Av Price/Unit 271.17</c:v>
                </c:pt>
                <c:pt idx="2">
                  <c:v>Av Price/Unit 346.94</c:v>
                </c:pt>
                <c:pt idx="3">
                  <c:v>Av Price/Unit 260.47</c:v>
                </c:pt>
                <c:pt idx="4">
                  <c:v>Av Price/Unit 37.13</c:v>
                </c:pt>
                <c:pt idx="5">
                  <c:v>Av Price/Unit 327.96</c:v>
                </c:pt>
                <c:pt idx="6">
                  <c:v>Av Price/Unit 86.63</c:v>
                </c:pt>
                <c:pt idx="7">
                  <c:v>Av Price/Unit 90.62</c:v>
                </c:pt>
                <c:pt idx="8">
                  <c:v>Av Price/Unit 89.39</c:v>
                </c:pt>
                <c:pt idx="9">
                  <c:v>Av Price/Unit 98.54</c:v>
                </c:pt>
                <c:pt idx="10">
                  <c:v>Av Price/Unit 62.72</c:v>
                </c:pt>
                <c:pt idx="11">
                  <c:v>Av Price/Unit 223.52</c:v>
                </c:pt>
              </c:strCache>
            </c:strRef>
          </c:cat>
          <c:val>
            <c:numRef>
              <c:f>Sheet1!$C$2:$C$13</c:f>
              <c:numCache>
                <c:formatCode>General</c:formatCode>
                <c:ptCount val="12"/>
                <c:pt idx="0">
                  <c:v>142.00982889733842</c:v>
                </c:pt>
                <c:pt idx="1">
                  <c:v>137.13845116279069</c:v>
                </c:pt>
                <c:pt idx="2">
                  <c:v>170.65049999999999</c:v>
                </c:pt>
                <c:pt idx="3">
                  <c:v>151.46375</c:v>
                </c:pt>
                <c:pt idx="4">
                  <c:v>18.348963112164299</c:v>
                </c:pt>
                <c:pt idx="5">
                  <c:v>167.33763157894739</c:v>
                </c:pt>
                <c:pt idx="6">
                  <c:v>40.728352051835849</c:v>
                </c:pt>
                <c:pt idx="7">
                  <c:v>42.793427586206896</c:v>
                </c:pt>
                <c:pt idx="8">
                  <c:v>43.053222769230771</c:v>
                </c:pt>
                <c:pt idx="9">
                  <c:v>47.651023728813563</c:v>
                </c:pt>
                <c:pt idx="10">
                  <c:v>30.013063882063879</c:v>
                </c:pt>
                <c:pt idx="11">
                  <c:v>103.1900000000000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7.28</c:v>
                </c:pt>
                <c:pt idx="1">
                  <c:v>Av Price/Unit 271.17</c:v>
                </c:pt>
                <c:pt idx="2">
                  <c:v>Av Price/Unit 346.94</c:v>
                </c:pt>
                <c:pt idx="3">
                  <c:v>Av Price/Unit 260.47</c:v>
                </c:pt>
                <c:pt idx="4">
                  <c:v>Av Price/Unit 37.13</c:v>
                </c:pt>
                <c:pt idx="5">
                  <c:v>Av Price/Unit 327.96</c:v>
                </c:pt>
                <c:pt idx="6">
                  <c:v>Av Price/Unit 86.63</c:v>
                </c:pt>
                <c:pt idx="7">
                  <c:v>Av Price/Unit 90.62</c:v>
                </c:pt>
                <c:pt idx="8">
                  <c:v>Av Price/Unit 89.39</c:v>
                </c:pt>
                <c:pt idx="9">
                  <c:v>Av Price/Unit 98.54</c:v>
                </c:pt>
                <c:pt idx="10">
                  <c:v>Av Price/Unit 62.72</c:v>
                </c:pt>
                <c:pt idx="11">
                  <c:v>Av Price/Unit 223.52</c:v>
                </c:pt>
              </c:strCache>
            </c:strRef>
          </c:cat>
          <c:val>
            <c:numRef>
              <c:f>Sheet1!$D$2:$D$13</c:f>
              <c:numCache>
                <c:formatCode>General</c:formatCode>
                <c:ptCount val="12"/>
                <c:pt idx="0">
                  <c:v>0.56150114068444168</c:v>
                </c:pt>
                <c:pt idx="1">
                  <c:v>7.1292512995895834</c:v>
                </c:pt>
                <c:pt idx="2">
                  <c:v>4.8361326460480996</c:v>
                </c:pt>
                <c:pt idx="3">
                  <c:v>-19.921895833333338</c:v>
                </c:pt>
                <c:pt idx="4">
                  <c:v>6.93343601895684E-2</c:v>
                </c:pt>
                <c:pt idx="5">
                  <c:v>12.814261403508851</c:v>
                </c:pt>
                <c:pt idx="6">
                  <c:v>1.9863359971202215</c:v>
                </c:pt>
                <c:pt idx="7">
                  <c:v>2.3539301313629011</c:v>
                </c:pt>
                <c:pt idx="8">
                  <c:v>1.10410246153846</c:v>
                </c:pt>
                <c:pt idx="9">
                  <c:v>1.4717847457627471</c:v>
                </c:pt>
                <c:pt idx="10">
                  <c:v>0.79628984438985384</c:v>
                </c:pt>
                <c:pt idx="11">
                  <c:v>6.475349659863979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7.28</c:v>
                </c:pt>
                <c:pt idx="1">
                  <c:v>Av Price/Unit 271.17</c:v>
                </c:pt>
                <c:pt idx="2">
                  <c:v>Av Price/Unit 346.94</c:v>
                </c:pt>
                <c:pt idx="3">
                  <c:v>Av Price/Unit 260.47</c:v>
                </c:pt>
                <c:pt idx="4">
                  <c:v>Av Price/Unit 37.13</c:v>
                </c:pt>
                <c:pt idx="5">
                  <c:v>Av Price/Unit 327.96</c:v>
                </c:pt>
                <c:pt idx="6">
                  <c:v>Av Price/Unit 86.63</c:v>
                </c:pt>
                <c:pt idx="7">
                  <c:v>Av Price/Unit 90.62</c:v>
                </c:pt>
                <c:pt idx="8">
                  <c:v>Av Price/Unit 89.39</c:v>
                </c:pt>
                <c:pt idx="9">
                  <c:v>Av Price/Unit 98.54</c:v>
                </c:pt>
                <c:pt idx="10">
                  <c:v>Av Price/Unit 62.72</c:v>
                </c:pt>
                <c:pt idx="11">
                  <c:v>Av Price/Unit 223.52</c:v>
                </c:pt>
              </c:strCache>
            </c:strRef>
          </c:cat>
          <c:val>
            <c:numRef>
              <c:f>Sheet1!$E$2:$E$13</c:f>
              <c:numCache>
                <c:formatCode>General</c:formatCode>
                <c:ptCount val="12"/>
                <c:pt idx="0">
                  <c:v>41.212927756653954</c:v>
                </c:pt>
                <c:pt idx="1">
                  <c:v>45.194254445964432</c:v>
                </c:pt>
                <c:pt idx="2">
                  <c:v>57.823024054982767</c:v>
                </c:pt>
                <c:pt idx="3">
                  <c:v>43.411458333333343</c:v>
                </c:pt>
                <c:pt idx="4">
                  <c:v>6.1875987361769411</c:v>
                </c:pt>
                <c:pt idx="5">
                  <c:v>54.660401002506227</c:v>
                </c:pt>
                <c:pt idx="6">
                  <c:v>14.438084953203749</c:v>
                </c:pt>
                <c:pt idx="7">
                  <c:v>15.102627257799666</c:v>
                </c:pt>
                <c:pt idx="8">
                  <c:v>14.898461538461538</c:v>
                </c:pt>
                <c:pt idx="9">
                  <c:v>16.423728813559311</c:v>
                </c:pt>
                <c:pt idx="10">
                  <c:v>10.45290745290745</c:v>
                </c:pt>
                <c:pt idx="11">
                  <c:v>37.25340136054420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6.87</c:v>
                </c:pt>
                <c:pt idx="1">
                  <c:v>Av Price/Unit 271.80</c:v>
                </c:pt>
                <c:pt idx="2">
                  <c:v>Av Price/Unit 37.57</c:v>
                </c:pt>
                <c:pt idx="3">
                  <c:v>Av Price/Unit 377.59</c:v>
                </c:pt>
                <c:pt idx="4">
                  <c:v>Av Price/Unit 88.20</c:v>
                </c:pt>
                <c:pt idx="5">
                  <c:v>Av Price/Unit 64.00</c:v>
                </c:pt>
                <c:pt idx="6">
                  <c:v>Av Price/Unit 335.56</c:v>
                </c:pt>
                <c:pt idx="7">
                  <c:v>Av Price/Unit 90.82</c:v>
                </c:pt>
                <c:pt idx="8">
                  <c:v>Av Price/Unit 94.36</c:v>
                </c:pt>
                <c:pt idx="9">
                  <c:v>Av Price/Unit 100.41</c:v>
                </c:pt>
                <c:pt idx="10">
                  <c:v>Av Price/Unit 273.76</c:v>
                </c:pt>
                <c:pt idx="11">
                  <c:v>Av Price/Unit 237.32</c:v>
                </c:pt>
              </c:strCache>
            </c:strRef>
          </c:cat>
          <c:val>
            <c:numRef>
              <c:f>Sheet1!$B$2:$B$13</c:f>
              <c:numCache>
                <c:formatCode>General</c:formatCode>
                <c:ptCount val="12"/>
                <c:pt idx="0">
                  <c:v>64.466627906976754</c:v>
                </c:pt>
                <c:pt idx="1">
                  <c:v>82.331273023255818</c:v>
                </c:pt>
                <c:pt idx="2">
                  <c:v>12.522680058651025</c:v>
                </c:pt>
                <c:pt idx="3">
                  <c:v>117.42785555555554</c:v>
                </c:pt>
                <c:pt idx="4">
                  <c:v>29.329757560975612</c:v>
                </c:pt>
                <c:pt idx="5">
                  <c:v>21.33709012345679</c:v>
                </c:pt>
                <c:pt idx="6">
                  <c:v>88.350491111111111</c:v>
                </c:pt>
                <c:pt idx="7">
                  <c:v>30.337853623188401</c:v>
                </c:pt>
                <c:pt idx="8">
                  <c:v>30.416391970802916</c:v>
                </c:pt>
                <c:pt idx="9">
                  <c:v>33.081202439024381</c:v>
                </c:pt>
                <c:pt idx="10">
                  <c:v>83.02255000000001</c:v>
                </c:pt>
                <c:pt idx="11">
                  <c:v>76.33082999999999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6.87</c:v>
                </c:pt>
                <c:pt idx="1">
                  <c:v>Av Price/Unit 271.80</c:v>
                </c:pt>
                <c:pt idx="2">
                  <c:v>Av Price/Unit 37.57</c:v>
                </c:pt>
                <c:pt idx="3">
                  <c:v>Av Price/Unit 377.59</c:v>
                </c:pt>
                <c:pt idx="4">
                  <c:v>Av Price/Unit 88.20</c:v>
                </c:pt>
                <c:pt idx="5">
                  <c:v>Av Price/Unit 64.00</c:v>
                </c:pt>
                <c:pt idx="6">
                  <c:v>Av Price/Unit 335.56</c:v>
                </c:pt>
                <c:pt idx="7">
                  <c:v>Av Price/Unit 90.82</c:v>
                </c:pt>
                <c:pt idx="8">
                  <c:v>Av Price/Unit 94.36</c:v>
                </c:pt>
                <c:pt idx="9">
                  <c:v>Av Price/Unit 100.41</c:v>
                </c:pt>
                <c:pt idx="10">
                  <c:v>Av Price/Unit 273.76</c:v>
                </c:pt>
                <c:pt idx="11">
                  <c:v>Av Price/Unit 237.32</c:v>
                </c:pt>
              </c:strCache>
            </c:strRef>
          </c:cat>
          <c:val>
            <c:numRef>
              <c:f>Sheet1!$C$2:$C$13</c:f>
              <c:numCache>
                <c:formatCode>General</c:formatCode>
                <c:ptCount val="12"/>
                <c:pt idx="0">
                  <c:v>141.68598338870433</c:v>
                </c:pt>
                <c:pt idx="1">
                  <c:v>136.98865488372093</c:v>
                </c:pt>
                <c:pt idx="2">
                  <c:v>18.35901055718475</c:v>
                </c:pt>
                <c:pt idx="3">
                  <c:v>171.26513888888891</c:v>
                </c:pt>
                <c:pt idx="4">
                  <c:v>40.809610731707316</c:v>
                </c:pt>
                <c:pt idx="5">
                  <c:v>30.05075308641975</c:v>
                </c:pt>
                <c:pt idx="6">
                  <c:v>166.5611777777778</c:v>
                </c:pt>
                <c:pt idx="7">
                  <c:v>43.038840579710147</c:v>
                </c:pt>
                <c:pt idx="8">
                  <c:v>42.701051094890509</c:v>
                </c:pt>
                <c:pt idx="9">
                  <c:v>47.630146341463416</c:v>
                </c:pt>
                <c:pt idx="10">
                  <c:v>150.60842857142856</c:v>
                </c:pt>
                <c:pt idx="11">
                  <c:v>103.1900000000000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6.87</c:v>
                </c:pt>
                <c:pt idx="1">
                  <c:v>Av Price/Unit 271.80</c:v>
                </c:pt>
                <c:pt idx="2">
                  <c:v>Av Price/Unit 37.57</c:v>
                </c:pt>
                <c:pt idx="3">
                  <c:v>Av Price/Unit 377.59</c:v>
                </c:pt>
                <c:pt idx="4">
                  <c:v>Av Price/Unit 88.20</c:v>
                </c:pt>
                <c:pt idx="5">
                  <c:v>Av Price/Unit 64.00</c:v>
                </c:pt>
                <c:pt idx="6">
                  <c:v>Av Price/Unit 335.56</c:v>
                </c:pt>
                <c:pt idx="7">
                  <c:v>Av Price/Unit 90.82</c:v>
                </c:pt>
                <c:pt idx="8">
                  <c:v>Av Price/Unit 94.36</c:v>
                </c:pt>
                <c:pt idx="9">
                  <c:v>Av Price/Unit 100.41</c:v>
                </c:pt>
                <c:pt idx="10">
                  <c:v>Av Price/Unit 273.76</c:v>
                </c:pt>
                <c:pt idx="11">
                  <c:v>Av Price/Unit 237.32</c:v>
                </c:pt>
              </c:strCache>
            </c:strRef>
          </c:cat>
          <c:val>
            <c:numRef>
              <c:f>Sheet1!$D$2:$D$13</c:f>
              <c:numCache>
                <c:formatCode>General</c:formatCode>
                <c:ptCount val="12"/>
                <c:pt idx="0">
                  <c:v>-0.42448283499444983</c:v>
                </c:pt>
                <c:pt idx="1">
                  <c:v>7.1761961240309802</c:v>
                </c:pt>
                <c:pt idx="2">
                  <c:v>0.42813274682306712</c:v>
                </c:pt>
                <c:pt idx="3">
                  <c:v>25.967499382716142</c:v>
                </c:pt>
                <c:pt idx="4">
                  <c:v>3.360631707317097</c:v>
                </c:pt>
                <c:pt idx="5">
                  <c:v>1.9454901234567927</c:v>
                </c:pt>
                <c:pt idx="6">
                  <c:v>24.717960740740722</c:v>
                </c:pt>
                <c:pt idx="7">
                  <c:v>2.3056729468599286</c:v>
                </c:pt>
                <c:pt idx="8">
                  <c:v>5.5139437956204489</c:v>
                </c:pt>
                <c:pt idx="9">
                  <c:v>2.9675130081300836</c:v>
                </c:pt>
                <c:pt idx="10">
                  <c:v>-5.4960579365078956</c:v>
                </c:pt>
                <c:pt idx="11">
                  <c:v>18.25000333333332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6.87</c:v>
                </c:pt>
                <c:pt idx="1">
                  <c:v>Av Price/Unit 271.80</c:v>
                </c:pt>
                <c:pt idx="2">
                  <c:v>Av Price/Unit 37.57</c:v>
                </c:pt>
                <c:pt idx="3">
                  <c:v>Av Price/Unit 377.59</c:v>
                </c:pt>
                <c:pt idx="4">
                  <c:v>Av Price/Unit 88.20</c:v>
                </c:pt>
                <c:pt idx="5">
                  <c:v>Av Price/Unit 64.00</c:v>
                </c:pt>
                <c:pt idx="6">
                  <c:v>Av Price/Unit 335.56</c:v>
                </c:pt>
                <c:pt idx="7">
                  <c:v>Av Price/Unit 90.82</c:v>
                </c:pt>
                <c:pt idx="8">
                  <c:v>Av Price/Unit 94.36</c:v>
                </c:pt>
                <c:pt idx="9">
                  <c:v>Av Price/Unit 100.41</c:v>
                </c:pt>
                <c:pt idx="10">
                  <c:v>Av Price/Unit 273.76</c:v>
                </c:pt>
                <c:pt idx="11">
                  <c:v>Av Price/Unit 237.32</c:v>
                </c:pt>
              </c:strCache>
            </c:strRef>
          </c:cat>
          <c:val>
            <c:numRef>
              <c:f>Sheet1!$E$2:$E$13</c:f>
              <c:numCache>
                <c:formatCode>General</c:formatCode>
                <c:ptCount val="12"/>
                <c:pt idx="0">
                  <c:v>41.145625692137301</c:v>
                </c:pt>
                <c:pt idx="1">
                  <c:v>45.299224806201565</c:v>
                </c:pt>
                <c:pt idx="2">
                  <c:v>6.2619745845552259</c:v>
                </c:pt>
                <c:pt idx="3">
                  <c:v>62.932098765432073</c:v>
                </c:pt>
                <c:pt idx="4">
                  <c:v>14.69999999999999</c:v>
                </c:pt>
                <c:pt idx="5">
                  <c:v>10.666666666666666</c:v>
                </c:pt>
                <c:pt idx="6">
                  <c:v>55.92592592592591</c:v>
                </c:pt>
                <c:pt idx="7">
                  <c:v>15.136473429951682</c:v>
                </c:pt>
                <c:pt idx="8">
                  <c:v>15.726277372262773</c:v>
                </c:pt>
                <c:pt idx="9">
                  <c:v>16.735772357723562</c:v>
                </c:pt>
                <c:pt idx="10">
                  <c:v>45.626984126984098</c:v>
                </c:pt>
                <c:pt idx="11">
                  <c:v>39.55416666666665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6.54</c:v>
                </c:pt>
                <c:pt idx="1">
                  <c:v>Av Price/Unit 269.77</c:v>
                </c:pt>
                <c:pt idx="2">
                  <c:v>Av Price/Unit 37.14</c:v>
                </c:pt>
                <c:pt idx="3">
                  <c:v>Av Price/Unit 367.04</c:v>
                </c:pt>
                <c:pt idx="4">
                  <c:v>Av Price/Unit 98.56</c:v>
                </c:pt>
                <c:pt idx="5">
                  <c:v>Av Price/Unit 337.35</c:v>
                </c:pt>
                <c:pt idx="6">
                  <c:v>Av Price/Unit 88.12</c:v>
                </c:pt>
                <c:pt idx="7">
                  <c:v>Av Price/Unit 89.74</c:v>
                </c:pt>
                <c:pt idx="8">
                  <c:v>Av Price/Unit 90.90</c:v>
                </c:pt>
                <c:pt idx="9">
                  <c:v>Av Price/Unit 285.32</c:v>
                </c:pt>
                <c:pt idx="10">
                  <c:v>Av Price/Unit 359.21</c:v>
                </c:pt>
                <c:pt idx="11">
                  <c:v>Av Price/Unit 232.44</c:v>
                </c:pt>
              </c:strCache>
            </c:strRef>
          </c:cat>
          <c:val>
            <c:numRef>
              <c:f>Sheet1!$B$2:$B$13</c:f>
              <c:numCache>
                <c:formatCode>General</c:formatCode>
                <c:ptCount val="12"/>
                <c:pt idx="0">
                  <c:v>65.032488036117371</c:v>
                </c:pt>
                <c:pt idx="1">
                  <c:v>82.022448048048034</c:v>
                </c:pt>
                <c:pt idx="2">
                  <c:v>12.52234623015873</c:v>
                </c:pt>
                <c:pt idx="3">
                  <c:v>117.52445809523809</c:v>
                </c:pt>
                <c:pt idx="4">
                  <c:v>32.951948648648646</c:v>
                </c:pt>
                <c:pt idx="5">
                  <c:v>93.760233333333332</c:v>
                </c:pt>
                <c:pt idx="6">
                  <c:v>29.413845762711869</c:v>
                </c:pt>
                <c:pt idx="7">
                  <c:v>30.361682905982907</c:v>
                </c:pt>
                <c:pt idx="8">
                  <c:v>30.37703540669856</c:v>
                </c:pt>
                <c:pt idx="9">
                  <c:v>86.420263333333338</c:v>
                </c:pt>
                <c:pt idx="10">
                  <c:v>102.87940344827587</c:v>
                </c:pt>
                <c:pt idx="11">
                  <c:v>76.97023846153845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6.54</c:v>
                </c:pt>
                <c:pt idx="1">
                  <c:v>Av Price/Unit 269.77</c:v>
                </c:pt>
                <c:pt idx="2">
                  <c:v>Av Price/Unit 37.14</c:v>
                </c:pt>
                <c:pt idx="3">
                  <c:v>Av Price/Unit 367.04</c:v>
                </c:pt>
                <c:pt idx="4">
                  <c:v>Av Price/Unit 98.56</c:v>
                </c:pt>
                <c:pt idx="5">
                  <c:v>Av Price/Unit 337.35</c:v>
                </c:pt>
                <c:pt idx="6">
                  <c:v>Av Price/Unit 88.12</c:v>
                </c:pt>
                <c:pt idx="7">
                  <c:v>Av Price/Unit 89.74</c:v>
                </c:pt>
                <c:pt idx="8">
                  <c:v>Av Price/Unit 90.90</c:v>
                </c:pt>
                <c:pt idx="9">
                  <c:v>Av Price/Unit 285.32</c:v>
                </c:pt>
                <c:pt idx="10">
                  <c:v>Av Price/Unit 359.21</c:v>
                </c:pt>
                <c:pt idx="11">
                  <c:v>Av Price/Unit 232.44</c:v>
                </c:pt>
              </c:strCache>
            </c:strRef>
          </c:cat>
          <c:val>
            <c:numRef>
              <c:f>Sheet1!$C$2:$C$13</c:f>
              <c:numCache>
                <c:formatCode>General</c:formatCode>
                <c:ptCount val="12"/>
                <c:pt idx="0">
                  <c:v>141.49770880361174</c:v>
                </c:pt>
                <c:pt idx="1">
                  <c:v>137.06235345345345</c:v>
                </c:pt>
                <c:pt idx="2">
                  <c:v>18.357906944444444</c:v>
                </c:pt>
                <c:pt idx="3">
                  <c:v>171.28076666666669</c:v>
                </c:pt>
                <c:pt idx="4">
                  <c:v>47.661756756756759</c:v>
                </c:pt>
                <c:pt idx="5">
                  <c:v>167.43633333333335</c:v>
                </c:pt>
                <c:pt idx="6">
                  <c:v>40.762803389830509</c:v>
                </c:pt>
                <c:pt idx="7">
                  <c:v>42.919475213675213</c:v>
                </c:pt>
                <c:pt idx="8">
                  <c:v>42.772882296650728</c:v>
                </c:pt>
                <c:pt idx="9">
                  <c:v>151.77420000000001</c:v>
                </c:pt>
                <c:pt idx="10">
                  <c:v>168.88229310344826</c:v>
                </c:pt>
                <c:pt idx="11">
                  <c:v>103.1900000000000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6.54</c:v>
                </c:pt>
                <c:pt idx="1">
                  <c:v>Av Price/Unit 269.77</c:v>
                </c:pt>
                <c:pt idx="2">
                  <c:v>Av Price/Unit 37.14</c:v>
                </c:pt>
                <c:pt idx="3">
                  <c:v>Av Price/Unit 367.04</c:v>
                </c:pt>
                <c:pt idx="4">
                  <c:v>Av Price/Unit 98.56</c:v>
                </c:pt>
                <c:pt idx="5">
                  <c:v>Av Price/Unit 337.35</c:v>
                </c:pt>
                <c:pt idx="6">
                  <c:v>Av Price/Unit 88.12</c:v>
                </c:pt>
                <c:pt idx="7">
                  <c:v>Av Price/Unit 89.74</c:v>
                </c:pt>
                <c:pt idx="8">
                  <c:v>Av Price/Unit 90.90</c:v>
                </c:pt>
                <c:pt idx="9">
                  <c:v>Av Price/Unit 285.32</c:v>
                </c:pt>
                <c:pt idx="10">
                  <c:v>Av Price/Unit 359.21</c:v>
                </c:pt>
                <c:pt idx="11">
                  <c:v>Av Price/Unit 232.44</c:v>
                </c:pt>
              </c:strCache>
            </c:strRef>
          </c:cat>
          <c:val>
            <c:numRef>
              <c:f>Sheet1!$D$2:$D$13</c:f>
              <c:numCache>
                <c:formatCode>General</c:formatCode>
                <c:ptCount val="12"/>
                <c:pt idx="0">
                  <c:v>-1.0768484574868182</c:v>
                </c:pt>
                <c:pt idx="1">
                  <c:v>5.7250083083084178</c:v>
                </c:pt>
                <c:pt idx="2">
                  <c:v>6.794398148148062E-2</c:v>
                </c:pt>
                <c:pt idx="3">
                  <c:v>17.059854603174642</c:v>
                </c:pt>
                <c:pt idx="4">
                  <c:v>1.5174882882882912</c:v>
                </c:pt>
                <c:pt idx="5">
                  <c:v>19.924465079365064</c:v>
                </c:pt>
                <c:pt idx="6">
                  <c:v>3.252729378531086</c:v>
                </c:pt>
                <c:pt idx="7">
                  <c:v>1.5051666666666819</c:v>
                </c:pt>
                <c:pt idx="8">
                  <c:v>2.6036708133971445</c:v>
                </c:pt>
                <c:pt idx="9">
                  <c:v>-0.43057444444443149</c:v>
                </c:pt>
                <c:pt idx="10">
                  <c:v>27.577383908045988</c:v>
                </c:pt>
                <c:pt idx="11">
                  <c:v>13.53634273504275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6.54</c:v>
                </c:pt>
                <c:pt idx="1">
                  <c:v>Av Price/Unit 269.77</c:v>
                </c:pt>
                <c:pt idx="2">
                  <c:v>Av Price/Unit 37.14</c:v>
                </c:pt>
                <c:pt idx="3">
                  <c:v>Av Price/Unit 367.04</c:v>
                </c:pt>
                <c:pt idx="4">
                  <c:v>Av Price/Unit 98.56</c:v>
                </c:pt>
                <c:pt idx="5">
                  <c:v>Av Price/Unit 337.35</c:v>
                </c:pt>
                <c:pt idx="6">
                  <c:v>Av Price/Unit 88.12</c:v>
                </c:pt>
                <c:pt idx="7">
                  <c:v>Av Price/Unit 89.74</c:v>
                </c:pt>
                <c:pt idx="8">
                  <c:v>Av Price/Unit 90.90</c:v>
                </c:pt>
                <c:pt idx="9">
                  <c:v>Av Price/Unit 285.32</c:v>
                </c:pt>
                <c:pt idx="10">
                  <c:v>Av Price/Unit 359.21</c:v>
                </c:pt>
                <c:pt idx="11">
                  <c:v>Av Price/Unit 232.44</c:v>
                </c:pt>
              </c:strCache>
            </c:strRef>
          </c:cat>
          <c:val>
            <c:numRef>
              <c:f>Sheet1!$E$2:$E$13</c:f>
              <c:numCache>
                <c:formatCode>General</c:formatCode>
                <c:ptCount val="12"/>
                <c:pt idx="0">
                  <c:v>41.090669676448435</c:v>
                </c:pt>
                <c:pt idx="1">
                  <c:v>44.961961961961904</c:v>
                </c:pt>
                <c:pt idx="2">
                  <c:v>6.1896494708994689</c:v>
                </c:pt>
                <c:pt idx="3">
                  <c:v>61.173015873015849</c:v>
                </c:pt>
                <c:pt idx="4">
                  <c:v>16.426238738738743</c:v>
                </c:pt>
                <c:pt idx="5">
                  <c:v>56.224206349206334</c:v>
                </c:pt>
                <c:pt idx="6">
                  <c:v>14.685875706214684</c:v>
                </c:pt>
                <c:pt idx="7">
                  <c:v>14.957264957264957</c:v>
                </c:pt>
                <c:pt idx="8">
                  <c:v>15.150717703349274</c:v>
                </c:pt>
                <c:pt idx="9">
                  <c:v>47.55277777777777</c:v>
                </c:pt>
                <c:pt idx="10">
                  <c:v>59.867816091954005</c:v>
                </c:pt>
                <c:pt idx="11">
                  <c:v>38.73931623931623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8.01</c:v>
                </c:pt>
                <c:pt idx="1">
                  <c:v>Av Price/Unit 271.41</c:v>
                </c:pt>
                <c:pt idx="2">
                  <c:v>Av Price/Unit 37.53</c:v>
                </c:pt>
                <c:pt idx="3">
                  <c:v>Av Price/Unit 89.72</c:v>
                </c:pt>
                <c:pt idx="4">
                  <c:v>Av Price/Unit 365.36</c:v>
                </c:pt>
                <c:pt idx="5">
                  <c:v>Av Price/Unit 100.36</c:v>
                </c:pt>
                <c:pt idx="6">
                  <c:v>Av Price/Unit 88.58</c:v>
                </c:pt>
                <c:pt idx="7">
                  <c:v>Av Price/Unit 322.39</c:v>
                </c:pt>
                <c:pt idx="8">
                  <c:v>Av Price/Unit 402.64</c:v>
                </c:pt>
                <c:pt idx="9">
                  <c:v>Av Price/Unit 93.38</c:v>
                </c:pt>
                <c:pt idx="10">
                  <c:v>Av Price/Unit 233.98</c:v>
                </c:pt>
                <c:pt idx="11">
                  <c:v>Av Price/Unit 216.68</c:v>
                </c:pt>
              </c:strCache>
            </c:strRef>
          </c:cat>
          <c:val>
            <c:numRef>
              <c:f>Sheet1!$B$2:$B$13</c:f>
              <c:numCache>
                <c:formatCode>General</c:formatCode>
                <c:ptCount val="12"/>
                <c:pt idx="0">
                  <c:v>65.312600000000003</c:v>
                </c:pt>
                <c:pt idx="1">
                  <c:v>81.239086721991697</c:v>
                </c:pt>
                <c:pt idx="2">
                  <c:v>12.51998528735632</c:v>
                </c:pt>
                <c:pt idx="3">
                  <c:v>30.346611004784691</c:v>
                </c:pt>
                <c:pt idx="4">
                  <c:v>102.81672142857144</c:v>
                </c:pt>
                <c:pt idx="5">
                  <c:v>33.015343956043957</c:v>
                </c:pt>
                <c:pt idx="6">
                  <c:v>29.361201724137928</c:v>
                </c:pt>
                <c:pt idx="7">
                  <c:v>92.838118181818174</c:v>
                </c:pt>
                <c:pt idx="8">
                  <c:v>125.88807777777782</c:v>
                </c:pt>
                <c:pt idx="9">
                  <c:v>30.434704651162789</c:v>
                </c:pt>
                <c:pt idx="10">
                  <c:v>76.898636170212782</c:v>
                </c:pt>
                <c:pt idx="11">
                  <c:v>72.20772499999999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8.01</c:v>
                </c:pt>
                <c:pt idx="1">
                  <c:v>Av Price/Unit 271.41</c:v>
                </c:pt>
                <c:pt idx="2">
                  <c:v>Av Price/Unit 37.53</c:v>
                </c:pt>
                <c:pt idx="3">
                  <c:v>Av Price/Unit 89.72</c:v>
                </c:pt>
                <c:pt idx="4">
                  <c:v>Av Price/Unit 365.36</c:v>
                </c:pt>
                <c:pt idx="5">
                  <c:v>Av Price/Unit 100.36</c:v>
                </c:pt>
                <c:pt idx="6">
                  <c:v>Av Price/Unit 88.58</c:v>
                </c:pt>
                <c:pt idx="7">
                  <c:v>Av Price/Unit 322.39</c:v>
                </c:pt>
                <c:pt idx="8">
                  <c:v>Av Price/Unit 402.64</c:v>
                </c:pt>
                <c:pt idx="9">
                  <c:v>Av Price/Unit 93.38</c:v>
                </c:pt>
                <c:pt idx="10">
                  <c:v>Av Price/Unit 233.98</c:v>
                </c:pt>
                <c:pt idx="11">
                  <c:v>Av Price/Unit 216.68</c:v>
                </c:pt>
              </c:strCache>
            </c:strRef>
          </c:cat>
          <c:val>
            <c:numRef>
              <c:f>Sheet1!$C$2:$C$13</c:f>
              <c:numCache>
                <c:formatCode>General</c:formatCode>
                <c:ptCount val="12"/>
                <c:pt idx="0">
                  <c:v>141.40450915750918</c:v>
                </c:pt>
                <c:pt idx="1">
                  <c:v>137.24929626556016</c:v>
                </c:pt>
                <c:pt idx="2">
                  <c:v>18.350101839080462</c:v>
                </c:pt>
                <c:pt idx="3">
                  <c:v>42.994973205741623</c:v>
                </c:pt>
                <c:pt idx="4">
                  <c:v>168.90143749999999</c:v>
                </c:pt>
                <c:pt idx="5">
                  <c:v>47.646252747252753</c:v>
                </c:pt>
                <c:pt idx="6">
                  <c:v>40.792107471264366</c:v>
                </c:pt>
                <c:pt idx="7">
                  <c:v>167.28715909090909</c:v>
                </c:pt>
                <c:pt idx="8">
                  <c:v>172.62506944444442</c:v>
                </c:pt>
                <c:pt idx="9">
                  <c:v>42.66762790697674</c:v>
                </c:pt>
                <c:pt idx="10">
                  <c:v>103.18999999999996</c:v>
                </c:pt>
                <c:pt idx="11">
                  <c:v>103.1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8.01</c:v>
                </c:pt>
                <c:pt idx="1">
                  <c:v>Av Price/Unit 271.41</c:v>
                </c:pt>
                <c:pt idx="2">
                  <c:v>Av Price/Unit 37.53</c:v>
                </c:pt>
                <c:pt idx="3">
                  <c:v>Av Price/Unit 89.72</c:v>
                </c:pt>
                <c:pt idx="4">
                  <c:v>Av Price/Unit 365.36</c:v>
                </c:pt>
                <c:pt idx="5">
                  <c:v>Av Price/Unit 100.36</c:v>
                </c:pt>
                <c:pt idx="6">
                  <c:v>Av Price/Unit 88.58</c:v>
                </c:pt>
                <c:pt idx="7">
                  <c:v>Av Price/Unit 322.39</c:v>
                </c:pt>
                <c:pt idx="8">
                  <c:v>Av Price/Unit 402.64</c:v>
                </c:pt>
                <c:pt idx="9">
                  <c:v>Av Price/Unit 93.38</c:v>
                </c:pt>
                <c:pt idx="10">
                  <c:v>Av Price/Unit 233.98</c:v>
                </c:pt>
                <c:pt idx="11">
                  <c:v>Av Price/Unit 216.68</c:v>
                </c:pt>
              </c:strCache>
            </c:strRef>
          </c:cat>
          <c:val>
            <c:numRef>
              <c:f>Sheet1!$D$2:$D$13</c:f>
              <c:numCache>
                <c:formatCode>General</c:formatCode>
                <c:ptCount val="12"/>
                <c:pt idx="0">
                  <c:v>-4.4337484737496879E-2</c:v>
                </c:pt>
                <c:pt idx="1">
                  <c:v>7.6907318118948069</c:v>
                </c:pt>
                <c:pt idx="2">
                  <c:v>0.40476237547892779</c:v>
                </c:pt>
                <c:pt idx="3">
                  <c:v>1.4231685805422529</c:v>
                </c:pt>
                <c:pt idx="4">
                  <c:v>32.746126785714296</c:v>
                </c:pt>
                <c:pt idx="5">
                  <c:v>2.9693556776556846</c:v>
                </c:pt>
                <c:pt idx="6">
                  <c:v>3.6637406130268459</c:v>
                </c:pt>
                <c:pt idx="7">
                  <c:v>8.5300257575757996</c:v>
                </c:pt>
                <c:pt idx="8">
                  <c:v>37.019260185185203</c:v>
                </c:pt>
                <c:pt idx="9">
                  <c:v>4.7142049095607348</c:v>
                </c:pt>
                <c:pt idx="10">
                  <c:v>14.893633333333355</c:v>
                </c:pt>
                <c:pt idx="11">
                  <c:v>5.170456818181804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8.01</c:v>
                </c:pt>
                <c:pt idx="1">
                  <c:v>Av Price/Unit 271.41</c:v>
                </c:pt>
                <c:pt idx="2">
                  <c:v>Av Price/Unit 37.53</c:v>
                </c:pt>
                <c:pt idx="3">
                  <c:v>Av Price/Unit 89.72</c:v>
                </c:pt>
                <c:pt idx="4">
                  <c:v>Av Price/Unit 365.36</c:v>
                </c:pt>
                <c:pt idx="5">
                  <c:v>Av Price/Unit 100.36</c:v>
                </c:pt>
                <c:pt idx="6">
                  <c:v>Av Price/Unit 88.58</c:v>
                </c:pt>
                <c:pt idx="7">
                  <c:v>Av Price/Unit 322.39</c:v>
                </c:pt>
                <c:pt idx="8">
                  <c:v>Av Price/Unit 402.64</c:v>
                </c:pt>
                <c:pt idx="9">
                  <c:v>Av Price/Unit 93.38</c:v>
                </c:pt>
                <c:pt idx="10">
                  <c:v>Av Price/Unit 233.98</c:v>
                </c:pt>
                <c:pt idx="11">
                  <c:v>Av Price/Unit 216.68</c:v>
                </c:pt>
              </c:strCache>
            </c:strRef>
          </c:cat>
          <c:val>
            <c:numRef>
              <c:f>Sheet1!$E$2:$E$13</c:f>
              <c:numCache>
                <c:formatCode>General</c:formatCode>
                <c:ptCount val="12"/>
                <c:pt idx="0">
                  <c:v>41.33455433455434</c:v>
                </c:pt>
                <c:pt idx="1">
                  <c:v>45.23582295988939</c:v>
                </c:pt>
                <c:pt idx="2">
                  <c:v>6.2549808429118761</c:v>
                </c:pt>
                <c:pt idx="3">
                  <c:v>14.952950558213722</c:v>
                </c:pt>
                <c:pt idx="4">
                  <c:v>60.892857142857075</c:v>
                </c:pt>
                <c:pt idx="5">
                  <c:v>16.726190476190482</c:v>
                </c:pt>
                <c:pt idx="6">
                  <c:v>14.763409961685817</c:v>
                </c:pt>
                <c:pt idx="7">
                  <c:v>53.731060606060595</c:v>
                </c:pt>
                <c:pt idx="8">
                  <c:v>67.106481481481495</c:v>
                </c:pt>
                <c:pt idx="9">
                  <c:v>15.563307493540034</c:v>
                </c:pt>
                <c:pt idx="10">
                  <c:v>38.996453900709191</c:v>
                </c:pt>
                <c:pt idx="11">
                  <c:v>36.11363636363636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6.55</c:v>
                </c:pt>
                <c:pt idx="1">
                  <c:v>Av Price/Unit 37.87</c:v>
                </c:pt>
                <c:pt idx="2">
                  <c:v>Av Price/Unit 266.90</c:v>
                </c:pt>
                <c:pt idx="3">
                  <c:v>Av Price/Unit 88.87</c:v>
                </c:pt>
                <c:pt idx="4">
                  <c:v>Av Price/Unit 356.12</c:v>
                </c:pt>
                <c:pt idx="5">
                  <c:v>Av Price/Unit 92.07</c:v>
                </c:pt>
                <c:pt idx="6">
                  <c:v>Av Price/Unit 101.19</c:v>
                </c:pt>
                <c:pt idx="7">
                  <c:v>Av Price/Unit 292.02</c:v>
                </c:pt>
                <c:pt idx="8">
                  <c:v>Av Price/Unit 89.83</c:v>
                </c:pt>
                <c:pt idx="9">
                  <c:v>Av Price/Unit 64.22</c:v>
                </c:pt>
                <c:pt idx="10">
                  <c:v>Av Price/Unit 389.80</c:v>
                </c:pt>
                <c:pt idx="11">
                  <c:v>Av Price/Unit 286.87</c:v>
                </c:pt>
              </c:strCache>
            </c:strRef>
          </c:cat>
          <c:val>
            <c:numRef>
              <c:f>Sheet1!$B$2:$B$13</c:f>
              <c:numCache>
                <c:formatCode>General</c:formatCode>
                <c:ptCount val="12"/>
                <c:pt idx="0">
                  <c:v>63.793618181818175</c:v>
                </c:pt>
                <c:pt idx="1">
                  <c:v>12.519948695652173</c:v>
                </c:pt>
                <c:pt idx="2">
                  <c:v>79.269618367346951</c:v>
                </c:pt>
                <c:pt idx="3">
                  <c:v>30.357887692307692</c:v>
                </c:pt>
                <c:pt idx="4">
                  <c:v>111.20665200000002</c:v>
                </c:pt>
                <c:pt idx="5">
                  <c:v>30.349307692307693</c:v>
                </c:pt>
                <c:pt idx="6">
                  <c:v>32.649450943396225</c:v>
                </c:pt>
                <c:pt idx="7">
                  <c:v>86.979699999999994</c:v>
                </c:pt>
                <c:pt idx="8">
                  <c:v>29.407325242718446</c:v>
                </c:pt>
                <c:pt idx="9">
                  <c:v>21.488196825396827</c:v>
                </c:pt>
                <c:pt idx="10">
                  <c:v>110.00918000000001</c:v>
                </c:pt>
                <c:pt idx="11">
                  <c:v>83.74512608695653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6.55</c:v>
                </c:pt>
                <c:pt idx="1">
                  <c:v>Av Price/Unit 37.87</c:v>
                </c:pt>
                <c:pt idx="2">
                  <c:v>Av Price/Unit 266.90</c:v>
                </c:pt>
                <c:pt idx="3">
                  <c:v>Av Price/Unit 88.87</c:v>
                </c:pt>
                <c:pt idx="4">
                  <c:v>Av Price/Unit 356.12</c:v>
                </c:pt>
                <c:pt idx="5">
                  <c:v>Av Price/Unit 92.07</c:v>
                </c:pt>
                <c:pt idx="6">
                  <c:v>Av Price/Unit 101.19</c:v>
                </c:pt>
                <c:pt idx="7">
                  <c:v>Av Price/Unit 292.02</c:v>
                </c:pt>
                <c:pt idx="8">
                  <c:v>Av Price/Unit 89.83</c:v>
                </c:pt>
                <c:pt idx="9">
                  <c:v>Av Price/Unit 64.22</c:v>
                </c:pt>
                <c:pt idx="10">
                  <c:v>Av Price/Unit 389.80</c:v>
                </c:pt>
                <c:pt idx="11">
                  <c:v>Av Price/Unit 286.87</c:v>
                </c:pt>
              </c:strCache>
            </c:strRef>
          </c:cat>
          <c:val>
            <c:numRef>
              <c:f>Sheet1!$C$2:$C$13</c:f>
              <c:numCache>
                <c:formatCode>General</c:formatCode>
                <c:ptCount val="12"/>
                <c:pt idx="0">
                  <c:v>141.90990909090911</c:v>
                </c:pt>
                <c:pt idx="1">
                  <c:v>18.349980869565215</c:v>
                </c:pt>
                <c:pt idx="2">
                  <c:v>137.71929387755102</c:v>
                </c:pt>
                <c:pt idx="3">
                  <c:v>42.938486153846156</c:v>
                </c:pt>
                <c:pt idx="4">
                  <c:v>170.25870999999998</c:v>
                </c:pt>
                <c:pt idx="5">
                  <c:v>42.823489230769233</c:v>
                </c:pt>
                <c:pt idx="6">
                  <c:v>47.735735849056596</c:v>
                </c:pt>
                <c:pt idx="7">
                  <c:v>142.18700000000001</c:v>
                </c:pt>
                <c:pt idx="8">
                  <c:v>40.766433009708742</c:v>
                </c:pt>
                <c:pt idx="9">
                  <c:v>30.002527777777779</c:v>
                </c:pt>
                <c:pt idx="10">
                  <c:v>170.04207999999994</c:v>
                </c:pt>
                <c:pt idx="11">
                  <c:v>150.8563478260869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6.55</c:v>
                </c:pt>
                <c:pt idx="1">
                  <c:v>Av Price/Unit 37.87</c:v>
                </c:pt>
                <c:pt idx="2">
                  <c:v>Av Price/Unit 266.90</c:v>
                </c:pt>
                <c:pt idx="3">
                  <c:v>Av Price/Unit 88.87</c:v>
                </c:pt>
                <c:pt idx="4">
                  <c:v>Av Price/Unit 356.12</c:v>
                </c:pt>
                <c:pt idx="5">
                  <c:v>Av Price/Unit 92.07</c:v>
                </c:pt>
                <c:pt idx="6">
                  <c:v>Av Price/Unit 101.19</c:v>
                </c:pt>
                <c:pt idx="7">
                  <c:v>Av Price/Unit 292.02</c:v>
                </c:pt>
                <c:pt idx="8">
                  <c:v>Av Price/Unit 89.83</c:v>
                </c:pt>
                <c:pt idx="9">
                  <c:v>Av Price/Unit 64.22</c:v>
                </c:pt>
                <c:pt idx="10">
                  <c:v>Av Price/Unit 389.80</c:v>
                </c:pt>
                <c:pt idx="11">
                  <c:v>Av Price/Unit 286.87</c:v>
                </c:pt>
              </c:strCache>
            </c:strRef>
          </c:cat>
          <c:val>
            <c:numRef>
              <c:f>Sheet1!$D$2:$D$13</c:f>
              <c:numCache>
                <c:formatCode>General</c:formatCode>
                <c:ptCount val="12"/>
                <c:pt idx="0">
                  <c:v>-0.24568801054016376</c:v>
                </c:pt>
                <c:pt idx="1">
                  <c:v>0.68508811594203323</c:v>
                </c:pt>
                <c:pt idx="2">
                  <c:v>5.4260537414965881</c:v>
                </c:pt>
                <c:pt idx="3">
                  <c:v>0.76131846153846539</c:v>
                </c:pt>
                <c:pt idx="4">
                  <c:v>15.301304666666624</c:v>
                </c:pt>
                <c:pt idx="5">
                  <c:v>3.5515620512820334</c:v>
                </c:pt>
                <c:pt idx="6">
                  <c:v>3.9387125786163466</c:v>
                </c:pt>
                <c:pt idx="7">
                  <c:v>18.261871428571396</c:v>
                </c:pt>
                <c:pt idx="8">
                  <c:v>4.6887012944983866</c:v>
                </c:pt>
                <c:pt idx="9">
                  <c:v>2.0277939153439277</c:v>
                </c:pt>
                <c:pt idx="10">
                  <c:v>44.782073333333301</c:v>
                </c:pt>
                <c:pt idx="11">
                  <c:v>4.456497101449315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6.55</c:v>
                </c:pt>
                <c:pt idx="1">
                  <c:v>Av Price/Unit 37.87</c:v>
                </c:pt>
                <c:pt idx="2">
                  <c:v>Av Price/Unit 266.90</c:v>
                </c:pt>
                <c:pt idx="3">
                  <c:v>Av Price/Unit 88.87</c:v>
                </c:pt>
                <c:pt idx="4">
                  <c:v>Av Price/Unit 356.12</c:v>
                </c:pt>
                <c:pt idx="5">
                  <c:v>Av Price/Unit 92.07</c:v>
                </c:pt>
                <c:pt idx="6">
                  <c:v>Av Price/Unit 101.19</c:v>
                </c:pt>
                <c:pt idx="7">
                  <c:v>Av Price/Unit 292.02</c:v>
                </c:pt>
                <c:pt idx="8">
                  <c:v>Av Price/Unit 89.83</c:v>
                </c:pt>
                <c:pt idx="9">
                  <c:v>Av Price/Unit 64.22</c:v>
                </c:pt>
                <c:pt idx="10">
                  <c:v>Av Price/Unit 389.80</c:v>
                </c:pt>
                <c:pt idx="11">
                  <c:v>Av Price/Unit 286.87</c:v>
                </c:pt>
              </c:strCache>
            </c:strRef>
          </c:cat>
          <c:val>
            <c:numRef>
              <c:f>Sheet1!$E$2:$E$13</c:f>
              <c:numCache>
                <c:formatCode>General</c:formatCode>
                <c:ptCount val="12"/>
                <c:pt idx="0">
                  <c:v>41.091567852437379</c:v>
                </c:pt>
                <c:pt idx="1">
                  <c:v>6.3110144927536211</c:v>
                </c:pt>
                <c:pt idx="2">
                  <c:v>44.482993197278908</c:v>
                </c:pt>
                <c:pt idx="3">
                  <c:v>14.811538461538461</c:v>
                </c:pt>
                <c:pt idx="4">
                  <c:v>59.353333333333325</c:v>
                </c:pt>
                <c:pt idx="5">
                  <c:v>15.3448717948718</c:v>
                </c:pt>
                <c:pt idx="6">
                  <c:v>16.864779874213848</c:v>
                </c:pt>
                <c:pt idx="7">
                  <c:v>49.485714285714288</c:v>
                </c:pt>
                <c:pt idx="8">
                  <c:v>14.972491909385107</c:v>
                </c:pt>
                <c:pt idx="9">
                  <c:v>10.703703703703699</c:v>
                </c:pt>
                <c:pt idx="10">
                  <c:v>64.966666666666654</c:v>
                </c:pt>
                <c:pt idx="11">
                  <c:v>47.81159420289852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33</c:v>
                </c:pt>
                <c:pt idx="1">
                  <c:v>Av Price/Unit 57.16</c:v>
                </c:pt>
                <c:pt idx="2">
                  <c:v>Av Price/Unit 37.41</c:v>
                </c:pt>
                <c:pt idx="3">
                  <c:v>Av Price/Unit 79.99</c:v>
                </c:pt>
                <c:pt idx="4">
                  <c:v>Av Price/Unit 25.02</c:v>
                </c:pt>
                <c:pt idx="5">
                  <c:v>Av Price/Unit 93.43</c:v>
                </c:pt>
                <c:pt idx="6">
                  <c:v>Av Price/Unit 37.56</c:v>
                </c:pt>
                <c:pt idx="7">
                  <c:v>Av Price/Unit 36.00</c:v>
                </c:pt>
                <c:pt idx="8">
                  <c:v>Av Price/Unit 47.11</c:v>
                </c:pt>
                <c:pt idx="9">
                  <c:v>Av Price/Unit 547.44</c:v>
                </c:pt>
                <c:pt idx="10">
                  <c:v>Av Price/Unit 51.10</c:v>
                </c:pt>
                <c:pt idx="11">
                  <c:v>Av Price/Unit 601.54</c:v>
                </c:pt>
              </c:strCache>
            </c:strRef>
          </c:cat>
          <c:val>
            <c:numRef>
              <c:f>Sheet1!$B$2:$B$13</c:f>
              <c:numCache>
                <c:formatCode>General</c:formatCode>
                <c:ptCount val="12"/>
                <c:pt idx="0">
                  <c:v>29.379279713375794</c:v>
                </c:pt>
                <c:pt idx="1">
                  <c:v>19.730616852990497</c:v>
                </c:pt>
                <c:pt idx="2">
                  <c:v>12.504784208375893</c:v>
                </c:pt>
                <c:pt idx="3">
                  <c:v>26.225963478260869</c:v>
                </c:pt>
                <c:pt idx="4">
                  <c:v>5.3329387655886711</c:v>
                </c:pt>
                <c:pt idx="5">
                  <c:v>31.20284988272088</c:v>
                </c:pt>
                <c:pt idx="6">
                  <c:v>13.371841379310343</c:v>
                </c:pt>
                <c:pt idx="7">
                  <c:v>12.539535195996661</c:v>
                </c:pt>
                <c:pt idx="8">
                  <c:v>16.567723659305994</c:v>
                </c:pt>
                <c:pt idx="9">
                  <c:v>164.74085932203391</c:v>
                </c:pt>
                <c:pt idx="10">
                  <c:v>18.669612451361868</c:v>
                </c:pt>
                <c:pt idx="11">
                  <c:v>205.8462461538461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33</c:v>
                </c:pt>
                <c:pt idx="1">
                  <c:v>Av Price/Unit 57.16</c:v>
                </c:pt>
                <c:pt idx="2">
                  <c:v>Av Price/Unit 37.41</c:v>
                </c:pt>
                <c:pt idx="3">
                  <c:v>Av Price/Unit 79.99</c:v>
                </c:pt>
                <c:pt idx="4">
                  <c:v>Av Price/Unit 25.02</c:v>
                </c:pt>
                <c:pt idx="5">
                  <c:v>Av Price/Unit 93.43</c:v>
                </c:pt>
                <c:pt idx="6">
                  <c:v>Av Price/Unit 37.56</c:v>
                </c:pt>
                <c:pt idx="7">
                  <c:v>Av Price/Unit 36.00</c:v>
                </c:pt>
                <c:pt idx="8">
                  <c:v>Av Price/Unit 47.11</c:v>
                </c:pt>
                <c:pt idx="9">
                  <c:v>Av Price/Unit 547.44</c:v>
                </c:pt>
                <c:pt idx="10">
                  <c:v>Av Price/Unit 51.10</c:v>
                </c:pt>
                <c:pt idx="11">
                  <c:v>Av Price/Unit 601.54</c:v>
                </c:pt>
              </c:strCache>
            </c:strRef>
          </c:cat>
          <c:val>
            <c:numRef>
              <c:f>Sheet1!$C$2:$C$13</c:f>
              <c:numCache>
                <c:formatCode>General</c:formatCode>
                <c:ptCount val="12"/>
                <c:pt idx="0">
                  <c:v>42.789187070063697</c:v>
                </c:pt>
                <c:pt idx="1">
                  <c:v>27.356952683063163</c:v>
                </c:pt>
                <c:pt idx="2">
                  <c:v>18.437670214504596</c:v>
                </c:pt>
                <c:pt idx="3">
                  <c:v>40.740340000000003</c:v>
                </c:pt>
                <c:pt idx="4">
                  <c:v>15.500361234411329</c:v>
                </c:pt>
                <c:pt idx="5">
                  <c:v>44.704153401094615</c:v>
                </c:pt>
                <c:pt idx="6">
                  <c:v>17.03611448275862</c:v>
                </c:pt>
                <c:pt idx="7">
                  <c:v>16.559269974979149</c:v>
                </c:pt>
                <c:pt idx="8">
                  <c:v>21.230154132492117</c:v>
                </c:pt>
                <c:pt idx="9">
                  <c:v>293.11574576271181</c:v>
                </c:pt>
                <c:pt idx="10">
                  <c:v>22.961448249027239</c:v>
                </c:pt>
                <c:pt idx="11">
                  <c:v>309.92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33</c:v>
                </c:pt>
                <c:pt idx="1">
                  <c:v>Av Price/Unit 57.16</c:v>
                </c:pt>
                <c:pt idx="2">
                  <c:v>Av Price/Unit 37.41</c:v>
                </c:pt>
                <c:pt idx="3">
                  <c:v>Av Price/Unit 79.99</c:v>
                </c:pt>
                <c:pt idx="4">
                  <c:v>Av Price/Unit 25.02</c:v>
                </c:pt>
                <c:pt idx="5">
                  <c:v>Av Price/Unit 93.43</c:v>
                </c:pt>
                <c:pt idx="6">
                  <c:v>Av Price/Unit 37.56</c:v>
                </c:pt>
                <c:pt idx="7">
                  <c:v>Av Price/Unit 36.00</c:v>
                </c:pt>
                <c:pt idx="8">
                  <c:v>Av Price/Unit 47.11</c:v>
                </c:pt>
                <c:pt idx="9">
                  <c:v>Av Price/Unit 547.44</c:v>
                </c:pt>
                <c:pt idx="10">
                  <c:v>Av Price/Unit 51.10</c:v>
                </c:pt>
                <c:pt idx="11">
                  <c:v>Av Price/Unit 601.54</c:v>
                </c:pt>
              </c:strCache>
            </c:strRef>
          </c:cat>
          <c:val>
            <c:numRef>
              <c:f>Sheet1!$D$2:$D$13</c:f>
              <c:numCache>
                <c:formatCode>General</c:formatCode>
                <c:ptCount val="12"/>
                <c:pt idx="0">
                  <c:v>1.4427327919320732</c:v>
                </c:pt>
                <c:pt idx="1">
                  <c:v>0.54821395565492992</c:v>
                </c:pt>
                <c:pt idx="2">
                  <c:v>0.23051118828737671</c:v>
                </c:pt>
                <c:pt idx="3">
                  <c:v>-0.30638197463767369</c:v>
                </c:pt>
                <c:pt idx="4">
                  <c:v>1.4124786866762662E-2</c:v>
                </c:pt>
                <c:pt idx="5">
                  <c:v>1.9514127703935316</c:v>
                </c:pt>
                <c:pt idx="6">
                  <c:v>0.88998727162733715</c:v>
                </c:pt>
                <c:pt idx="7">
                  <c:v>0.89841473450097453</c:v>
                </c:pt>
                <c:pt idx="8">
                  <c:v>1.4581684752891704</c:v>
                </c:pt>
                <c:pt idx="9">
                  <c:v>-1.6560401129943898</c:v>
                </c:pt>
                <c:pt idx="10">
                  <c:v>0.9519483787289289</c:v>
                </c:pt>
                <c:pt idx="11">
                  <c:v>-14.48719487179488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33</c:v>
                </c:pt>
                <c:pt idx="1">
                  <c:v>Av Price/Unit 57.16</c:v>
                </c:pt>
                <c:pt idx="2">
                  <c:v>Av Price/Unit 37.41</c:v>
                </c:pt>
                <c:pt idx="3">
                  <c:v>Av Price/Unit 79.99</c:v>
                </c:pt>
                <c:pt idx="4">
                  <c:v>Av Price/Unit 25.02</c:v>
                </c:pt>
                <c:pt idx="5">
                  <c:v>Av Price/Unit 93.43</c:v>
                </c:pt>
                <c:pt idx="6">
                  <c:v>Av Price/Unit 37.56</c:v>
                </c:pt>
                <c:pt idx="7">
                  <c:v>Av Price/Unit 36.00</c:v>
                </c:pt>
                <c:pt idx="8">
                  <c:v>Av Price/Unit 47.11</c:v>
                </c:pt>
                <c:pt idx="9">
                  <c:v>Av Price/Unit 547.44</c:v>
                </c:pt>
                <c:pt idx="10">
                  <c:v>Av Price/Unit 51.10</c:v>
                </c:pt>
                <c:pt idx="11">
                  <c:v>Av Price/Unit 601.54</c:v>
                </c:pt>
              </c:strCache>
            </c:strRef>
          </c:cat>
          <c:val>
            <c:numRef>
              <c:f>Sheet1!$E$2:$E$13</c:f>
              <c:numCache>
                <c:formatCode>General</c:formatCode>
                <c:ptCount val="12"/>
                <c:pt idx="0">
                  <c:v>14.722239915074304</c:v>
                </c:pt>
                <c:pt idx="1">
                  <c:v>9.5271566983417149</c:v>
                </c:pt>
                <c:pt idx="2">
                  <c:v>6.2345931222335613</c:v>
                </c:pt>
                <c:pt idx="3">
                  <c:v>13.331974637681157</c:v>
                </c:pt>
                <c:pt idx="4">
                  <c:v>4.1694849573733519</c:v>
                </c:pt>
                <c:pt idx="5">
                  <c:v>15.571670575970815</c:v>
                </c:pt>
                <c:pt idx="6">
                  <c:v>6.259588626739264</c:v>
                </c:pt>
                <c:pt idx="7">
                  <c:v>5.9994439810953528</c:v>
                </c:pt>
                <c:pt idx="8">
                  <c:v>7.851209253417454</c:v>
                </c:pt>
                <c:pt idx="9">
                  <c:v>91.240112994350298</c:v>
                </c:pt>
                <c:pt idx="10">
                  <c:v>8.5166018158236021</c:v>
                </c:pt>
                <c:pt idx="11">
                  <c:v>100.2564102564102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77</c:v>
                </c:pt>
                <c:pt idx="1">
                  <c:v>Av Price/Unit 57.40</c:v>
                </c:pt>
                <c:pt idx="2">
                  <c:v>Av Price/Unit 37.39</c:v>
                </c:pt>
                <c:pt idx="3">
                  <c:v>Av Price/Unit 80.62</c:v>
                </c:pt>
                <c:pt idx="4">
                  <c:v>Av Price/Unit 94.00</c:v>
                </c:pt>
                <c:pt idx="5">
                  <c:v>Av Price/Unit 25.04</c:v>
                </c:pt>
                <c:pt idx="6">
                  <c:v>Av Price/Unit 37.79</c:v>
                </c:pt>
                <c:pt idx="7">
                  <c:v>Av Price/Unit 36.30</c:v>
                </c:pt>
                <c:pt idx="8">
                  <c:v>Av Price/Unit 47.57</c:v>
                </c:pt>
                <c:pt idx="9">
                  <c:v>Av Price/Unit 51.41</c:v>
                </c:pt>
                <c:pt idx="10">
                  <c:v>Av Price/Unit 221.42</c:v>
                </c:pt>
                <c:pt idx="11">
                  <c:v>Av Price/Unit 565.24</c:v>
                </c:pt>
              </c:strCache>
            </c:strRef>
          </c:cat>
          <c:val>
            <c:numRef>
              <c:f>Sheet1!$B$2:$B$13</c:f>
              <c:numCache>
                <c:formatCode>General</c:formatCode>
                <c:ptCount val="12"/>
                <c:pt idx="0">
                  <c:v>29.382221571373996</c:v>
                </c:pt>
                <c:pt idx="1">
                  <c:v>19.74468543352603</c:v>
                </c:pt>
                <c:pt idx="2">
                  <c:v>12.505894969012031</c:v>
                </c:pt>
                <c:pt idx="3">
                  <c:v>26.323458485908255</c:v>
                </c:pt>
                <c:pt idx="4">
                  <c:v>31.27913543502201</c:v>
                </c:pt>
                <c:pt idx="5">
                  <c:v>5.3420347489652693</c:v>
                </c:pt>
                <c:pt idx="6">
                  <c:v>13.38503848852041</c:v>
                </c:pt>
                <c:pt idx="7">
                  <c:v>12.542775025035048</c:v>
                </c:pt>
                <c:pt idx="8">
                  <c:v>16.576568175182484</c:v>
                </c:pt>
                <c:pt idx="9">
                  <c:v>18.668437379265935</c:v>
                </c:pt>
                <c:pt idx="10">
                  <c:v>70.872016698656452</c:v>
                </c:pt>
                <c:pt idx="11">
                  <c:v>161.7292784946236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77</c:v>
                </c:pt>
                <c:pt idx="1">
                  <c:v>Av Price/Unit 57.40</c:v>
                </c:pt>
                <c:pt idx="2">
                  <c:v>Av Price/Unit 37.39</c:v>
                </c:pt>
                <c:pt idx="3">
                  <c:v>Av Price/Unit 80.62</c:v>
                </c:pt>
                <c:pt idx="4">
                  <c:v>Av Price/Unit 94.00</c:v>
                </c:pt>
                <c:pt idx="5">
                  <c:v>Av Price/Unit 25.04</c:v>
                </c:pt>
                <c:pt idx="6">
                  <c:v>Av Price/Unit 37.79</c:v>
                </c:pt>
                <c:pt idx="7">
                  <c:v>Av Price/Unit 36.30</c:v>
                </c:pt>
                <c:pt idx="8">
                  <c:v>Av Price/Unit 47.57</c:v>
                </c:pt>
                <c:pt idx="9">
                  <c:v>Av Price/Unit 51.41</c:v>
                </c:pt>
                <c:pt idx="10">
                  <c:v>Av Price/Unit 221.42</c:v>
                </c:pt>
                <c:pt idx="11">
                  <c:v>Av Price/Unit 565.24</c:v>
                </c:pt>
              </c:strCache>
            </c:strRef>
          </c:cat>
          <c:val>
            <c:numRef>
              <c:f>Sheet1!$C$2:$C$13</c:f>
              <c:numCache>
                <c:formatCode>General</c:formatCode>
                <c:ptCount val="12"/>
                <c:pt idx="0">
                  <c:v>42.78747898892145</c:v>
                </c:pt>
                <c:pt idx="1">
                  <c:v>27.353550959537561</c:v>
                </c:pt>
                <c:pt idx="2">
                  <c:v>18.440927488151658</c:v>
                </c:pt>
                <c:pt idx="3">
                  <c:v>40.739054474387991</c:v>
                </c:pt>
                <c:pt idx="4">
                  <c:v>44.655056580396476</c:v>
                </c:pt>
                <c:pt idx="5">
                  <c:v>15.491265251034731</c:v>
                </c:pt>
                <c:pt idx="6">
                  <c:v>17.040333545918372</c:v>
                </c:pt>
                <c:pt idx="7">
                  <c:v>16.56294061686361</c:v>
                </c:pt>
                <c:pt idx="8">
                  <c:v>21.227021518248186</c:v>
                </c:pt>
                <c:pt idx="9">
                  <c:v>22.951855280103032</c:v>
                </c:pt>
                <c:pt idx="10">
                  <c:v>100.76959520153554</c:v>
                </c:pt>
                <c:pt idx="11">
                  <c:v>292.8741827956988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77</c:v>
                </c:pt>
                <c:pt idx="1">
                  <c:v>Av Price/Unit 57.40</c:v>
                </c:pt>
                <c:pt idx="2">
                  <c:v>Av Price/Unit 37.39</c:v>
                </c:pt>
                <c:pt idx="3">
                  <c:v>Av Price/Unit 80.62</c:v>
                </c:pt>
                <c:pt idx="4">
                  <c:v>Av Price/Unit 94.00</c:v>
                </c:pt>
                <c:pt idx="5">
                  <c:v>Av Price/Unit 25.04</c:v>
                </c:pt>
                <c:pt idx="6">
                  <c:v>Av Price/Unit 37.79</c:v>
                </c:pt>
                <c:pt idx="7">
                  <c:v>Av Price/Unit 36.30</c:v>
                </c:pt>
                <c:pt idx="8">
                  <c:v>Av Price/Unit 47.57</c:v>
                </c:pt>
                <c:pt idx="9">
                  <c:v>Av Price/Unit 51.41</c:v>
                </c:pt>
                <c:pt idx="10">
                  <c:v>Av Price/Unit 221.42</c:v>
                </c:pt>
                <c:pt idx="11">
                  <c:v>Av Price/Unit 565.24</c:v>
                </c:pt>
              </c:strCache>
            </c:strRef>
          </c:cat>
          <c:val>
            <c:numRef>
              <c:f>Sheet1!$D$2:$D$13</c:f>
              <c:numCache>
                <c:formatCode>General</c:formatCode>
                <c:ptCount val="12"/>
                <c:pt idx="0">
                  <c:v>1.8088214482788203</c:v>
                </c:pt>
                <c:pt idx="1">
                  <c:v>0.73509694026975581</c:v>
                </c:pt>
                <c:pt idx="2">
                  <c:v>0.21287191639325087</c:v>
                </c:pt>
                <c:pt idx="3">
                  <c:v>0.11781259685936618</c:v>
                </c:pt>
                <c:pt idx="4">
                  <c:v>2.3973727147576938</c:v>
                </c:pt>
                <c:pt idx="5">
                  <c:v>3.1000281926701234E-2</c:v>
                </c:pt>
                <c:pt idx="6">
                  <c:v>1.0665763073979839</c:v>
                </c:pt>
                <c:pt idx="7">
                  <c:v>1.1458031510781765</c:v>
                </c:pt>
                <c:pt idx="8">
                  <c:v>1.837772836982964</c:v>
                </c:pt>
                <c:pt idx="9">
                  <c:v>1.2250067611075579</c:v>
                </c:pt>
                <c:pt idx="10">
                  <c:v>12.873743186180349</c:v>
                </c:pt>
                <c:pt idx="11">
                  <c:v>16.42700465949843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77</c:v>
                </c:pt>
                <c:pt idx="1">
                  <c:v>Av Price/Unit 57.40</c:v>
                </c:pt>
                <c:pt idx="2">
                  <c:v>Av Price/Unit 37.39</c:v>
                </c:pt>
                <c:pt idx="3">
                  <c:v>Av Price/Unit 80.62</c:v>
                </c:pt>
                <c:pt idx="4">
                  <c:v>Av Price/Unit 94.00</c:v>
                </c:pt>
                <c:pt idx="5">
                  <c:v>Av Price/Unit 25.04</c:v>
                </c:pt>
                <c:pt idx="6">
                  <c:v>Av Price/Unit 37.79</c:v>
                </c:pt>
                <c:pt idx="7">
                  <c:v>Av Price/Unit 36.30</c:v>
                </c:pt>
                <c:pt idx="8">
                  <c:v>Av Price/Unit 47.57</c:v>
                </c:pt>
                <c:pt idx="9">
                  <c:v>Av Price/Unit 51.41</c:v>
                </c:pt>
                <c:pt idx="10">
                  <c:v>Av Price/Unit 221.42</c:v>
                </c:pt>
                <c:pt idx="11">
                  <c:v>Av Price/Unit 565.24</c:v>
                </c:pt>
              </c:strCache>
            </c:strRef>
          </c:cat>
          <c:val>
            <c:numRef>
              <c:f>Sheet1!$E$2:$E$13</c:f>
              <c:numCache>
                <c:formatCode>General</c:formatCode>
                <c:ptCount val="12"/>
                <c:pt idx="0">
                  <c:v>14.795704401714824</c:v>
                </c:pt>
                <c:pt idx="1">
                  <c:v>9.5666666666666629</c:v>
                </c:pt>
                <c:pt idx="2">
                  <c:v>6.2319388747113793</c:v>
                </c:pt>
                <c:pt idx="3">
                  <c:v>13.43605568127272</c:v>
                </c:pt>
                <c:pt idx="4">
                  <c:v>15.666299559471382</c:v>
                </c:pt>
                <c:pt idx="5">
                  <c:v>4.1728600563853417</c:v>
                </c:pt>
                <c:pt idx="6">
                  <c:v>6.2983896683673422</c:v>
                </c:pt>
                <c:pt idx="7">
                  <c:v>6.0503037585953647</c:v>
                </c:pt>
                <c:pt idx="8">
                  <c:v>7.9282725060827275</c:v>
                </c:pt>
                <c:pt idx="9">
                  <c:v>8.5690598840952994</c:v>
                </c:pt>
                <c:pt idx="10">
                  <c:v>36.903071017274414</c:v>
                </c:pt>
                <c:pt idx="11">
                  <c:v>94.20609318996405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7.98</c:v>
                </c:pt>
                <c:pt idx="1">
                  <c:v>Av Price/Unit 56.95</c:v>
                </c:pt>
                <c:pt idx="2">
                  <c:v>Av Price/Unit 37.02</c:v>
                </c:pt>
                <c:pt idx="3">
                  <c:v>Av Price/Unit 92.75</c:v>
                </c:pt>
                <c:pt idx="4">
                  <c:v>Av Price/Unit 79.65</c:v>
                </c:pt>
                <c:pt idx="5">
                  <c:v>Av Price/Unit 24.83</c:v>
                </c:pt>
                <c:pt idx="6">
                  <c:v>Av Price/Unit 37.57</c:v>
                </c:pt>
                <c:pt idx="7">
                  <c:v>Av Price/Unit 36.07</c:v>
                </c:pt>
                <c:pt idx="8">
                  <c:v>Av Price/Unit 50.96</c:v>
                </c:pt>
                <c:pt idx="9">
                  <c:v>Av Price/Unit 47.16</c:v>
                </c:pt>
                <c:pt idx="10">
                  <c:v>Av Price/Unit 217.71</c:v>
                </c:pt>
                <c:pt idx="11">
                  <c:v>Av Price/Unit 33.06</c:v>
                </c:pt>
              </c:strCache>
            </c:strRef>
          </c:cat>
          <c:val>
            <c:numRef>
              <c:f>Sheet1!$B$2:$B$13</c:f>
              <c:numCache>
                <c:formatCode>General</c:formatCode>
                <c:ptCount val="12"/>
                <c:pt idx="0">
                  <c:v>29.387179118993132</c:v>
                </c:pt>
                <c:pt idx="1">
                  <c:v>19.762937824675326</c:v>
                </c:pt>
                <c:pt idx="2">
                  <c:v>12.50696776740847</c:v>
                </c:pt>
                <c:pt idx="3">
                  <c:v>31.393287282463181</c:v>
                </c:pt>
                <c:pt idx="4">
                  <c:v>26.553414079422382</c:v>
                </c:pt>
                <c:pt idx="5">
                  <c:v>5.3435934131736529</c:v>
                </c:pt>
                <c:pt idx="6">
                  <c:v>13.397855555555557</c:v>
                </c:pt>
                <c:pt idx="7">
                  <c:v>12.547463022813686</c:v>
                </c:pt>
                <c:pt idx="8">
                  <c:v>18.668776470588234</c:v>
                </c:pt>
                <c:pt idx="9">
                  <c:v>16.610921212121212</c:v>
                </c:pt>
                <c:pt idx="10">
                  <c:v>70.54898571428572</c:v>
                </c:pt>
                <c:pt idx="11">
                  <c:v>11.51132250996015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7.98</c:v>
                </c:pt>
                <c:pt idx="1">
                  <c:v>Av Price/Unit 56.95</c:v>
                </c:pt>
                <c:pt idx="2">
                  <c:v>Av Price/Unit 37.02</c:v>
                </c:pt>
                <c:pt idx="3">
                  <c:v>Av Price/Unit 92.75</c:v>
                </c:pt>
                <c:pt idx="4">
                  <c:v>Av Price/Unit 79.65</c:v>
                </c:pt>
                <c:pt idx="5">
                  <c:v>Av Price/Unit 24.83</c:v>
                </c:pt>
                <c:pt idx="6">
                  <c:v>Av Price/Unit 37.57</c:v>
                </c:pt>
                <c:pt idx="7">
                  <c:v>Av Price/Unit 36.07</c:v>
                </c:pt>
                <c:pt idx="8">
                  <c:v>Av Price/Unit 50.96</c:v>
                </c:pt>
                <c:pt idx="9">
                  <c:v>Av Price/Unit 47.16</c:v>
                </c:pt>
                <c:pt idx="10">
                  <c:v>Av Price/Unit 217.71</c:v>
                </c:pt>
                <c:pt idx="11">
                  <c:v>Av Price/Unit 33.06</c:v>
                </c:pt>
              </c:strCache>
            </c:strRef>
          </c:cat>
          <c:val>
            <c:numRef>
              <c:f>Sheet1!$C$2:$C$13</c:f>
              <c:numCache>
                <c:formatCode>General</c:formatCode>
                <c:ptCount val="12"/>
                <c:pt idx="0">
                  <c:v>42.784600572082375</c:v>
                </c:pt>
                <c:pt idx="1">
                  <c:v>27.349137608225103</c:v>
                </c:pt>
                <c:pt idx="2">
                  <c:v>18.444073438621682</c:v>
                </c:pt>
                <c:pt idx="3">
                  <c:v>44.58158929049533</c:v>
                </c:pt>
                <c:pt idx="4">
                  <c:v>40.736022382671479</c:v>
                </c:pt>
                <c:pt idx="5">
                  <c:v>15.489706586826347</c:v>
                </c:pt>
                <c:pt idx="6">
                  <c:v>17.044431111111113</c:v>
                </c:pt>
                <c:pt idx="7">
                  <c:v>16.56825199619772</c:v>
                </c:pt>
                <c:pt idx="8">
                  <c:v>22.954623529411766</c:v>
                </c:pt>
                <c:pt idx="9">
                  <c:v>21.214854112554111</c:v>
                </c:pt>
                <c:pt idx="10">
                  <c:v>101.00531428571426</c:v>
                </c:pt>
                <c:pt idx="11">
                  <c:v>14.91006513944223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7.98</c:v>
                </c:pt>
                <c:pt idx="1">
                  <c:v>Av Price/Unit 56.95</c:v>
                </c:pt>
                <c:pt idx="2">
                  <c:v>Av Price/Unit 37.02</c:v>
                </c:pt>
                <c:pt idx="3">
                  <c:v>Av Price/Unit 92.75</c:v>
                </c:pt>
                <c:pt idx="4">
                  <c:v>Av Price/Unit 79.65</c:v>
                </c:pt>
                <c:pt idx="5">
                  <c:v>Av Price/Unit 24.83</c:v>
                </c:pt>
                <c:pt idx="6">
                  <c:v>Av Price/Unit 37.57</c:v>
                </c:pt>
                <c:pt idx="7">
                  <c:v>Av Price/Unit 36.07</c:v>
                </c:pt>
                <c:pt idx="8">
                  <c:v>Av Price/Unit 50.96</c:v>
                </c:pt>
                <c:pt idx="9">
                  <c:v>Av Price/Unit 47.16</c:v>
                </c:pt>
                <c:pt idx="10">
                  <c:v>Av Price/Unit 217.71</c:v>
                </c:pt>
                <c:pt idx="11">
                  <c:v>Av Price/Unit 33.06</c:v>
                </c:pt>
              </c:strCache>
            </c:strRef>
          </c:cat>
          <c:val>
            <c:numRef>
              <c:f>Sheet1!$D$2:$D$13</c:f>
              <c:numCache>
                <c:formatCode>General</c:formatCode>
                <c:ptCount val="12"/>
                <c:pt idx="0">
                  <c:v>1.1448679061785043</c:v>
                </c:pt>
                <c:pt idx="1">
                  <c:v>0.34959484126983398</c:v>
                </c:pt>
                <c:pt idx="2">
                  <c:v>-9.9162766212010922E-2</c:v>
                </c:pt>
                <c:pt idx="3">
                  <c:v>1.3132370370370268</c:v>
                </c:pt>
                <c:pt idx="4">
                  <c:v>-0.91353967107900758</c:v>
                </c:pt>
                <c:pt idx="5">
                  <c:v>-0.14405349301397052</c:v>
                </c:pt>
                <c:pt idx="6">
                  <c:v>0.86215777777777802</c:v>
                </c:pt>
                <c:pt idx="7">
                  <c:v>0.94052705956907801</c:v>
                </c:pt>
                <c:pt idx="8">
                  <c:v>0.84041886087769768</c:v>
                </c:pt>
                <c:pt idx="9">
                  <c:v>1.4743689754689768</c:v>
                </c:pt>
                <c:pt idx="10">
                  <c:v>9.8742714285714328</c:v>
                </c:pt>
                <c:pt idx="11">
                  <c:v>1.130132735723780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7.98</c:v>
                </c:pt>
                <c:pt idx="1">
                  <c:v>Av Price/Unit 56.95</c:v>
                </c:pt>
                <c:pt idx="2">
                  <c:v>Av Price/Unit 37.02</c:v>
                </c:pt>
                <c:pt idx="3">
                  <c:v>Av Price/Unit 92.75</c:v>
                </c:pt>
                <c:pt idx="4">
                  <c:v>Av Price/Unit 79.65</c:v>
                </c:pt>
                <c:pt idx="5">
                  <c:v>Av Price/Unit 24.83</c:v>
                </c:pt>
                <c:pt idx="6">
                  <c:v>Av Price/Unit 37.57</c:v>
                </c:pt>
                <c:pt idx="7">
                  <c:v>Av Price/Unit 36.07</c:v>
                </c:pt>
                <c:pt idx="8">
                  <c:v>Av Price/Unit 50.96</c:v>
                </c:pt>
                <c:pt idx="9">
                  <c:v>Av Price/Unit 47.16</c:v>
                </c:pt>
                <c:pt idx="10">
                  <c:v>Av Price/Unit 217.71</c:v>
                </c:pt>
                <c:pt idx="11">
                  <c:v>Av Price/Unit 33.06</c:v>
                </c:pt>
              </c:strCache>
            </c:strRef>
          </c:cat>
          <c:val>
            <c:numRef>
              <c:f>Sheet1!$E$2:$E$13</c:f>
              <c:numCache>
                <c:formatCode>General</c:formatCode>
                <c:ptCount val="12"/>
                <c:pt idx="0">
                  <c:v>14.663329519450784</c:v>
                </c:pt>
                <c:pt idx="1">
                  <c:v>9.4923340548340516</c:v>
                </c:pt>
                <c:pt idx="2">
                  <c:v>6.1703756879636238</c:v>
                </c:pt>
                <c:pt idx="3">
                  <c:v>15.457608210620261</c:v>
                </c:pt>
                <c:pt idx="4">
                  <c:v>13.275170477336539</c:v>
                </c:pt>
                <c:pt idx="5">
                  <c:v>4.1378493013972042</c:v>
                </c:pt>
                <c:pt idx="6">
                  <c:v>6.2608888888888892</c:v>
                </c:pt>
                <c:pt idx="7">
                  <c:v>6.0112484157160955</c:v>
                </c:pt>
                <c:pt idx="8">
                  <c:v>8.4927637721755307</c:v>
                </c:pt>
                <c:pt idx="9">
                  <c:v>7.8600288600288604</c:v>
                </c:pt>
                <c:pt idx="10">
                  <c:v>36.285714285714285</c:v>
                </c:pt>
                <c:pt idx="11">
                  <c:v>5.510292164674633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1.12</c:v>
                </c:pt>
                <c:pt idx="1">
                  <c:v>Av Price/Unit 88.92</c:v>
                </c:pt>
                <c:pt idx="2">
                  <c:v>Av Price/Unit 57.53</c:v>
                </c:pt>
                <c:pt idx="3">
                  <c:v>Av Price/Unit 93.94</c:v>
                </c:pt>
                <c:pt idx="4">
                  <c:v>Av Price/Unit 37.72</c:v>
                </c:pt>
                <c:pt idx="5">
                  <c:v>Av Price/Unit 37.75</c:v>
                </c:pt>
                <c:pt idx="6">
                  <c:v>Av Price/Unit 25.10</c:v>
                </c:pt>
                <c:pt idx="7">
                  <c:v>Av Price/Unit 51.23</c:v>
                </c:pt>
                <c:pt idx="8">
                  <c:v>Av Price/Unit 36.40</c:v>
                </c:pt>
                <c:pt idx="9">
                  <c:v>Av Price/Unit 47.95</c:v>
                </c:pt>
                <c:pt idx="10">
                  <c:v>Av Price/Unit 217.35</c:v>
                </c:pt>
                <c:pt idx="11">
                  <c:v>Av Price/Unit 80.72</c:v>
                </c:pt>
              </c:strCache>
            </c:strRef>
          </c:cat>
          <c:val>
            <c:numRef>
              <c:f>Sheet1!$B$2:$B$13</c:f>
              <c:numCache>
                <c:formatCode>General</c:formatCode>
                <c:ptCount val="12"/>
                <c:pt idx="0">
                  <c:v>26.312147285886606</c:v>
                </c:pt>
                <c:pt idx="1">
                  <c:v>29.369930588235292</c:v>
                </c:pt>
                <c:pt idx="2">
                  <c:v>19.677711022044086</c:v>
                </c:pt>
                <c:pt idx="3">
                  <c:v>31.214117827868844</c:v>
                </c:pt>
                <c:pt idx="4">
                  <c:v>13.39738456375839</c:v>
                </c:pt>
                <c:pt idx="5">
                  <c:v>12.503626050420168</c:v>
                </c:pt>
                <c:pt idx="6">
                  <c:v>5.3546594646271517</c:v>
                </c:pt>
                <c:pt idx="7">
                  <c:v>18.666856779661018</c:v>
                </c:pt>
                <c:pt idx="8">
                  <c:v>12.544804536082474</c:v>
                </c:pt>
                <c:pt idx="9">
                  <c:v>16.603374923547399</c:v>
                </c:pt>
                <c:pt idx="10">
                  <c:v>70.822642857142839</c:v>
                </c:pt>
                <c:pt idx="11">
                  <c:v>26.78341753246753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1.12</c:v>
                </c:pt>
                <c:pt idx="1">
                  <c:v>Av Price/Unit 88.92</c:v>
                </c:pt>
                <c:pt idx="2">
                  <c:v>Av Price/Unit 57.53</c:v>
                </c:pt>
                <c:pt idx="3">
                  <c:v>Av Price/Unit 93.94</c:v>
                </c:pt>
                <c:pt idx="4">
                  <c:v>Av Price/Unit 37.72</c:v>
                </c:pt>
                <c:pt idx="5">
                  <c:v>Av Price/Unit 37.75</c:v>
                </c:pt>
                <c:pt idx="6">
                  <c:v>Av Price/Unit 25.10</c:v>
                </c:pt>
                <c:pt idx="7">
                  <c:v>Av Price/Unit 51.23</c:v>
                </c:pt>
                <c:pt idx="8">
                  <c:v>Av Price/Unit 36.40</c:v>
                </c:pt>
                <c:pt idx="9">
                  <c:v>Av Price/Unit 47.95</c:v>
                </c:pt>
                <c:pt idx="10">
                  <c:v>Av Price/Unit 217.35</c:v>
                </c:pt>
                <c:pt idx="11">
                  <c:v>Av Price/Unit 80.72</c:v>
                </c:pt>
              </c:strCache>
            </c:strRef>
          </c:cat>
          <c:val>
            <c:numRef>
              <c:f>Sheet1!$C$2:$C$13</c:f>
              <c:numCache>
                <c:formatCode>General</c:formatCode>
                <c:ptCount val="12"/>
                <c:pt idx="0">
                  <c:v>40.739203618817847</c:v>
                </c:pt>
                <c:pt idx="1">
                  <c:v>42.794615294117641</c:v>
                </c:pt>
                <c:pt idx="2">
                  <c:v>27.36974509018037</c:v>
                </c:pt>
                <c:pt idx="3">
                  <c:v>44.696901434426245</c:v>
                </c:pt>
                <c:pt idx="4">
                  <c:v>17.044280536912751</c:v>
                </c:pt>
                <c:pt idx="5">
                  <c:v>18.434273949579833</c:v>
                </c:pt>
                <c:pt idx="6">
                  <c:v>15.47864053537285</c:v>
                </c:pt>
                <c:pt idx="7">
                  <c:v>22.938951694915254</c:v>
                </c:pt>
                <c:pt idx="8">
                  <c:v>16.565239999999999</c:v>
                </c:pt>
                <c:pt idx="9">
                  <c:v>21.217526911314984</c:v>
                </c:pt>
                <c:pt idx="10">
                  <c:v>100.80562380952382</c:v>
                </c:pt>
                <c:pt idx="11">
                  <c:v>38.43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1.12</c:v>
                </c:pt>
                <c:pt idx="1">
                  <c:v>Av Price/Unit 88.92</c:v>
                </c:pt>
                <c:pt idx="2">
                  <c:v>Av Price/Unit 57.53</c:v>
                </c:pt>
                <c:pt idx="3">
                  <c:v>Av Price/Unit 93.94</c:v>
                </c:pt>
                <c:pt idx="4">
                  <c:v>Av Price/Unit 37.72</c:v>
                </c:pt>
                <c:pt idx="5">
                  <c:v>Av Price/Unit 37.75</c:v>
                </c:pt>
                <c:pt idx="6">
                  <c:v>Av Price/Unit 25.10</c:v>
                </c:pt>
                <c:pt idx="7">
                  <c:v>Av Price/Unit 51.23</c:v>
                </c:pt>
                <c:pt idx="8">
                  <c:v>Av Price/Unit 36.40</c:v>
                </c:pt>
                <c:pt idx="9">
                  <c:v>Av Price/Unit 47.95</c:v>
                </c:pt>
                <c:pt idx="10">
                  <c:v>Av Price/Unit 217.35</c:v>
                </c:pt>
                <c:pt idx="11">
                  <c:v>Av Price/Unit 80.72</c:v>
                </c:pt>
              </c:strCache>
            </c:strRef>
          </c:cat>
          <c:val>
            <c:numRef>
              <c:f>Sheet1!$D$2:$D$13</c:f>
              <c:numCache>
                <c:formatCode>General</c:formatCode>
                <c:ptCount val="12"/>
                <c:pt idx="0">
                  <c:v>0.55122955367913562</c:v>
                </c:pt>
                <c:pt idx="1">
                  <c:v>1.9389399564270491</c:v>
                </c:pt>
                <c:pt idx="2">
                  <c:v>0.8934256513026142</c:v>
                </c:pt>
                <c:pt idx="3">
                  <c:v>2.37114829234973</c:v>
                </c:pt>
                <c:pt idx="4">
                  <c:v>0.99010223713646894</c:v>
                </c:pt>
                <c:pt idx="5">
                  <c:v>0.51968303321328335</c:v>
                </c:pt>
                <c:pt idx="6">
                  <c:v>8.0498597833017271E-2</c:v>
                </c:pt>
                <c:pt idx="7">
                  <c:v>1.0872235404896458</c:v>
                </c:pt>
                <c:pt idx="8">
                  <c:v>1.2250070103092767</c:v>
                </c:pt>
                <c:pt idx="9">
                  <c:v>2.1383234454638114</c:v>
                </c:pt>
                <c:pt idx="10">
                  <c:v>9.496071957672001</c:v>
                </c:pt>
                <c:pt idx="11">
                  <c:v>2.044898484848488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1.12</c:v>
                </c:pt>
                <c:pt idx="1">
                  <c:v>Av Price/Unit 88.92</c:v>
                </c:pt>
                <c:pt idx="2">
                  <c:v>Av Price/Unit 57.53</c:v>
                </c:pt>
                <c:pt idx="3">
                  <c:v>Av Price/Unit 93.94</c:v>
                </c:pt>
                <c:pt idx="4">
                  <c:v>Av Price/Unit 37.72</c:v>
                </c:pt>
                <c:pt idx="5">
                  <c:v>Av Price/Unit 37.75</c:v>
                </c:pt>
                <c:pt idx="6">
                  <c:v>Av Price/Unit 25.10</c:v>
                </c:pt>
                <c:pt idx="7">
                  <c:v>Av Price/Unit 51.23</c:v>
                </c:pt>
                <c:pt idx="8">
                  <c:v>Av Price/Unit 36.40</c:v>
                </c:pt>
                <c:pt idx="9">
                  <c:v>Av Price/Unit 47.95</c:v>
                </c:pt>
                <c:pt idx="10">
                  <c:v>Av Price/Unit 217.35</c:v>
                </c:pt>
                <c:pt idx="11">
                  <c:v>Av Price/Unit 80.72</c:v>
                </c:pt>
              </c:strCache>
            </c:strRef>
          </c:cat>
          <c:val>
            <c:numRef>
              <c:f>Sheet1!$E$2:$E$13</c:f>
              <c:numCache>
                <c:formatCode>General</c:formatCode>
                <c:ptCount val="12"/>
                <c:pt idx="0">
                  <c:v>13.520506634499396</c:v>
                </c:pt>
                <c:pt idx="1">
                  <c:v>14.820697167755975</c:v>
                </c:pt>
                <c:pt idx="2">
                  <c:v>9.5881763527054034</c:v>
                </c:pt>
                <c:pt idx="3">
                  <c:v>15.656420765027327</c:v>
                </c:pt>
                <c:pt idx="4">
                  <c:v>6.2863534675615211</c:v>
                </c:pt>
                <c:pt idx="5">
                  <c:v>6.2915166066426558</c:v>
                </c:pt>
                <c:pt idx="6">
                  <c:v>4.1827597195666009</c:v>
                </c:pt>
                <c:pt idx="7">
                  <c:v>8.5386064030131816</c:v>
                </c:pt>
                <c:pt idx="8">
                  <c:v>6.0670103092783503</c:v>
                </c:pt>
                <c:pt idx="9">
                  <c:v>7.991845056065241</c:v>
                </c:pt>
                <c:pt idx="10">
                  <c:v>36.224867724867714</c:v>
                </c:pt>
                <c:pt idx="11">
                  <c:v>13.45346320346319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9.77</c:v>
                </c:pt>
                <c:pt idx="1">
                  <c:v>Av Price/Unit 618.84</c:v>
                </c:pt>
                <c:pt idx="2">
                  <c:v>Av Price/Unit 79.89</c:v>
                </c:pt>
                <c:pt idx="3">
                  <c:v>Av Price/Unit 57.40</c:v>
                </c:pt>
                <c:pt idx="4">
                  <c:v>Av Price/Unit 93.48</c:v>
                </c:pt>
                <c:pt idx="5">
                  <c:v>Av Price/Unit 37.71</c:v>
                </c:pt>
                <c:pt idx="6">
                  <c:v>Av Price/Unit 37.88</c:v>
                </c:pt>
                <c:pt idx="7">
                  <c:v>Av Price/Unit 25.14</c:v>
                </c:pt>
                <c:pt idx="8">
                  <c:v>Av Price/Unit 80.32</c:v>
                </c:pt>
                <c:pt idx="9">
                  <c:v>Av Price/Unit 630.26</c:v>
                </c:pt>
                <c:pt idx="10">
                  <c:v>Av Price/Unit 47.87</c:v>
                </c:pt>
                <c:pt idx="11">
                  <c:v>Av Price/Unit 56.66</c:v>
                </c:pt>
              </c:strCache>
            </c:strRef>
          </c:cat>
          <c:val>
            <c:numRef>
              <c:f>Sheet1!$B$2:$B$13</c:f>
              <c:numCache>
                <c:formatCode>General</c:formatCode>
                <c:ptCount val="12"/>
                <c:pt idx="0">
                  <c:v>29.351400963081861</c:v>
                </c:pt>
                <c:pt idx="1">
                  <c:v>205.8605364864865</c:v>
                </c:pt>
                <c:pt idx="2">
                  <c:v>25.282506666666666</c:v>
                </c:pt>
                <c:pt idx="3">
                  <c:v>19.661538862559244</c:v>
                </c:pt>
                <c:pt idx="4">
                  <c:v>31.376303206997086</c:v>
                </c:pt>
                <c:pt idx="5">
                  <c:v>12.504301904761904</c:v>
                </c:pt>
                <c:pt idx="6">
                  <c:v>13.34334854368932</c:v>
                </c:pt>
                <c:pt idx="7">
                  <c:v>5.3377626038781161</c:v>
                </c:pt>
                <c:pt idx="8">
                  <c:v>26.215457065217393</c:v>
                </c:pt>
                <c:pt idx="9">
                  <c:v>145.25292962962962</c:v>
                </c:pt>
                <c:pt idx="10">
                  <c:v>16.410457142857144</c:v>
                </c:pt>
                <c:pt idx="11">
                  <c:v>18.54921293532337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9.77</c:v>
                </c:pt>
                <c:pt idx="1">
                  <c:v>Av Price/Unit 618.84</c:v>
                </c:pt>
                <c:pt idx="2">
                  <c:v>Av Price/Unit 79.89</c:v>
                </c:pt>
                <c:pt idx="3">
                  <c:v>Av Price/Unit 57.40</c:v>
                </c:pt>
                <c:pt idx="4">
                  <c:v>Av Price/Unit 93.48</c:v>
                </c:pt>
                <c:pt idx="5">
                  <c:v>Av Price/Unit 37.71</c:v>
                </c:pt>
                <c:pt idx="6">
                  <c:v>Av Price/Unit 37.88</c:v>
                </c:pt>
                <c:pt idx="7">
                  <c:v>Av Price/Unit 25.14</c:v>
                </c:pt>
                <c:pt idx="8">
                  <c:v>Av Price/Unit 80.32</c:v>
                </c:pt>
                <c:pt idx="9">
                  <c:v>Av Price/Unit 630.26</c:v>
                </c:pt>
                <c:pt idx="10">
                  <c:v>Av Price/Unit 47.87</c:v>
                </c:pt>
                <c:pt idx="11">
                  <c:v>Av Price/Unit 56.66</c:v>
                </c:pt>
              </c:strCache>
            </c:strRef>
          </c:cat>
          <c:val>
            <c:numRef>
              <c:f>Sheet1!$C$2:$C$13</c:f>
              <c:numCache>
                <c:formatCode>General</c:formatCode>
                <c:ptCount val="12"/>
                <c:pt idx="0">
                  <c:v>42.805373836276082</c:v>
                </c:pt>
                <c:pt idx="1">
                  <c:v>309.83767567567571</c:v>
                </c:pt>
                <c:pt idx="2">
                  <c:v>40.752780000000008</c:v>
                </c:pt>
                <c:pt idx="3">
                  <c:v>27.373655450236967</c:v>
                </c:pt>
                <c:pt idx="4">
                  <c:v>44.592520116618083</c:v>
                </c:pt>
                <c:pt idx="5">
                  <c:v>18.43625587301587</c:v>
                </c:pt>
                <c:pt idx="6">
                  <c:v>17.027005436893202</c:v>
                </c:pt>
                <c:pt idx="7">
                  <c:v>15.495537396121886</c:v>
                </c:pt>
                <c:pt idx="8">
                  <c:v>38.439</c:v>
                </c:pt>
                <c:pt idx="9">
                  <c:v>291.55259259259259</c:v>
                </c:pt>
                <c:pt idx="10">
                  <c:v>21.285855918367346</c:v>
                </c:pt>
                <c:pt idx="11">
                  <c:v>26.72314179104477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9.77</c:v>
                </c:pt>
                <c:pt idx="1">
                  <c:v>Av Price/Unit 618.84</c:v>
                </c:pt>
                <c:pt idx="2">
                  <c:v>Av Price/Unit 79.89</c:v>
                </c:pt>
                <c:pt idx="3">
                  <c:v>Av Price/Unit 57.40</c:v>
                </c:pt>
                <c:pt idx="4">
                  <c:v>Av Price/Unit 93.48</c:v>
                </c:pt>
                <c:pt idx="5">
                  <c:v>Av Price/Unit 37.71</c:v>
                </c:pt>
                <c:pt idx="6">
                  <c:v>Av Price/Unit 37.88</c:v>
                </c:pt>
                <c:pt idx="7">
                  <c:v>Av Price/Unit 25.14</c:v>
                </c:pt>
                <c:pt idx="8">
                  <c:v>Av Price/Unit 80.32</c:v>
                </c:pt>
                <c:pt idx="9">
                  <c:v>Av Price/Unit 630.26</c:v>
                </c:pt>
                <c:pt idx="10">
                  <c:v>Av Price/Unit 47.87</c:v>
                </c:pt>
                <c:pt idx="11">
                  <c:v>Av Price/Unit 56.66</c:v>
                </c:pt>
              </c:strCache>
            </c:strRef>
          </c:cat>
          <c:val>
            <c:numRef>
              <c:f>Sheet1!$D$2:$D$13</c:f>
              <c:numCache>
                <c:formatCode>General</c:formatCode>
                <c:ptCount val="12"/>
                <c:pt idx="0">
                  <c:v>2.6479336008561063</c:v>
                </c:pt>
                <c:pt idx="1">
                  <c:v>-1.3963963965579751E-5</c:v>
                </c:pt>
                <c:pt idx="2">
                  <c:v>0.53942569444444644</c:v>
                </c:pt>
                <c:pt idx="3">
                  <c:v>0.80050868878357306</c:v>
                </c:pt>
                <c:pt idx="4">
                  <c:v>1.9345525753158626</c:v>
                </c:pt>
                <c:pt idx="5">
                  <c:v>0.48139989417989781</c:v>
                </c:pt>
                <c:pt idx="6">
                  <c:v>1.1959890614886604</c:v>
                </c:pt>
                <c:pt idx="7">
                  <c:v>0.11429926131117796</c:v>
                </c:pt>
                <c:pt idx="8">
                  <c:v>2.2794197463768171</c:v>
                </c:pt>
                <c:pt idx="9">
                  <c:v>88.410527160493871</c:v>
                </c:pt>
                <c:pt idx="10">
                  <c:v>2.1948434013605507</c:v>
                </c:pt>
                <c:pt idx="11">
                  <c:v>1.945721558872307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9.77</c:v>
                </c:pt>
                <c:pt idx="1">
                  <c:v>Av Price/Unit 618.84</c:v>
                </c:pt>
                <c:pt idx="2">
                  <c:v>Av Price/Unit 79.89</c:v>
                </c:pt>
                <c:pt idx="3">
                  <c:v>Av Price/Unit 57.40</c:v>
                </c:pt>
                <c:pt idx="4">
                  <c:v>Av Price/Unit 93.48</c:v>
                </c:pt>
                <c:pt idx="5">
                  <c:v>Av Price/Unit 37.71</c:v>
                </c:pt>
                <c:pt idx="6">
                  <c:v>Av Price/Unit 37.88</c:v>
                </c:pt>
                <c:pt idx="7">
                  <c:v>Av Price/Unit 25.14</c:v>
                </c:pt>
                <c:pt idx="8">
                  <c:v>Av Price/Unit 80.32</c:v>
                </c:pt>
                <c:pt idx="9">
                  <c:v>Av Price/Unit 630.26</c:v>
                </c:pt>
                <c:pt idx="10">
                  <c:v>Av Price/Unit 47.87</c:v>
                </c:pt>
                <c:pt idx="11">
                  <c:v>Av Price/Unit 56.66</c:v>
                </c:pt>
              </c:strCache>
            </c:strRef>
          </c:cat>
          <c:val>
            <c:numRef>
              <c:f>Sheet1!$E$2:$E$13</c:f>
              <c:numCache>
                <c:formatCode>General</c:formatCode>
                <c:ptCount val="12"/>
                <c:pt idx="0">
                  <c:v>14.960941680042799</c:v>
                </c:pt>
                <c:pt idx="1">
                  <c:v>103.13963963963957</c:v>
                </c:pt>
                <c:pt idx="2">
                  <c:v>13.31493055555555</c:v>
                </c:pt>
                <c:pt idx="3">
                  <c:v>9.5671406003159447</c:v>
                </c:pt>
                <c:pt idx="4">
                  <c:v>15.580660835762869</c:v>
                </c:pt>
                <c:pt idx="5">
                  <c:v>6.2843915343915304</c:v>
                </c:pt>
                <c:pt idx="6">
                  <c:v>6.3132686084142442</c:v>
                </c:pt>
                <c:pt idx="7">
                  <c:v>4.189519852262233</c:v>
                </c:pt>
                <c:pt idx="8">
                  <c:v>13.386775362318838</c:v>
                </c:pt>
                <c:pt idx="9">
                  <c:v>105.04320987654319</c:v>
                </c:pt>
                <c:pt idx="10">
                  <c:v>7.9782312925170045</c:v>
                </c:pt>
                <c:pt idx="11">
                  <c:v>9.443615257048090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E6E5E5"/>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20EC4DF5-7D60-4A53-8A46-09724B87AB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F09F08E4-869A-419A-B534-2819ABD171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0CA132A9-DF9B-4661-BFC9-8B12142EFC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E91C33AF-F48B-4806-889B-C5FD525692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8F1C3E44-50E9-47AC-BC77-04EEE40244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C1B810FD-05C4-45F2-8FFE-7797D57768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FF45AB07-5E90-4033-B56E-6E02536B0F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1AB74B3E-3C7F-4E4D-A704-ED065C784D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1.3308</c:v>
                </c:pt>
                <c:pt idx="1">
                  <c:v>10.934200000000001</c:v>
                </c:pt>
                <c:pt idx="2">
                  <c:v>12.5726</c:v>
                </c:pt>
                <c:pt idx="3">
                  <c:v>10.959199999999999</c:v>
                </c:pt>
                <c:pt idx="4">
                  <c:v>10.8073</c:v>
                </c:pt>
              </c:numCache>
            </c:numRef>
          </c:xVal>
          <c:yVal>
            <c:numRef>
              <c:f>Sheet1!$B$2:$B$6</c:f>
              <c:numCache>
                <c:formatCode>General</c:formatCode>
                <c:ptCount val="5"/>
                <c:pt idx="0">
                  <c:v>0.52210000000000001</c:v>
                </c:pt>
                <c:pt idx="1">
                  <c:v>0.51700000000000002</c:v>
                </c:pt>
                <c:pt idx="2">
                  <c:v>0.4138</c:v>
                </c:pt>
                <c:pt idx="3">
                  <c:v>0.49509999999999998</c:v>
                </c:pt>
                <c:pt idx="4">
                  <c:v>0.50060000000000004</c:v>
                </c:pt>
              </c:numCache>
            </c:numRef>
          </c:yVal>
          <c:bubbleSize>
            <c:numRef>
              <c:f>Sheet1!$C$2:$C$6</c:f>
              <c:numCache>
                <c:formatCode>General</c:formatCode>
                <c:ptCount val="5"/>
                <c:pt idx="0">
                  <c:v>2177503.0832000012</c:v>
                </c:pt>
                <c:pt idx="1">
                  <c:v>276426.57589999988</c:v>
                </c:pt>
                <c:pt idx="2">
                  <c:v>162437.62349999999</c:v>
                </c:pt>
                <c:pt idx="3">
                  <c:v>225946.3863000001</c:v>
                </c:pt>
                <c:pt idx="4">
                  <c:v>101783.1632000001</c:v>
                </c:pt>
              </c:numCache>
            </c:numRef>
          </c:bubbleSize>
          <c:bubble3D val="0"/>
          <c:extLst>
            <c:ext xmlns:c15="http://schemas.microsoft.com/office/drawing/2012/chart" uri="{02D57815-91ED-43cb-92C2-25804820EDAC}">
              <c15:datalabelsRange>
                <c15:f>Sheet1!$E$2:$E$29</c15:f>
                <c15:dlblRangeCache>
                  <c:ptCount val="28"/>
                  <c:pt idx="0">
                    <c:v>NICOLAS IDF</c:v>
                  </c:pt>
                  <c:pt idx="1">
                    <c:v>NICOLAS PAC</c:v>
                  </c:pt>
                  <c:pt idx="2">
                    <c:v>NICOLAS EST</c:v>
                  </c:pt>
                  <c:pt idx="3">
                    <c:v>NICOLAS RHO</c:v>
                  </c:pt>
                  <c:pt idx="4">
                    <c:v>NICOLAS AQU</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5.087119999999999"/>
          <c:min val="8.6458399999999997"/>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51283037941433007"/>
        <c:crossBetween val="midCat"/>
      </c:valAx>
      <c:valAx>
        <c:axId val="1011451359"/>
        <c:scaling>
          <c:orientation val="minMax"/>
          <c:max val="0.98652000000000006"/>
          <c:min val="9.104000000000001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1.31546052416091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9.03</c:v>
                </c:pt>
                <c:pt idx="1">
                  <c:v>Av Price/Unit 58.04</c:v>
                </c:pt>
                <c:pt idx="2">
                  <c:v>Av Price/Unit 94.87</c:v>
                </c:pt>
                <c:pt idx="3">
                  <c:v>Av Price/Unit 37.27</c:v>
                </c:pt>
                <c:pt idx="4">
                  <c:v>Av Price/Unit 82.23</c:v>
                </c:pt>
                <c:pt idx="5">
                  <c:v>Av Price/Unit 25.23</c:v>
                </c:pt>
                <c:pt idx="6">
                  <c:v>Av Price/Unit 38.50</c:v>
                </c:pt>
                <c:pt idx="7">
                  <c:v>Av Price/Unit 224.74</c:v>
                </c:pt>
                <c:pt idx="8">
                  <c:v>Av Price/Unit 52.77</c:v>
                </c:pt>
                <c:pt idx="9">
                  <c:v>Av Price/Unit 37.44</c:v>
                </c:pt>
                <c:pt idx="10">
                  <c:v>Av Price/Unit 57.63</c:v>
                </c:pt>
                <c:pt idx="11">
                  <c:v>Av Price/Unit 48.95</c:v>
                </c:pt>
              </c:strCache>
            </c:strRef>
          </c:cat>
          <c:val>
            <c:numRef>
              <c:f>Sheet1!$B$2:$B$13</c:f>
              <c:numCache>
                <c:formatCode>General</c:formatCode>
                <c:ptCount val="12"/>
                <c:pt idx="0">
                  <c:v>29.279422247191011</c:v>
                </c:pt>
                <c:pt idx="1">
                  <c:v>19.861654787234041</c:v>
                </c:pt>
                <c:pt idx="2">
                  <c:v>31.273733333333329</c:v>
                </c:pt>
                <c:pt idx="3">
                  <c:v>12.505648603351956</c:v>
                </c:pt>
                <c:pt idx="4">
                  <c:v>26.698905333333329</c:v>
                </c:pt>
                <c:pt idx="5">
                  <c:v>5.3663905660377358</c:v>
                </c:pt>
                <c:pt idx="6">
                  <c:v>13.487936694677872</c:v>
                </c:pt>
                <c:pt idx="7">
                  <c:v>71.632667999999995</c:v>
                </c:pt>
                <c:pt idx="8">
                  <c:v>18.666691946308724</c:v>
                </c:pt>
                <c:pt idx="9">
                  <c:v>12.546676303317533</c:v>
                </c:pt>
                <c:pt idx="10">
                  <c:v>18.824413821138211</c:v>
                </c:pt>
                <c:pt idx="11">
                  <c:v>16.67731851851851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9.03</c:v>
                </c:pt>
                <c:pt idx="1">
                  <c:v>Av Price/Unit 58.04</c:v>
                </c:pt>
                <c:pt idx="2">
                  <c:v>Av Price/Unit 94.87</c:v>
                </c:pt>
                <c:pt idx="3">
                  <c:v>Av Price/Unit 37.27</c:v>
                </c:pt>
                <c:pt idx="4">
                  <c:v>Av Price/Unit 82.23</c:v>
                </c:pt>
                <c:pt idx="5">
                  <c:v>Av Price/Unit 25.23</c:v>
                </c:pt>
                <c:pt idx="6">
                  <c:v>Av Price/Unit 38.50</c:v>
                </c:pt>
                <c:pt idx="7">
                  <c:v>Av Price/Unit 224.74</c:v>
                </c:pt>
                <c:pt idx="8">
                  <c:v>Av Price/Unit 52.77</c:v>
                </c:pt>
                <c:pt idx="9">
                  <c:v>Av Price/Unit 37.44</c:v>
                </c:pt>
                <c:pt idx="10">
                  <c:v>Av Price/Unit 57.63</c:v>
                </c:pt>
                <c:pt idx="11">
                  <c:v>Av Price/Unit 48.95</c:v>
                </c:pt>
              </c:strCache>
            </c:strRef>
          </c:cat>
          <c:val>
            <c:numRef>
              <c:f>Sheet1!$C$2:$C$13</c:f>
              <c:numCache>
                <c:formatCode>General</c:formatCode>
                <c:ptCount val="12"/>
                <c:pt idx="0">
                  <c:v>42.847165617977531</c:v>
                </c:pt>
                <c:pt idx="1">
                  <c:v>27.325268262411338</c:v>
                </c:pt>
                <c:pt idx="2">
                  <c:v>44.658533333333331</c:v>
                </c:pt>
                <c:pt idx="3">
                  <c:v>18.440205027932961</c:v>
                </c:pt>
                <c:pt idx="4">
                  <c:v>40.734104000000002</c:v>
                </c:pt>
                <c:pt idx="5">
                  <c:v>15.466909433962263</c:v>
                </c:pt>
                <c:pt idx="6">
                  <c:v>17.073229691876747</c:v>
                </c:pt>
                <c:pt idx="7">
                  <c:v>100.21454</c:v>
                </c:pt>
                <c:pt idx="8">
                  <c:v>22.937606040268456</c:v>
                </c:pt>
                <c:pt idx="9">
                  <c:v>16.56736066350711</c:v>
                </c:pt>
                <c:pt idx="10">
                  <c:v>26.762951219512196</c:v>
                </c:pt>
                <c:pt idx="11">
                  <c:v>21.19133703703703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9.03</c:v>
                </c:pt>
                <c:pt idx="1">
                  <c:v>Av Price/Unit 58.04</c:v>
                </c:pt>
                <c:pt idx="2">
                  <c:v>Av Price/Unit 94.87</c:v>
                </c:pt>
                <c:pt idx="3">
                  <c:v>Av Price/Unit 37.27</c:v>
                </c:pt>
                <c:pt idx="4">
                  <c:v>Av Price/Unit 82.23</c:v>
                </c:pt>
                <c:pt idx="5">
                  <c:v>Av Price/Unit 25.23</c:v>
                </c:pt>
                <c:pt idx="6">
                  <c:v>Av Price/Unit 38.50</c:v>
                </c:pt>
                <c:pt idx="7">
                  <c:v>Av Price/Unit 224.74</c:v>
                </c:pt>
                <c:pt idx="8">
                  <c:v>Av Price/Unit 52.77</c:v>
                </c:pt>
                <c:pt idx="9">
                  <c:v>Av Price/Unit 37.44</c:v>
                </c:pt>
                <c:pt idx="10">
                  <c:v>Av Price/Unit 57.63</c:v>
                </c:pt>
                <c:pt idx="11">
                  <c:v>Av Price/Unit 48.95</c:v>
                </c:pt>
              </c:strCache>
            </c:strRef>
          </c:cat>
          <c:val>
            <c:numRef>
              <c:f>Sheet1!$D$2:$D$13</c:f>
              <c:numCache>
                <c:formatCode>General</c:formatCode>
                <c:ptCount val="12"/>
                <c:pt idx="0">
                  <c:v>2.0625507116105126</c:v>
                </c:pt>
                <c:pt idx="1">
                  <c:v>1.1818712765957358</c:v>
                </c:pt>
                <c:pt idx="2">
                  <c:v>3.1233555555555483</c:v>
                </c:pt>
                <c:pt idx="3">
                  <c:v>0.11210726256982895</c:v>
                </c:pt>
                <c:pt idx="4">
                  <c:v>1.0929592592592741</c:v>
                </c:pt>
                <c:pt idx="5">
                  <c:v>0.19342955974842724</c:v>
                </c:pt>
                <c:pt idx="6">
                  <c:v>1.5209998132586371</c:v>
                </c:pt>
                <c:pt idx="7">
                  <c:v>15.436125333333365</c:v>
                </c:pt>
                <c:pt idx="8">
                  <c:v>2.3666192393736054</c:v>
                </c:pt>
                <c:pt idx="9">
                  <c:v>2.0826454976303346</c:v>
                </c:pt>
                <c:pt idx="10">
                  <c:v>2.4410902439024511</c:v>
                </c:pt>
                <c:pt idx="11">
                  <c:v>2.921467901234571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9.03</c:v>
                </c:pt>
                <c:pt idx="1">
                  <c:v>Av Price/Unit 58.04</c:v>
                </c:pt>
                <c:pt idx="2">
                  <c:v>Av Price/Unit 94.87</c:v>
                </c:pt>
                <c:pt idx="3">
                  <c:v>Av Price/Unit 37.27</c:v>
                </c:pt>
                <c:pt idx="4">
                  <c:v>Av Price/Unit 82.23</c:v>
                </c:pt>
                <c:pt idx="5">
                  <c:v>Av Price/Unit 25.23</c:v>
                </c:pt>
                <c:pt idx="6">
                  <c:v>Av Price/Unit 38.50</c:v>
                </c:pt>
                <c:pt idx="7">
                  <c:v>Av Price/Unit 224.74</c:v>
                </c:pt>
                <c:pt idx="8">
                  <c:v>Av Price/Unit 52.77</c:v>
                </c:pt>
                <c:pt idx="9">
                  <c:v>Av Price/Unit 37.44</c:v>
                </c:pt>
                <c:pt idx="10">
                  <c:v>Av Price/Unit 57.63</c:v>
                </c:pt>
                <c:pt idx="11">
                  <c:v>Av Price/Unit 48.95</c:v>
                </c:pt>
              </c:strCache>
            </c:strRef>
          </c:cat>
          <c:val>
            <c:numRef>
              <c:f>Sheet1!$E$2:$E$13</c:f>
              <c:numCache>
                <c:formatCode>General</c:formatCode>
                <c:ptCount val="12"/>
                <c:pt idx="0">
                  <c:v>14.837827715355795</c:v>
                </c:pt>
                <c:pt idx="1">
                  <c:v>9.6737588652482263</c:v>
                </c:pt>
                <c:pt idx="2">
                  <c:v>15.811111111111115</c:v>
                </c:pt>
                <c:pt idx="3">
                  <c:v>6.2115921787709496</c:v>
                </c:pt>
                <c:pt idx="4">
                  <c:v>13.705185185185174</c:v>
                </c:pt>
                <c:pt idx="5">
                  <c:v>4.2053459119496832</c:v>
                </c:pt>
                <c:pt idx="6">
                  <c:v>6.4164332399626502</c:v>
                </c:pt>
                <c:pt idx="7">
                  <c:v>37.456666666666642</c:v>
                </c:pt>
                <c:pt idx="8">
                  <c:v>8.7941834451901553</c:v>
                </c:pt>
                <c:pt idx="9">
                  <c:v>6.2393364928909953</c:v>
                </c:pt>
                <c:pt idx="10">
                  <c:v>9.6056910569105618</c:v>
                </c:pt>
                <c:pt idx="11">
                  <c:v>8.158024691358022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36</c:v>
                </c:pt>
                <c:pt idx="1">
                  <c:v>Av Price/Unit 57.06</c:v>
                </c:pt>
                <c:pt idx="2">
                  <c:v>Av Price/Unit 37.29</c:v>
                </c:pt>
                <c:pt idx="3">
                  <c:v>Av Price/Unit 79.79</c:v>
                </c:pt>
                <c:pt idx="4">
                  <c:v>Av Price/Unit 92.86</c:v>
                </c:pt>
                <c:pt idx="5">
                  <c:v>Av Price/Unit 25.02</c:v>
                </c:pt>
                <c:pt idx="6">
                  <c:v>Av Price/Unit 37.46</c:v>
                </c:pt>
                <c:pt idx="7">
                  <c:v>Av Price/Unit 36.01</c:v>
                </c:pt>
                <c:pt idx="8">
                  <c:v>Av Price/Unit 46.96</c:v>
                </c:pt>
                <c:pt idx="9">
                  <c:v>Av Price/Unit 50.99</c:v>
                </c:pt>
                <c:pt idx="10">
                  <c:v>Av Price/Unit 561.09</c:v>
                </c:pt>
                <c:pt idx="11">
                  <c:v>Av Price/Unit 615.21</c:v>
                </c:pt>
              </c:strCache>
            </c:strRef>
          </c:cat>
          <c:val>
            <c:numRef>
              <c:f>Sheet1!$B$2:$B$13</c:f>
              <c:numCache>
                <c:formatCode>General</c:formatCode>
                <c:ptCount val="12"/>
                <c:pt idx="0">
                  <c:v>29.315919243020421</c:v>
                </c:pt>
                <c:pt idx="1">
                  <c:v>19.71560707594513</c:v>
                </c:pt>
                <c:pt idx="2">
                  <c:v>12.504364041231664</c:v>
                </c:pt>
                <c:pt idx="3">
                  <c:v>26.12166888331242</c:v>
                </c:pt>
                <c:pt idx="4">
                  <c:v>31.24893331960461</c:v>
                </c:pt>
                <c:pt idx="5">
                  <c:v>5.3321214589838206</c:v>
                </c:pt>
                <c:pt idx="6">
                  <c:v>13.368803594322346</c:v>
                </c:pt>
                <c:pt idx="7">
                  <c:v>12.540327814569537</c:v>
                </c:pt>
                <c:pt idx="8">
                  <c:v>16.539379101972305</c:v>
                </c:pt>
                <c:pt idx="9">
                  <c:v>18.669381576354677</c:v>
                </c:pt>
                <c:pt idx="10">
                  <c:v>165.18215714285714</c:v>
                </c:pt>
                <c:pt idx="11">
                  <c:v>205.85490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36</c:v>
                </c:pt>
                <c:pt idx="1">
                  <c:v>Av Price/Unit 57.06</c:v>
                </c:pt>
                <c:pt idx="2">
                  <c:v>Av Price/Unit 37.29</c:v>
                </c:pt>
                <c:pt idx="3">
                  <c:v>Av Price/Unit 79.79</c:v>
                </c:pt>
                <c:pt idx="4">
                  <c:v>Av Price/Unit 92.86</c:v>
                </c:pt>
                <c:pt idx="5">
                  <c:v>Av Price/Unit 25.02</c:v>
                </c:pt>
                <c:pt idx="6">
                  <c:v>Av Price/Unit 37.46</c:v>
                </c:pt>
                <c:pt idx="7">
                  <c:v>Av Price/Unit 36.01</c:v>
                </c:pt>
                <c:pt idx="8">
                  <c:v>Av Price/Unit 46.96</c:v>
                </c:pt>
                <c:pt idx="9">
                  <c:v>Av Price/Unit 50.99</c:v>
                </c:pt>
                <c:pt idx="10">
                  <c:v>Av Price/Unit 561.09</c:v>
                </c:pt>
                <c:pt idx="11">
                  <c:v>Av Price/Unit 615.21</c:v>
                </c:pt>
              </c:strCache>
            </c:strRef>
          </c:cat>
          <c:val>
            <c:numRef>
              <c:f>Sheet1!$C$2:$C$13</c:f>
              <c:numCache>
                <c:formatCode>General</c:formatCode>
                <c:ptCount val="12"/>
                <c:pt idx="0">
                  <c:v>42.82597498594717</c:v>
                </c:pt>
                <c:pt idx="1">
                  <c:v>27.360581983941113</c:v>
                </c:pt>
                <c:pt idx="2">
                  <c:v>18.436438086427909</c:v>
                </c:pt>
                <c:pt idx="3">
                  <c:v>40.74171518193225</c:v>
                </c:pt>
                <c:pt idx="4">
                  <c:v>44.674494439868212</c:v>
                </c:pt>
                <c:pt idx="5">
                  <c:v>15.501178541016181</c:v>
                </c:pt>
                <c:pt idx="6">
                  <c:v>17.035143315018313</c:v>
                </c:pt>
                <c:pt idx="7">
                  <c:v>16.56016799116998</c:v>
                </c:pt>
                <c:pt idx="8">
                  <c:v>21.24019341166597</c:v>
                </c:pt>
                <c:pt idx="9">
                  <c:v>22.959563448275858</c:v>
                </c:pt>
                <c:pt idx="10">
                  <c:v>293.15114285714287</c:v>
                </c:pt>
                <c:pt idx="11">
                  <c:v>309.8713000000000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36</c:v>
                </c:pt>
                <c:pt idx="1">
                  <c:v>Av Price/Unit 57.06</c:v>
                </c:pt>
                <c:pt idx="2">
                  <c:v>Av Price/Unit 37.29</c:v>
                </c:pt>
                <c:pt idx="3">
                  <c:v>Av Price/Unit 79.79</c:v>
                </c:pt>
                <c:pt idx="4">
                  <c:v>Av Price/Unit 92.86</c:v>
                </c:pt>
                <c:pt idx="5">
                  <c:v>Av Price/Unit 25.02</c:v>
                </c:pt>
                <c:pt idx="6">
                  <c:v>Av Price/Unit 37.46</c:v>
                </c:pt>
                <c:pt idx="7">
                  <c:v>Av Price/Unit 36.01</c:v>
                </c:pt>
                <c:pt idx="8">
                  <c:v>Av Price/Unit 46.96</c:v>
                </c:pt>
                <c:pt idx="9">
                  <c:v>Av Price/Unit 50.99</c:v>
                </c:pt>
                <c:pt idx="10">
                  <c:v>Av Price/Unit 561.09</c:v>
                </c:pt>
                <c:pt idx="11">
                  <c:v>Av Price/Unit 615.21</c:v>
                </c:pt>
              </c:strCache>
            </c:strRef>
          </c:cat>
          <c:val>
            <c:numRef>
              <c:f>Sheet1!$D$2:$D$13</c:f>
              <c:numCache>
                <c:formatCode>General</c:formatCode>
                <c:ptCount val="12"/>
                <c:pt idx="0">
                  <c:v>1.4945119917556866</c:v>
                </c:pt>
                <c:pt idx="1">
                  <c:v>0.47064934760789612</c:v>
                </c:pt>
                <c:pt idx="2">
                  <c:v>0.13271886260516297</c:v>
                </c:pt>
                <c:pt idx="3">
                  <c:v>-0.37389493935590679</c:v>
                </c:pt>
                <c:pt idx="4">
                  <c:v>1.463032523338839</c:v>
                </c:pt>
                <c:pt idx="5">
                  <c:v>1.7064272873501096E-2</c:v>
                </c:pt>
                <c:pt idx="6">
                  <c:v>0.81648196733822687</c:v>
                </c:pt>
                <c:pt idx="7">
                  <c:v>0.9070924944812333</c:v>
                </c:pt>
                <c:pt idx="8">
                  <c:v>1.3566703175269339</c:v>
                </c:pt>
                <c:pt idx="9">
                  <c:v>0.8657183579638712</c:v>
                </c:pt>
                <c:pt idx="10">
                  <c:v>9.2443397515528432</c:v>
                </c:pt>
                <c:pt idx="11">
                  <c:v>-3.053585952381013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36</c:v>
                </c:pt>
                <c:pt idx="1">
                  <c:v>Av Price/Unit 57.06</c:v>
                </c:pt>
                <c:pt idx="2">
                  <c:v>Av Price/Unit 37.29</c:v>
                </c:pt>
                <c:pt idx="3">
                  <c:v>Av Price/Unit 79.79</c:v>
                </c:pt>
                <c:pt idx="4">
                  <c:v>Av Price/Unit 92.86</c:v>
                </c:pt>
                <c:pt idx="5">
                  <c:v>Av Price/Unit 25.02</c:v>
                </c:pt>
                <c:pt idx="6">
                  <c:v>Av Price/Unit 37.46</c:v>
                </c:pt>
                <c:pt idx="7">
                  <c:v>Av Price/Unit 36.01</c:v>
                </c:pt>
                <c:pt idx="8">
                  <c:v>Av Price/Unit 46.96</c:v>
                </c:pt>
                <c:pt idx="9">
                  <c:v>Av Price/Unit 50.99</c:v>
                </c:pt>
                <c:pt idx="10">
                  <c:v>Av Price/Unit 561.09</c:v>
                </c:pt>
                <c:pt idx="11">
                  <c:v>Av Price/Unit 615.21</c:v>
                </c:pt>
              </c:strCache>
            </c:strRef>
          </c:cat>
          <c:val>
            <c:numRef>
              <c:f>Sheet1!$E$2:$E$13</c:f>
              <c:numCache>
                <c:formatCode>General</c:formatCode>
                <c:ptCount val="12"/>
                <c:pt idx="0">
                  <c:v>14.72728124414464</c:v>
                </c:pt>
                <c:pt idx="1">
                  <c:v>9.5093676814988193</c:v>
                </c:pt>
                <c:pt idx="2">
                  <c:v>6.214704198052952</c:v>
                </c:pt>
                <c:pt idx="3">
                  <c:v>13.297887913007099</c:v>
                </c:pt>
                <c:pt idx="4">
                  <c:v>15.477278967600212</c:v>
                </c:pt>
                <c:pt idx="5">
                  <c:v>4.1700728545746966</c:v>
                </c:pt>
                <c:pt idx="6">
                  <c:v>6.2440857753357735</c:v>
                </c:pt>
                <c:pt idx="7">
                  <c:v>6.0015176600441498</c:v>
                </c:pt>
                <c:pt idx="8">
                  <c:v>7.8272485662330311</c:v>
                </c:pt>
                <c:pt idx="9">
                  <c:v>8.4989326765188817</c:v>
                </c:pt>
                <c:pt idx="10">
                  <c:v>93.515527950310471</c:v>
                </c:pt>
                <c:pt idx="11">
                  <c:v>102.5345238095237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9.29</c:v>
                </c:pt>
                <c:pt idx="1">
                  <c:v>Av Price/Unit 81.11</c:v>
                </c:pt>
                <c:pt idx="2">
                  <c:v>Av Price/Unit 57.90</c:v>
                </c:pt>
                <c:pt idx="3">
                  <c:v>Av Price/Unit 37.22</c:v>
                </c:pt>
                <c:pt idx="4">
                  <c:v>Av Price/Unit 95.14</c:v>
                </c:pt>
                <c:pt idx="5">
                  <c:v>Av Price/Unit 25.07</c:v>
                </c:pt>
                <c:pt idx="6">
                  <c:v>Av Price/Unit 37.95</c:v>
                </c:pt>
                <c:pt idx="7">
                  <c:v>Av Price/Unit 50.93</c:v>
                </c:pt>
                <c:pt idx="8">
                  <c:v>Av Price/Unit 222.72</c:v>
                </c:pt>
                <c:pt idx="9">
                  <c:v>Av Price/Unit 48.06</c:v>
                </c:pt>
                <c:pt idx="10">
                  <c:v>Av Price/Unit 36.98</c:v>
                </c:pt>
                <c:pt idx="11">
                  <c:v>Av Price/Unit 82.78</c:v>
                </c:pt>
              </c:strCache>
            </c:strRef>
          </c:cat>
          <c:val>
            <c:numRef>
              <c:f>Sheet1!$B$2:$B$13</c:f>
              <c:numCache>
                <c:formatCode>General</c:formatCode>
                <c:ptCount val="12"/>
                <c:pt idx="0">
                  <c:v>29.481266824196595</c:v>
                </c:pt>
                <c:pt idx="1">
                  <c:v>26.485150129198967</c:v>
                </c:pt>
                <c:pt idx="2">
                  <c:v>19.780717381228268</c:v>
                </c:pt>
                <c:pt idx="3">
                  <c:v>12.508559948320412</c:v>
                </c:pt>
                <c:pt idx="4">
                  <c:v>31.351013577586205</c:v>
                </c:pt>
                <c:pt idx="5">
                  <c:v>5.3686472563472565</c:v>
                </c:pt>
                <c:pt idx="6">
                  <c:v>13.417440710823909</c:v>
                </c:pt>
                <c:pt idx="7">
                  <c:v>18.665062116991646</c:v>
                </c:pt>
                <c:pt idx="8">
                  <c:v>71.709292000000005</c:v>
                </c:pt>
                <c:pt idx="9">
                  <c:v>16.664477902621723</c:v>
                </c:pt>
                <c:pt idx="10">
                  <c:v>12.546864350453172</c:v>
                </c:pt>
                <c:pt idx="11">
                  <c:v>27.05970078740157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9.29</c:v>
                </c:pt>
                <c:pt idx="1">
                  <c:v>Av Price/Unit 81.11</c:v>
                </c:pt>
                <c:pt idx="2">
                  <c:v>Av Price/Unit 57.90</c:v>
                </c:pt>
                <c:pt idx="3">
                  <c:v>Av Price/Unit 37.22</c:v>
                </c:pt>
                <c:pt idx="4">
                  <c:v>Av Price/Unit 95.14</c:v>
                </c:pt>
                <c:pt idx="5">
                  <c:v>Av Price/Unit 25.07</c:v>
                </c:pt>
                <c:pt idx="6">
                  <c:v>Av Price/Unit 37.95</c:v>
                </c:pt>
                <c:pt idx="7">
                  <c:v>Av Price/Unit 50.93</c:v>
                </c:pt>
                <c:pt idx="8">
                  <c:v>Av Price/Unit 222.72</c:v>
                </c:pt>
                <c:pt idx="9">
                  <c:v>Av Price/Unit 48.06</c:v>
                </c:pt>
                <c:pt idx="10">
                  <c:v>Av Price/Unit 36.98</c:v>
                </c:pt>
                <c:pt idx="11">
                  <c:v>Av Price/Unit 82.78</c:v>
                </c:pt>
              </c:strCache>
            </c:strRef>
          </c:cat>
          <c:val>
            <c:numRef>
              <c:f>Sheet1!$C$2:$C$13</c:f>
              <c:numCache>
                <c:formatCode>General</c:formatCode>
                <c:ptCount val="12"/>
                <c:pt idx="0">
                  <c:v>42.729972022684308</c:v>
                </c:pt>
                <c:pt idx="1">
                  <c:v>40.736922480620159</c:v>
                </c:pt>
                <c:pt idx="2">
                  <c:v>27.34483858632677</c:v>
                </c:pt>
                <c:pt idx="3">
                  <c:v>18.448742463393629</c:v>
                </c:pt>
                <c:pt idx="4">
                  <c:v>44.6087963362069</c:v>
                </c:pt>
                <c:pt idx="5">
                  <c:v>15.464652743652744</c:v>
                </c:pt>
                <c:pt idx="6">
                  <c:v>17.05069240710824</c:v>
                </c:pt>
                <c:pt idx="7">
                  <c:v>22.924300557103066</c:v>
                </c:pt>
                <c:pt idx="8">
                  <c:v>100.15862666666666</c:v>
                </c:pt>
                <c:pt idx="9">
                  <c:v>21.195885018726589</c:v>
                </c:pt>
                <c:pt idx="10">
                  <c:v>16.567573716012085</c:v>
                </c:pt>
                <c:pt idx="11">
                  <c:v>38.43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9.29</c:v>
                </c:pt>
                <c:pt idx="1">
                  <c:v>Av Price/Unit 81.11</c:v>
                </c:pt>
                <c:pt idx="2">
                  <c:v>Av Price/Unit 57.90</c:v>
                </c:pt>
                <c:pt idx="3">
                  <c:v>Av Price/Unit 37.22</c:v>
                </c:pt>
                <c:pt idx="4">
                  <c:v>Av Price/Unit 95.14</c:v>
                </c:pt>
                <c:pt idx="5">
                  <c:v>Av Price/Unit 25.07</c:v>
                </c:pt>
                <c:pt idx="6">
                  <c:v>Av Price/Unit 37.95</c:v>
                </c:pt>
                <c:pt idx="7">
                  <c:v>Av Price/Unit 50.93</c:v>
                </c:pt>
                <c:pt idx="8">
                  <c:v>Av Price/Unit 222.72</c:v>
                </c:pt>
                <c:pt idx="9">
                  <c:v>Av Price/Unit 48.06</c:v>
                </c:pt>
                <c:pt idx="10">
                  <c:v>Av Price/Unit 36.98</c:v>
                </c:pt>
                <c:pt idx="11">
                  <c:v>Av Price/Unit 82.78</c:v>
                </c:pt>
              </c:strCache>
            </c:strRef>
          </c:cat>
          <c:val>
            <c:numRef>
              <c:f>Sheet1!$D$2:$D$13</c:f>
              <c:numCache>
                <c:formatCode>General</c:formatCode>
                <c:ptCount val="12"/>
                <c:pt idx="0">
                  <c:v>2.2003868620037821</c:v>
                </c:pt>
                <c:pt idx="1">
                  <c:v>0.37164186046511816</c:v>
                </c:pt>
                <c:pt idx="2">
                  <c:v>1.1247337195828351</c:v>
                </c:pt>
                <c:pt idx="3">
                  <c:v>6.1216106804483417E-2</c:v>
                </c:pt>
                <c:pt idx="4">
                  <c:v>3.3200737787356189</c:v>
                </c:pt>
                <c:pt idx="5">
                  <c:v>6.0775894075895565E-2</c:v>
                </c:pt>
                <c:pt idx="6">
                  <c:v>1.1541070543887955</c:v>
                </c:pt>
                <c:pt idx="7">
                  <c:v>0.85492701949861072</c:v>
                </c:pt>
                <c:pt idx="8">
                  <c:v>13.732081333333383</c:v>
                </c:pt>
                <c:pt idx="9">
                  <c:v>2.1864535580524347</c:v>
                </c:pt>
                <c:pt idx="10">
                  <c:v>1.6987542799597151</c:v>
                </c:pt>
                <c:pt idx="11">
                  <c:v>3.484238845144361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9.29</c:v>
                </c:pt>
                <c:pt idx="1">
                  <c:v>Av Price/Unit 81.11</c:v>
                </c:pt>
                <c:pt idx="2">
                  <c:v>Av Price/Unit 57.90</c:v>
                </c:pt>
                <c:pt idx="3">
                  <c:v>Av Price/Unit 37.22</c:v>
                </c:pt>
                <c:pt idx="4">
                  <c:v>Av Price/Unit 95.14</c:v>
                </c:pt>
                <c:pt idx="5">
                  <c:v>Av Price/Unit 25.07</c:v>
                </c:pt>
                <c:pt idx="6">
                  <c:v>Av Price/Unit 37.95</c:v>
                </c:pt>
                <c:pt idx="7">
                  <c:v>Av Price/Unit 50.93</c:v>
                </c:pt>
                <c:pt idx="8">
                  <c:v>Av Price/Unit 222.72</c:v>
                </c:pt>
                <c:pt idx="9">
                  <c:v>Av Price/Unit 48.06</c:v>
                </c:pt>
                <c:pt idx="10">
                  <c:v>Av Price/Unit 36.98</c:v>
                </c:pt>
                <c:pt idx="11">
                  <c:v>Av Price/Unit 82.78</c:v>
                </c:pt>
              </c:strCache>
            </c:strRef>
          </c:cat>
          <c:val>
            <c:numRef>
              <c:f>Sheet1!$E$2:$E$13</c:f>
              <c:numCache>
                <c:formatCode>General</c:formatCode>
                <c:ptCount val="12"/>
                <c:pt idx="0">
                  <c:v>14.882325141776938</c:v>
                </c:pt>
                <c:pt idx="1">
                  <c:v>13.518733850129198</c:v>
                </c:pt>
                <c:pt idx="2">
                  <c:v>9.6500579374275866</c:v>
                </c:pt>
                <c:pt idx="3">
                  <c:v>6.2037037037037033</c:v>
                </c:pt>
                <c:pt idx="4">
                  <c:v>15.855962643678172</c:v>
                </c:pt>
                <c:pt idx="5">
                  <c:v>4.1788151788151753</c:v>
                </c:pt>
                <c:pt idx="6">
                  <c:v>6.3244480344641936</c:v>
                </c:pt>
                <c:pt idx="7">
                  <c:v>8.4888579387186631</c:v>
                </c:pt>
                <c:pt idx="8">
                  <c:v>37.119999999999955</c:v>
                </c:pt>
                <c:pt idx="9">
                  <c:v>8.0093632958801493</c:v>
                </c:pt>
                <c:pt idx="10">
                  <c:v>6.1626384692849969</c:v>
                </c:pt>
                <c:pt idx="11">
                  <c:v>13.79658792650918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51</c:v>
                </c:pt>
                <c:pt idx="1">
                  <c:v>Av Price/Unit 57.99</c:v>
                </c:pt>
                <c:pt idx="2">
                  <c:v>Av Price/Unit 93.95</c:v>
                </c:pt>
                <c:pt idx="3">
                  <c:v>Av Price/Unit 81.42</c:v>
                </c:pt>
                <c:pt idx="4">
                  <c:v>Av Price/Unit 37.59</c:v>
                </c:pt>
                <c:pt idx="5">
                  <c:v>Av Price/Unit 25.17</c:v>
                </c:pt>
                <c:pt idx="6">
                  <c:v>Av Price/Unit 38.34</c:v>
                </c:pt>
                <c:pt idx="7">
                  <c:v>Av Price/Unit 49.04</c:v>
                </c:pt>
                <c:pt idx="8">
                  <c:v>Av Price/Unit 220.47</c:v>
                </c:pt>
                <c:pt idx="9">
                  <c:v>Av Price/Unit 51.88</c:v>
                </c:pt>
                <c:pt idx="10">
                  <c:v>Av Price/Unit 37.16</c:v>
                </c:pt>
                <c:pt idx="11">
                  <c:v>Av Price/Unit 57.48</c:v>
                </c:pt>
              </c:strCache>
            </c:strRef>
          </c:cat>
          <c:val>
            <c:numRef>
              <c:f>Sheet1!$B$2:$B$13</c:f>
              <c:numCache>
                <c:formatCode>General</c:formatCode>
                <c:ptCount val="12"/>
                <c:pt idx="0">
                  <c:v>29.424747150259062</c:v>
                </c:pt>
                <c:pt idx="1">
                  <c:v>19.801856084656084</c:v>
                </c:pt>
                <c:pt idx="2">
                  <c:v>31.29714394463668</c:v>
                </c:pt>
                <c:pt idx="3">
                  <c:v>26.89058452830189</c:v>
                </c:pt>
                <c:pt idx="4">
                  <c:v>12.511587452471485</c:v>
                </c:pt>
                <c:pt idx="5">
                  <c:v>5.3615683284457472</c:v>
                </c:pt>
                <c:pt idx="6">
                  <c:v>13.458397940503433</c:v>
                </c:pt>
                <c:pt idx="7">
                  <c:v>16.534844692737433</c:v>
                </c:pt>
                <c:pt idx="8">
                  <c:v>70.440963157894743</c:v>
                </c:pt>
                <c:pt idx="9">
                  <c:v>18.666770512820513</c:v>
                </c:pt>
                <c:pt idx="10">
                  <c:v>12.550090186915886</c:v>
                </c:pt>
                <c:pt idx="11">
                  <c:v>19.0584271929824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51</c:v>
                </c:pt>
                <c:pt idx="1">
                  <c:v>Av Price/Unit 57.99</c:v>
                </c:pt>
                <c:pt idx="2">
                  <c:v>Av Price/Unit 93.95</c:v>
                </c:pt>
                <c:pt idx="3">
                  <c:v>Av Price/Unit 81.42</c:v>
                </c:pt>
                <c:pt idx="4">
                  <c:v>Av Price/Unit 37.59</c:v>
                </c:pt>
                <c:pt idx="5">
                  <c:v>Av Price/Unit 25.17</c:v>
                </c:pt>
                <c:pt idx="6">
                  <c:v>Av Price/Unit 38.34</c:v>
                </c:pt>
                <c:pt idx="7">
                  <c:v>Av Price/Unit 49.04</c:v>
                </c:pt>
                <c:pt idx="8">
                  <c:v>Av Price/Unit 220.47</c:v>
                </c:pt>
                <c:pt idx="9">
                  <c:v>Av Price/Unit 51.88</c:v>
                </c:pt>
                <c:pt idx="10">
                  <c:v>Av Price/Unit 37.16</c:v>
                </c:pt>
                <c:pt idx="11">
                  <c:v>Av Price/Unit 57.48</c:v>
                </c:pt>
              </c:strCache>
            </c:strRef>
          </c:cat>
          <c:val>
            <c:numRef>
              <c:f>Sheet1!$C$2:$C$13</c:f>
              <c:numCache>
                <c:formatCode>General</c:formatCode>
                <c:ptCount val="12"/>
                <c:pt idx="0">
                  <c:v>42.762788082901558</c:v>
                </c:pt>
                <c:pt idx="1">
                  <c:v>27.339727336860673</c:v>
                </c:pt>
                <c:pt idx="2">
                  <c:v>44.643466435986156</c:v>
                </c:pt>
                <c:pt idx="3">
                  <c:v>40.731576603773576</c:v>
                </c:pt>
                <c:pt idx="4">
                  <c:v>18.457620532319392</c:v>
                </c:pt>
                <c:pt idx="5">
                  <c:v>15.471731671554252</c:v>
                </c:pt>
                <c:pt idx="6">
                  <c:v>17.063786270022881</c:v>
                </c:pt>
                <c:pt idx="7">
                  <c:v>21.241799441340778</c:v>
                </c:pt>
                <c:pt idx="8">
                  <c:v>101.0841394736842</c:v>
                </c:pt>
                <c:pt idx="9">
                  <c:v>22.938247435897434</c:v>
                </c:pt>
                <c:pt idx="10">
                  <c:v>16.571228504672895</c:v>
                </c:pt>
                <c:pt idx="11">
                  <c:v>26.79680263157895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51</c:v>
                </c:pt>
                <c:pt idx="1">
                  <c:v>Av Price/Unit 57.99</c:v>
                </c:pt>
                <c:pt idx="2">
                  <c:v>Av Price/Unit 93.95</c:v>
                </c:pt>
                <c:pt idx="3">
                  <c:v>Av Price/Unit 81.42</c:v>
                </c:pt>
                <c:pt idx="4">
                  <c:v>Av Price/Unit 37.59</c:v>
                </c:pt>
                <c:pt idx="5">
                  <c:v>Av Price/Unit 25.17</c:v>
                </c:pt>
                <c:pt idx="6">
                  <c:v>Av Price/Unit 38.34</c:v>
                </c:pt>
                <c:pt idx="7">
                  <c:v>Av Price/Unit 49.04</c:v>
                </c:pt>
                <c:pt idx="8">
                  <c:v>Av Price/Unit 220.47</c:v>
                </c:pt>
                <c:pt idx="9">
                  <c:v>Av Price/Unit 51.88</c:v>
                </c:pt>
                <c:pt idx="10">
                  <c:v>Av Price/Unit 37.16</c:v>
                </c:pt>
                <c:pt idx="11">
                  <c:v>Av Price/Unit 57.48</c:v>
                </c:pt>
              </c:strCache>
            </c:strRef>
          </c:cat>
          <c:val>
            <c:numRef>
              <c:f>Sheet1!$D$2:$D$13</c:f>
              <c:numCache>
                <c:formatCode>General</c:formatCode>
                <c:ptCount val="12"/>
                <c:pt idx="0">
                  <c:v>1.5667825561312725</c:v>
                </c:pt>
                <c:pt idx="1">
                  <c:v>1.1844012933568422</c:v>
                </c:pt>
                <c:pt idx="2">
                  <c:v>2.3495381776239981</c:v>
                </c:pt>
                <c:pt idx="3">
                  <c:v>0.22379119496855537</c:v>
                </c:pt>
                <c:pt idx="4">
                  <c:v>0.35525335868187469</c:v>
                </c:pt>
                <c:pt idx="5">
                  <c:v>0.14299521016617689</c:v>
                </c:pt>
                <c:pt idx="6">
                  <c:v>1.4286167048054921</c:v>
                </c:pt>
                <c:pt idx="7">
                  <c:v>3.0939331471135958</c:v>
                </c:pt>
                <c:pt idx="8">
                  <c:v>12.202967543859643</c:v>
                </c:pt>
                <c:pt idx="9">
                  <c:v>1.6268196581196577</c:v>
                </c:pt>
                <c:pt idx="10">
                  <c:v>1.8483074766355152</c:v>
                </c:pt>
                <c:pt idx="11">
                  <c:v>2.046816959064329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51</c:v>
                </c:pt>
                <c:pt idx="1">
                  <c:v>Av Price/Unit 57.99</c:v>
                </c:pt>
                <c:pt idx="2">
                  <c:v>Av Price/Unit 93.95</c:v>
                </c:pt>
                <c:pt idx="3">
                  <c:v>Av Price/Unit 81.42</c:v>
                </c:pt>
                <c:pt idx="4">
                  <c:v>Av Price/Unit 37.59</c:v>
                </c:pt>
                <c:pt idx="5">
                  <c:v>Av Price/Unit 25.17</c:v>
                </c:pt>
                <c:pt idx="6">
                  <c:v>Av Price/Unit 38.34</c:v>
                </c:pt>
                <c:pt idx="7">
                  <c:v>Av Price/Unit 49.04</c:v>
                </c:pt>
                <c:pt idx="8">
                  <c:v>Av Price/Unit 220.47</c:v>
                </c:pt>
                <c:pt idx="9">
                  <c:v>Av Price/Unit 51.88</c:v>
                </c:pt>
                <c:pt idx="10">
                  <c:v>Av Price/Unit 37.16</c:v>
                </c:pt>
                <c:pt idx="11">
                  <c:v>Av Price/Unit 57.48</c:v>
                </c:pt>
              </c:strCache>
            </c:strRef>
          </c:cat>
          <c:val>
            <c:numRef>
              <c:f>Sheet1!$E$2:$E$13</c:f>
              <c:numCache>
                <c:formatCode>General</c:formatCode>
                <c:ptCount val="12"/>
                <c:pt idx="0">
                  <c:v>14.750863557858374</c:v>
                </c:pt>
                <c:pt idx="1">
                  <c:v>9.6651969429747222</c:v>
                </c:pt>
                <c:pt idx="2">
                  <c:v>15.658016147635529</c:v>
                </c:pt>
                <c:pt idx="3">
                  <c:v>13.569182389937103</c:v>
                </c:pt>
                <c:pt idx="4">
                  <c:v>6.2648922686945481</c:v>
                </c:pt>
                <c:pt idx="5">
                  <c:v>4.1952590420332321</c:v>
                </c:pt>
                <c:pt idx="6">
                  <c:v>6.3901601830663619</c:v>
                </c:pt>
                <c:pt idx="7">
                  <c:v>8.1741154562383631</c:v>
                </c:pt>
                <c:pt idx="8">
                  <c:v>36.745614035087712</c:v>
                </c:pt>
                <c:pt idx="9">
                  <c:v>8.6463675213675142</c:v>
                </c:pt>
                <c:pt idx="10">
                  <c:v>6.19392523364486</c:v>
                </c:pt>
                <c:pt idx="11">
                  <c:v>9.58040935672514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9.08</c:v>
                </c:pt>
                <c:pt idx="1">
                  <c:v>Av Price/Unit 57.65</c:v>
                </c:pt>
                <c:pt idx="2">
                  <c:v>Av Price/Unit 38.16</c:v>
                </c:pt>
                <c:pt idx="3">
                  <c:v>Av Price/Unit 83.29</c:v>
                </c:pt>
                <c:pt idx="4">
                  <c:v>Av Price/Unit 25.15</c:v>
                </c:pt>
                <c:pt idx="5">
                  <c:v>Av Price/Unit 97.21</c:v>
                </c:pt>
                <c:pt idx="6">
                  <c:v>Av Price/Unit 37.11</c:v>
                </c:pt>
                <c:pt idx="7">
                  <c:v>Av Price/Unit 49.68</c:v>
                </c:pt>
                <c:pt idx="8">
                  <c:v>Av Price/Unit 52.43</c:v>
                </c:pt>
                <c:pt idx="9">
                  <c:v>Av Price/Unit 38.62</c:v>
                </c:pt>
                <c:pt idx="10">
                  <c:v>Av Price/Unit 58.89</c:v>
                </c:pt>
                <c:pt idx="11">
                  <c:v>Av Price/Unit 35.28</c:v>
                </c:pt>
              </c:strCache>
            </c:strRef>
          </c:cat>
          <c:val>
            <c:numRef>
              <c:f>Sheet1!$B$2:$B$13</c:f>
              <c:numCache>
                <c:formatCode>General</c:formatCode>
                <c:ptCount val="12"/>
                <c:pt idx="0">
                  <c:v>29.429165986394562</c:v>
                </c:pt>
                <c:pt idx="1">
                  <c:v>19.798704285714283</c:v>
                </c:pt>
                <c:pt idx="2">
                  <c:v>12.50752077922078</c:v>
                </c:pt>
                <c:pt idx="3">
                  <c:v>26.812969565217394</c:v>
                </c:pt>
                <c:pt idx="4">
                  <c:v>5.3522709172259502</c:v>
                </c:pt>
                <c:pt idx="5">
                  <c:v>31.563690476190477</c:v>
                </c:pt>
                <c:pt idx="6">
                  <c:v>12.551699999999997</c:v>
                </c:pt>
                <c:pt idx="7">
                  <c:v>16.741278873239438</c:v>
                </c:pt>
                <c:pt idx="8">
                  <c:v>18.665302479338845</c:v>
                </c:pt>
                <c:pt idx="9">
                  <c:v>13.422485256410258</c:v>
                </c:pt>
                <c:pt idx="10">
                  <c:v>19.12177777777778</c:v>
                </c:pt>
                <c:pt idx="11">
                  <c:v>11.51067887323943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9.08</c:v>
                </c:pt>
                <c:pt idx="1">
                  <c:v>Av Price/Unit 57.65</c:v>
                </c:pt>
                <c:pt idx="2">
                  <c:v>Av Price/Unit 38.16</c:v>
                </c:pt>
                <c:pt idx="3">
                  <c:v>Av Price/Unit 83.29</c:v>
                </c:pt>
                <c:pt idx="4">
                  <c:v>Av Price/Unit 25.15</c:v>
                </c:pt>
                <c:pt idx="5">
                  <c:v>Av Price/Unit 97.21</c:v>
                </c:pt>
                <c:pt idx="6">
                  <c:v>Av Price/Unit 37.11</c:v>
                </c:pt>
                <c:pt idx="7">
                  <c:v>Av Price/Unit 49.68</c:v>
                </c:pt>
                <c:pt idx="8">
                  <c:v>Av Price/Unit 52.43</c:v>
                </c:pt>
                <c:pt idx="9">
                  <c:v>Av Price/Unit 38.62</c:v>
                </c:pt>
                <c:pt idx="10">
                  <c:v>Av Price/Unit 58.89</c:v>
                </c:pt>
                <c:pt idx="11">
                  <c:v>Av Price/Unit 35.28</c:v>
                </c:pt>
              </c:strCache>
            </c:strRef>
          </c:cat>
          <c:val>
            <c:numRef>
              <c:f>Sheet1!$C$2:$C$13</c:f>
              <c:numCache>
                <c:formatCode>General</c:formatCode>
                <c:ptCount val="12"/>
                <c:pt idx="0">
                  <c:v>42.76022244897959</c:v>
                </c:pt>
                <c:pt idx="1">
                  <c:v>27.340489428571427</c:v>
                </c:pt>
                <c:pt idx="2">
                  <c:v>18.445695129870131</c:v>
                </c:pt>
                <c:pt idx="3">
                  <c:v>40.732599999999998</c:v>
                </c:pt>
                <c:pt idx="4">
                  <c:v>15.48102908277405</c:v>
                </c:pt>
                <c:pt idx="5">
                  <c:v>44.471919047619046</c:v>
                </c:pt>
                <c:pt idx="6">
                  <c:v>16.57305238095238</c:v>
                </c:pt>
                <c:pt idx="7">
                  <c:v>21.168683098591551</c:v>
                </c:pt>
                <c:pt idx="8">
                  <c:v>22.926262809917361</c:v>
                </c:pt>
                <c:pt idx="9">
                  <c:v>17.052305128205127</c:v>
                </c:pt>
                <c:pt idx="10">
                  <c:v>26.80596666666667</c:v>
                </c:pt>
                <c:pt idx="11">
                  <c:v>14.90271971830985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9.08</c:v>
                </c:pt>
                <c:pt idx="1">
                  <c:v>Av Price/Unit 57.65</c:v>
                </c:pt>
                <c:pt idx="2">
                  <c:v>Av Price/Unit 38.16</c:v>
                </c:pt>
                <c:pt idx="3">
                  <c:v>Av Price/Unit 83.29</c:v>
                </c:pt>
                <c:pt idx="4">
                  <c:v>Av Price/Unit 25.15</c:v>
                </c:pt>
                <c:pt idx="5">
                  <c:v>Av Price/Unit 97.21</c:v>
                </c:pt>
                <c:pt idx="6">
                  <c:v>Av Price/Unit 37.11</c:v>
                </c:pt>
                <c:pt idx="7">
                  <c:v>Av Price/Unit 49.68</c:v>
                </c:pt>
                <c:pt idx="8">
                  <c:v>Av Price/Unit 52.43</c:v>
                </c:pt>
                <c:pt idx="9">
                  <c:v>Av Price/Unit 38.62</c:v>
                </c:pt>
                <c:pt idx="10">
                  <c:v>Av Price/Unit 58.89</c:v>
                </c:pt>
                <c:pt idx="11">
                  <c:v>Av Price/Unit 35.28</c:v>
                </c:pt>
              </c:strCache>
            </c:strRef>
          </c:cat>
          <c:val>
            <c:numRef>
              <c:f>Sheet1!$D$2:$D$13</c:f>
              <c:numCache>
                <c:formatCode>General</c:formatCode>
                <c:ptCount val="12"/>
                <c:pt idx="0">
                  <c:v>2.0481399092970634</c:v>
                </c:pt>
                <c:pt idx="1">
                  <c:v>0.8989015238095277</c:v>
                </c:pt>
                <c:pt idx="2">
                  <c:v>0.84602651515151805</c:v>
                </c:pt>
                <c:pt idx="3">
                  <c:v>1.8626842995169</c:v>
                </c:pt>
                <c:pt idx="4">
                  <c:v>0.1268043997017152</c:v>
                </c:pt>
                <c:pt idx="5">
                  <c:v>4.9763761904762163</c:v>
                </c:pt>
                <c:pt idx="6">
                  <c:v>1.8011735449735475</c:v>
                </c:pt>
                <c:pt idx="7">
                  <c:v>3.4867516431924912</c:v>
                </c:pt>
                <c:pt idx="8">
                  <c:v>2.0998947658402187</c:v>
                </c:pt>
                <c:pt idx="9">
                  <c:v>1.7100386752136814</c:v>
                </c:pt>
                <c:pt idx="10">
                  <c:v>3.1463296296296264</c:v>
                </c:pt>
                <c:pt idx="11">
                  <c:v>2.988076056338030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9.08</c:v>
                </c:pt>
                <c:pt idx="1">
                  <c:v>Av Price/Unit 57.65</c:v>
                </c:pt>
                <c:pt idx="2">
                  <c:v>Av Price/Unit 38.16</c:v>
                </c:pt>
                <c:pt idx="3">
                  <c:v>Av Price/Unit 83.29</c:v>
                </c:pt>
                <c:pt idx="4">
                  <c:v>Av Price/Unit 25.15</c:v>
                </c:pt>
                <c:pt idx="5">
                  <c:v>Av Price/Unit 97.21</c:v>
                </c:pt>
                <c:pt idx="6">
                  <c:v>Av Price/Unit 37.11</c:v>
                </c:pt>
                <c:pt idx="7">
                  <c:v>Av Price/Unit 49.68</c:v>
                </c:pt>
                <c:pt idx="8">
                  <c:v>Av Price/Unit 52.43</c:v>
                </c:pt>
                <c:pt idx="9">
                  <c:v>Av Price/Unit 38.62</c:v>
                </c:pt>
                <c:pt idx="10">
                  <c:v>Av Price/Unit 58.89</c:v>
                </c:pt>
                <c:pt idx="11">
                  <c:v>Av Price/Unit 35.28</c:v>
                </c:pt>
              </c:strCache>
            </c:strRef>
          </c:cat>
          <c:val>
            <c:numRef>
              <c:f>Sheet1!$E$2:$E$13</c:f>
              <c:numCache>
                <c:formatCode>General</c:formatCode>
                <c:ptCount val="12"/>
                <c:pt idx="0">
                  <c:v>14.847505668934232</c:v>
                </c:pt>
                <c:pt idx="1">
                  <c:v>9.6076190476190515</c:v>
                </c:pt>
                <c:pt idx="2">
                  <c:v>6.3598484848484809</c:v>
                </c:pt>
                <c:pt idx="3">
                  <c:v>13.881642512077303</c:v>
                </c:pt>
                <c:pt idx="4">
                  <c:v>4.1920208799403404</c:v>
                </c:pt>
                <c:pt idx="5">
                  <c:v>16.202380952380942</c:v>
                </c:pt>
                <c:pt idx="6">
                  <c:v>6.1851851851851851</c:v>
                </c:pt>
                <c:pt idx="7">
                  <c:v>8.2793427230046905</c:v>
                </c:pt>
                <c:pt idx="8">
                  <c:v>8.7382920110192881</c:v>
                </c:pt>
                <c:pt idx="9">
                  <c:v>6.4369658119658082</c:v>
                </c:pt>
                <c:pt idx="10">
                  <c:v>9.8148148148148113</c:v>
                </c:pt>
                <c:pt idx="11">
                  <c:v>5.88028169014084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32</c:v>
                </c:pt>
                <c:pt idx="1">
                  <c:v>Av Price/Unit 58.62</c:v>
                </c:pt>
                <c:pt idx="2">
                  <c:v>Av Price/Unit 91.80</c:v>
                </c:pt>
                <c:pt idx="3">
                  <c:v>Av Price/Unit 37.51</c:v>
                </c:pt>
                <c:pt idx="4">
                  <c:v>Av Price/Unit 83.26</c:v>
                </c:pt>
                <c:pt idx="5">
                  <c:v>Av Price/Unit 35.96</c:v>
                </c:pt>
                <c:pt idx="6">
                  <c:v>Av Price/Unit 96.59</c:v>
                </c:pt>
                <c:pt idx="7">
                  <c:v>Av Price/Unit 37.89</c:v>
                </c:pt>
                <c:pt idx="8">
                  <c:v>Av Price/Unit 52.65</c:v>
                </c:pt>
                <c:pt idx="9">
                  <c:v>Av Price/Unit 48.11</c:v>
                </c:pt>
                <c:pt idx="10">
                  <c:v>Av Price/Unit 84.76</c:v>
                </c:pt>
                <c:pt idx="11">
                  <c:v>Av Price/Unit 59.43</c:v>
                </c:pt>
              </c:strCache>
            </c:strRef>
          </c:cat>
          <c:val>
            <c:numRef>
              <c:f>Sheet1!$B$2:$B$13</c:f>
              <c:numCache>
                <c:formatCode>General</c:formatCode>
                <c:ptCount val="12"/>
                <c:pt idx="0">
                  <c:v>5.3431053244592341</c:v>
                </c:pt>
                <c:pt idx="1">
                  <c:v>19.810552459016399</c:v>
                </c:pt>
                <c:pt idx="2">
                  <c:v>29.587384313725494</c:v>
                </c:pt>
                <c:pt idx="3">
                  <c:v>12.509492105263158</c:v>
                </c:pt>
                <c:pt idx="4">
                  <c:v>27.212007692307694</c:v>
                </c:pt>
                <c:pt idx="5">
                  <c:v>12.558937055837564</c:v>
                </c:pt>
                <c:pt idx="6">
                  <c:v>30.978330985915491</c:v>
                </c:pt>
                <c:pt idx="7">
                  <c:v>13.328607284768211</c:v>
                </c:pt>
                <c:pt idx="8">
                  <c:v>18.667788461538461</c:v>
                </c:pt>
                <c:pt idx="9">
                  <c:v>16.655895890410964</c:v>
                </c:pt>
                <c:pt idx="10">
                  <c:v>26.904448484848484</c:v>
                </c:pt>
                <c:pt idx="11">
                  <c:v>19.44759347826086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32</c:v>
                </c:pt>
                <c:pt idx="1">
                  <c:v>Av Price/Unit 58.62</c:v>
                </c:pt>
                <c:pt idx="2">
                  <c:v>Av Price/Unit 91.80</c:v>
                </c:pt>
                <c:pt idx="3">
                  <c:v>Av Price/Unit 37.51</c:v>
                </c:pt>
                <c:pt idx="4">
                  <c:v>Av Price/Unit 83.26</c:v>
                </c:pt>
                <c:pt idx="5">
                  <c:v>Av Price/Unit 35.96</c:v>
                </c:pt>
                <c:pt idx="6">
                  <c:v>Av Price/Unit 96.59</c:v>
                </c:pt>
                <c:pt idx="7">
                  <c:v>Av Price/Unit 37.89</c:v>
                </c:pt>
                <c:pt idx="8">
                  <c:v>Av Price/Unit 52.65</c:v>
                </c:pt>
                <c:pt idx="9">
                  <c:v>Av Price/Unit 48.11</c:v>
                </c:pt>
                <c:pt idx="10">
                  <c:v>Av Price/Unit 84.76</c:v>
                </c:pt>
                <c:pt idx="11">
                  <c:v>Av Price/Unit 59.43</c:v>
                </c:pt>
              </c:strCache>
            </c:strRef>
          </c:cat>
          <c:val>
            <c:numRef>
              <c:f>Sheet1!$C$2:$C$13</c:f>
              <c:numCache>
                <c:formatCode>General</c:formatCode>
                <c:ptCount val="12"/>
                <c:pt idx="0">
                  <c:v>15.490194675540765</c:v>
                </c:pt>
                <c:pt idx="1">
                  <c:v>27.337624590163941</c:v>
                </c:pt>
                <c:pt idx="2">
                  <c:v>42.668358823529417</c:v>
                </c:pt>
                <c:pt idx="3">
                  <c:v>18.451475986842109</c:v>
                </c:pt>
                <c:pt idx="4">
                  <c:v>40.727338461538466</c:v>
                </c:pt>
                <c:pt idx="5">
                  <c:v>16.581251776649747</c:v>
                </c:pt>
                <c:pt idx="6">
                  <c:v>44.848652112676056</c:v>
                </c:pt>
                <c:pt idx="7">
                  <c:v>17.022292715231789</c:v>
                </c:pt>
                <c:pt idx="8">
                  <c:v>22.946557692307689</c:v>
                </c:pt>
                <c:pt idx="9">
                  <c:v>21.198924657534249</c:v>
                </c:pt>
                <c:pt idx="10">
                  <c:v>38.439</c:v>
                </c:pt>
                <c:pt idx="11">
                  <c:v>26.85309782608695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32</c:v>
                </c:pt>
                <c:pt idx="1">
                  <c:v>Av Price/Unit 58.62</c:v>
                </c:pt>
                <c:pt idx="2">
                  <c:v>Av Price/Unit 91.80</c:v>
                </c:pt>
                <c:pt idx="3">
                  <c:v>Av Price/Unit 37.51</c:v>
                </c:pt>
                <c:pt idx="4">
                  <c:v>Av Price/Unit 83.26</c:v>
                </c:pt>
                <c:pt idx="5">
                  <c:v>Av Price/Unit 35.96</c:v>
                </c:pt>
                <c:pt idx="6">
                  <c:v>Av Price/Unit 96.59</c:v>
                </c:pt>
                <c:pt idx="7">
                  <c:v>Av Price/Unit 37.89</c:v>
                </c:pt>
                <c:pt idx="8">
                  <c:v>Av Price/Unit 52.65</c:v>
                </c:pt>
                <c:pt idx="9">
                  <c:v>Av Price/Unit 48.11</c:v>
                </c:pt>
                <c:pt idx="10">
                  <c:v>Av Price/Unit 84.76</c:v>
                </c:pt>
                <c:pt idx="11">
                  <c:v>Av Price/Unit 59.43</c:v>
                </c:pt>
              </c:strCache>
            </c:strRef>
          </c:cat>
          <c:val>
            <c:numRef>
              <c:f>Sheet1!$D$2:$D$13</c:f>
              <c:numCache>
                <c:formatCode>General</c:formatCode>
                <c:ptCount val="12"/>
                <c:pt idx="0">
                  <c:v>-0.56707703826955225</c:v>
                </c:pt>
                <c:pt idx="1">
                  <c:v>1.7042819672131131</c:v>
                </c:pt>
                <c:pt idx="2">
                  <c:v>4.2420782135076252</c:v>
                </c:pt>
                <c:pt idx="3">
                  <c:v>0.2945143640350949</c:v>
                </c:pt>
                <c:pt idx="4">
                  <c:v>1.4437032051282159</c:v>
                </c:pt>
                <c:pt idx="5">
                  <c:v>0.8302003384094796</c:v>
                </c:pt>
                <c:pt idx="6">
                  <c:v>4.6660267605633834</c:v>
                </c:pt>
                <c:pt idx="7">
                  <c:v>1.221947682119211</c:v>
                </c:pt>
                <c:pt idx="8">
                  <c:v>2.2638589743589819</c:v>
                </c:pt>
                <c:pt idx="9">
                  <c:v>2.2365036529680324</c:v>
                </c:pt>
                <c:pt idx="10">
                  <c:v>5.287864646464655</c:v>
                </c:pt>
                <c:pt idx="11">
                  <c:v>3.228294202898567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32</c:v>
                </c:pt>
                <c:pt idx="1">
                  <c:v>Av Price/Unit 58.62</c:v>
                </c:pt>
                <c:pt idx="2">
                  <c:v>Av Price/Unit 91.80</c:v>
                </c:pt>
                <c:pt idx="3">
                  <c:v>Av Price/Unit 37.51</c:v>
                </c:pt>
                <c:pt idx="4">
                  <c:v>Av Price/Unit 83.26</c:v>
                </c:pt>
                <c:pt idx="5">
                  <c:v>Av Price/Unit 35.96</c:v>
                </c:pt>
                <c:pt idx="6">
                  <c:v>Av Price/Unit 96.59</c:v>
                </c:pt>
                <c:pt idx="7">
                  <c:v>Av Price/Unit 37.89</c:v>
                </c:pt>
                <c:pt idx="8">
                  <c:v>Av Price/Unit 52.65</c:v>
                </c:pt>
                <c:pt idx="9">
                  <c:v>Av Price/Unit 48.11</c:v>
                </c:pt>
                <c:pt idx="10">
                  <c:v>Av Price/Unit 84.76</c:v>
                </c:pt>
                <c:pt idx="11">
                  <c:v>Av Price/Unit 59.43</c:v>
                </c:pt>
              </c:strCache>
            </c:strRef>
          </c:cat>
          <c:val>
            <c:numRef>
              <c:f>Sheet1!$E$2:$E$13</c:f>
              <c:numCache>
                <c:formatCode>General</c:formatCode>
                <c:ptCount val="12"/>
                <c:pt idx="0">
                  <c:v>4.0532445923460898</c:v>
                </c:pt>
                <c:pt idx="1">
                  <c:v>9.7704918032786878</c:v>
                </c:pt>
                <c:pt idx="2">
                  <c:v>15.299564270152509</c:v>
                </c:pt>
                <c:pt idx="3">
                  <c:v>6.2510964912280658</c:v>
                </c:pt>
                <c:pt idx="4">
                  <c:v>13.876602564102559</c:v>
                </c:pt>
                <c:pt idx="5">
                  <c:v>5.9940778341793512</c:v>
                </c:pt>
                <c:pt idx="6">
                  <c:v>16.098591549295762</c:v>
                </c:pt>
                <c:pt idx="7">
                  <c:v>6.3145695364238348</c:v>
                </c:pt>
                <c:pt idx="8">
                  <c:v>8.7756410256410202</c:v>
                </c:pt>
                <c:pt idx="9">
                  <c:v>8.0182648401826508</c:v>
                </c:pt>
                <c:pt idx="10">
                  <c:v>14.126262626262609</c:v>
                </c:pt>
                <c:pt idx="11">
                  <c:v>9.90579710144926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67</c:v>
                </c:pt>
                <c:pt idx="1">
                  <c:v>Av Price/Unit 56.98</c:v>
                </c:pt>
                <c:pt idx="2">
                  <c:v>Av Price/Unit 80.18</c:v>
                </c:pt>
                <c:pt idx="3">
                  <c:v>Av Price/Unit 37.15</c:v>
                </c:pt>
                <c:pt idx="4">
                  <c:v>Av Price/Unit 93.68</c:v>
                </c:pt>
                <c:pt idx="5">
                  <c:v>Av Price/Unit 555.95</c:v>
                </c:pt>
                <c:pt idx="6">
                  <c:v>Av Price/Unit 615.21</c:v>
                </c:pt>
                <c:pt idx="7">
                  <c:v>Av Price/Unit 37.59</c:v>
                </c:pt>
                <c:pt idx="8">
                  <c:v>Av Price/Unit 24.90</c:v>
                </c:pt>
                <c:pt idx="9">
                  <c:v>Av Price/Unit 47.15</c:v>
                </c:pt>
                <c:pt idx="10">
                  <c:v>Av Price/Unit 50.75</c:v>
                </c:pt>
                <c:pt idx="11">
                  <c:v>Av Price/Unit 36.00</c:v>
                </c:pt>
              </c:strCache>
            </c:strRef>
          </c:cat>
          <c:val>
            <c:numRef>
              <c:f>Sheet1!$B$2:$B$13</c:f>
              <c:numCache>
                <c:formatCode>General</c:formatCode>
                <c:ptCount val="12"/>
                <c:pt idx="0">
                  <c:v>29.416068934646372</c:v>
                </c:pt>
                <c:pt idx="1">
                  <c:v>19.751723491145647</c:v>
                </c:pt>
                <c:pt idx="2">
                  <c:v>26.34439709270433</c:v>
                </c:pt>
                <c:pt idx="3">
                  <c:v>12.50605094816688</c:v>
                </c:pt>
                <c:pt idx="4">
                  <c:v>31.230632690695721</c:v>
                </c:pt>
                <c:pt idx="5">
                  <c:v>160.69309310344829</c:v>
                </c:pt>
                <c:pt idx="6">
                  <c:v>205.854905</c:v>
                </c:pt>
                <c:pt idx="7">
                  <c:v>13.418468310911809</c:v>
                </c:pt>
                <c:pt idx="8">
                  <c:v>5.3457321745057937</c:v>
                </c:pt>
                <c:pt idx="9">
                  <c:v>16.570942719382835</c:v>
                </c:pt>
                <c:pt idx="10">
                  <c:v>18.667272855591747</c:v>
                </c:pt>
                <c:pt idx="11">
                  <c:v>12.54061288295365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67</c:v>
                </c:pt>
                <c:pt idx="1">
                  <c:v>Av Price/Unit 56.98</c:v>
                </c:pt>
                <c:pt idx="2">
                  <c:v>Av Price/Unit 80.18</c:v>
                </c:pt>
                <c:pt idx="3">
                  <c:v>Av Price/Unit 37.15</c:v>
                </c:pt>
                <c:pt idx="4">
                  <c:v>Av Price/Unit 93.68</c:v>
                </c:pt>
                <c:pt idx="5">
                  <c:v>Av Price/Unit 555.95</c:v>
                </c:pt>
                <c:pt idx="6">
                  <c:v>Av Price/Unit 615.21</c:v>
                </c:pt>
                <c:pt idx="7">
                  <c:v>Av Price/Unit 37.59</c:v>
                </c:pt>
                <c:pt idx="8">
                  <c:v>Av Price/Unit 24.90</c:v>
                </c:pt>
                <c:pt idx="9">
                  <c:v>Av Price/Unit 47.15</c:v>
                </c:pt>
                <c:pt idx="10">
                  <c:v>Av Price/Unit 50.75</c:v>
                </c:pt>
                <c:pt idx="11">
                  <c:v>Av Price/Unit 36.00</c:v>
                </c:pt>
              </c:strCache>
            </c:strRef>
          </c:cat>
          <c:val>
            <c:numRef>
              <c:f>Sheet1!$C$2:$C$13</c:f>
              <c:numCache>
                <c:formatCode>General</c:formatCode>
                <c:ptCount val="12"/>
                <c:pt idx="0">
                  <c:v>42.76782676812892</c:v>
                </c:pt>
                <c:pt idx="1">
                  <c:v>27.351849186844966</c:v>
                </c:pt>
                <c:pt idx="2">
                  <c:v>40.738778387273726</c:v>
                </c:pt>
                <c:pt idx="3">
                  <c:v>18.441384892541087</c:v>
                </c:pt>
                <c:pt idx="4">
                  <c:v>44.686272590108977</c:v>
                </c:pt>
                <c:pt idx="5">
                  <c:v>292.79106896551724</c:v>
                </c:pt>
                <c:pt idx="6">
                  <c:v>309.87130000000002</c:v>
                </c:pt>
                <c:pt idx="7">
                  <c:v>17.051020926756351</c:v>
                </c:pt>
                <c:pt idx="8">
                  <c:v>15.487567825494208</c:v>
                </c:pt>
                <c:pt idx="9">
                  <c:v>21.22901398264224</c:v>
                </c:pt>
                <c:pt idx="10">
                  <c:v>22.942348425624324</c:v>
                </c:pt>
                <c:pt idx="11">
                  <c:v>16.56049096622152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67</c:v>
                </c:pt>
                <c:pt idx="1">
                  <c:v>Av Price/Unit 56.98</c:v>
                </c:pt>
                <c:pt idx="2">
                  <c:v>Av Price/Unit 80.18</c:v>
                </c:pt>
                <c:pt idx="3">
                  <c:v>Av Price/Unit 37.15</c:v>
                </c:pt>
                <c:pt idx="4">
                  <c:v>Av Price/Unit 93.68</c:v>
                </c:pt>
                <c:pt idx="5">
                  <c:v>Av Price/Unit 555.95</c:v>
                </c:pt>
                <c:pt idx="6">
                  <c:v>Av Price/Unit 615.21</c:v>
                </c:pt>
                <c:pt idx="7">
                  <c:v>Av Price/Unit 37.59</c:v>
                </c:pt>
                <c:pt idx="8">
                  <c:v>Av Price/Unit 24.90</c:v>
                </c:pt>
                <c:pt idx="9">
                  <c:v>Av Price/Unit 47.15</c:v>
                </c:pt>
                <c:pt idx="10">
                  <c:v>Av Price/Unit 50.75</c:v>
                </c:pt>
                <c:pt idx="11">
                  <c:v>Av Price/Unit 36.00</c:v>
                </c:pt>
              </c:strCache>
            </c:strRef>
          </c:cat>
          <c:val>
            <c:numRef>
              <c:f>Sheet1!$D$2:$D$13</c:f>
              <c:numCache>
                <c:formatCode>General</c:formatCode>
                <c:ptCount val="12"/>
                <c:pt idx="0">
                  <c:v>1.7108372127723186</c:v>
                </c:pt>
                <c:pt idx="1">
                  <c:v>0.3759478617034091</c:v>
                </c:pt>
                <c:pt idx="2">
                  <c:v>-0.26378317791187555</c:v>
                </c:pt>
                <c:pt idx="3">
                  <c:v>7.8422882427275908E-3</c:v>
                </c:pt>
                <c:pt idx="4">
                  <c:v>2.1517538418552533</c:v>
                </c:pt>
                <c:pt idx="5">
                  <c:v>9.8108570881225887</c:v>
                </c:pt>
                <c:pt idx="6">
                  <c:v>-3.0535859523810132</c:v>
                </c:pt>
                <c:pt idx="7">
                  <c:v>0.85213507722969695</c:v>
                </c:pt>
                <c:pt idx="8">
                  <c:v>-8.0062099522837826E-2</c:v>
                </c:pt>
                <c:pt idx="9">
                  <c:v>1.4944823850851847</c:v>
                </c:pt>
                <c:pt idx="10">
                  <c:v>0.6822715888526929</c:v>
                </c:pt>
                <c:pt idx="11">
                  <c:v>0.8988961508248252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67</c:v>
                </c:pt>
                <c:pt idx="1">
                  <c:v>Av Price/Unit 56.98</c:v>
                </c:pt>
                <c:pt idx="2">
                  <c:v>Av Price/Unit 80.18</c:v>
                </c:pt>
                <c:pt idx="3">
                  <c:v>Av Price/Unit 37.15</c:v>
                </c:pt>
                <c:pt idx="4">
                  <c:v>Av Price/Unit 93.68</c:v>
                </c:pt>
                <c:pt idx="5">
                  <c:v>Av Price/Unit 555.95</c:v>
                </c:pt>
                <c:pt idx="6">
                  <c:v>Av Price/Unit 615.21</c:v>
                </c:pt>
                <c:pt idx="7">
                  <c:v>Av Price/Unit 37.59</c:v>
                </c:pt>
                <c:pt idx="8">
                  <c:v>Av Price/Unit 24.90</c:v>
                </c:pt>
                <c:pt idx="9">
                  <c:v>Av Price/Unit 47.15</c:v>
                </c:pt>
                <c:pt idx="10">
                  <c:v>Av Price/Unit 50.75</c:v>
                </c:pt>
                <c:pt idx="11">
                  <c:v>Av Price/Unit 36.00</c:v>
                </c:pt>
              </c:strCache>
            </c:strRef>
          </c:cat>
          <c:val>
            <c:numRef>
              <c:f>Sheet1!$E$2:$E$13</c:f>
              <c:numCache>
                <c:formatCode>General</c:formatCode>
                <c:ptCount val="12"/>
                <c:pt idx="0">
                  <c:v>14.778946583109516</c:v>
                </c:pt>
                <c:pt idx="1">
                  <c:v>9.4959041079388093</c:v>
                </c:pt>
                <c:pt idx="2">
                  <c:v>13.363869080270621</c:v>
                </c:pt>
                <c:pt idx="3">
                  <c:v>6.1910556257901392</c:v>
                </c:pt>
                <c:pt idx="4">
                  <c:v>15.6137189158983</c:v>
                </c:pt>
                <c:pt idx="5">
                  <c:v>92.659003831417564</c:v>
                </c:pt>
                <c:pt idx="6">
                  <c:v>102.53452380952378</c:v>
                </c:pt>
                <c:pt idx="7">
                  <c:v>6.2643248629795716</c:v>
                </c:pt>
                <c:pt idx="8">
                  <c:v>4.1506475800954332</c:v>
                </c:pt>
                <c:pt idx="9">
                  <c:v>7.8588878174220484</c:v>
                </c:pt>
                <c:pt idx="10">
                  <c:v>8.45837857401375</c:v>
                </c:pt>
                <c:pt idx="11">
                  <c:v>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66</c:v>
                </c:pt>
                <c:pt idx="1">
                  <c:v>Av Price/Unit 57.44</c:v>
                </c:pt>
                <c:pt idx="2">
                  <c:v>Av Price/Unit 37.48</c:v>
                </c:pt>
                <c:pt idx="3">
                  <c:v>Av Price/Unit 80.58</c:v>
                </c:pt>
                <c:pt idx="4">
                  <c:v>Av Price/Unit 93.78</c:v>
                </c:pt>
                <c:pt idx="5">
                  <c:v>Av Price/Unit 25.08</c:v>
                </c:pt>
                <c:pt idx="6">
                  <c:v>Av Price/Unit 37.54</c:v>
                </c:pt>
                <c:pt idx="7">
                  <c:v>Av Price/Unit 36.27</c:v>
                </c:pt>
                <c:pt idx="8">
                  <c:v>Av Price/Unit 47.40</c:v>
                </c:pt>
                <c:pt idx="9">
                  <c:v>Av Price/Unit 51.53</c:v>
                </c:pt>
                <c:pt idx="10">
                  <c:v>Av Price/Unit 227.17</c:v>
                </c:pt>
                <c:pt idx="11">
                  <c:v>Av Price/Unit 33.36</c:v>
                </c:pt>
              </c:strCache>
            </c:strRef>
          </c:cat>
          <c:val>
            <c:numRef>
              <c:f>Sheet1!$B$2:$B$13</c:f>
              <c:numCache>
                <c:formatCode>General</c:formatCode>
                <c:ptCount val="12"/>
                <c:pt idx="0">
                  <c:v>29.411210594795538</c:v>
                </c:pt>
                <c:pt idx="1">
                  <c:v>19.719534742180901</c:v>
                </c:pt>
                <c:pt idx="2">
                  <c:v>12.505901485148517</c:v>
                </c:pt>
                <c:pt idx="3">
                  <c:v>26.276729649595687</c:v>
                </c:pt>
                <c:pt idx="4">
                  <c:v>31.240583073496655</c:v>
                </c:pt>
                <c:pt idx="5">
                  <c:v>5.3381421733505823</c:v>
                </c:pt>
                <c:pt idx="6">
                  <c:v>13.347904799107143</c:v>
                </c:pt>
                <c:pt idx="7">
                  <c:v>12.54341918528252</c:v>
                </c:pt>
                <c:pt idx="8">
                  <c:v>16.571471875</c:v>
                </c:pt>
                <c:pt idx="9">
                  <c:v>18.668670320855618</c:v>
                </c:pt>
                <c:pt idx="10">
                  <c:v>71.231201408450701</c:v>
                </c:pt>
                <c:pt idx="11">
                  <c:v>11.51221639722863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66</c:v>
                </c:pt>
                <c:pt idx="1">
                  <c:v>Av Price/Unit 57.44</c:v>
                </c:pt>
                <c:pt idx="2">
                  <c:v>Av Price/Unit 37.48</c:v>
                </c:pt>
                <c:pt idx="3">
                  <c:v>Av Price/Unit 80.58</c:v>
                </c:pt>
                <c:pt idx="4">
                  <c:v>Av Price/Unit 93.78</c:v>
                </c:pt>
                <c:pt idx="5">
                  <c:v>Av Price/Unit 25.08</c:v>
                </c:pt>
                <c:pt idx="6">
                  <c:v>Av Price/Unit 37.54</c:v>
                </c:pt>
                <c:pt idx="7">
                  <c:v>Av Price/Unit 36.27</c:v>
                </c:pt>
                <c:pt idx="8">
                  <c:v>Av Price/Unit 47.40</c:v>
                </c:pt>
                <c:pt idx="9">
                  <c:v>Av Price/Unit 51.53</c:v>
                </c:pt>
                <c:pt idx="10">
                  <c:v>Av Price/Unit 227.17</c:v>
                </c:pt>
                <c:pt idx="11">
                  <c:v>Av Price/Unit 33.36</c:v>
                </c:pt>
              </c:strCache>
            </c:strRef>
          </c:cat>
          <c:val>
            <c:numRef>
              <c:f>Sheet1!$C$2:$C$13</c:f>
              <c:numCache>
                <c:formatCode>General</c:formatCode>
                <c:ptCount val="12"/>
                <c:pt idx="0">
                  <c:v>42.770647583643125</c:v>
                </c:pt>
                <c:pt idx="1">
                  <c:v>27.359632290786134</c:v>
                </c:pt>
                <c:pt idx="2">
                  <c:v>18.440946596534655</c:v>
                </c:pt>
                <c:pt idx="3">
                  <c:v>40.739670619946089</c:v>
                </c:pt>
                <c:pt idx="4">
                  <c:v>44.679868596881967</c:v>
                </c:pt>
                <c:pt idx="5">
                  <c:v>15.495157826649415</c:v>
                </c:pt>
                <c:pt idx="6">
                  <c:v>17.028462053571428</c:v>
                </c:pt>
                <c:pt idx="7">
                  <c:v>16.563670433639949</c:v>
                </c:pt>
                <c:pt idx="8">
                  <c:v>21.228826562499997</c:v>
                </c:pt>
                <c:pt idx="9">
                  <c:v>22.953756951871657</c:v>
                </c:pt>
                <c:pt idx="10">
                  <c:v>100.50749436619718</c:v>
                </c:pt>
                <c:pt idx="11">
                  <c:v>14.92026651270207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66</c:v>
                </c:pt>
                <c:pt idx="1">
                  <c:v>Av Price/Unit 57.44</c:v>
                </c:pt>
                <c:pt idx="2">
                  <c:v>Av Price/Unit 37.48</c:v>
                </c:pt>
                <c:pt idx="3">
                  <c:v>Av Price/Unit 80.58</c:v>
                </c:pt>
                <c:pt idx="4">
                  <c:v>Av Price/Unit 93.78</c:v>
                </c:pt>
                <c:pt idx="5">
                  <c:v>Av Price/Unit 25.08</c:v>
                </c:pt>
                <c:pt idx="6">
                  <c:v>Av Price/Unit 37.54</c:v>
                </c:pt>
                <c:pt idx="7">
                  <c:v>Av Price/Unit 36.27</c:v>
                </c:pt>
                <c:pt idx="8">
                  <c:v>Av Price/Unit 47.40</c:v>
                </c:pt>
                <c:pt idx="9">
                  <c:v>Av Price/Unit 51.53</c:v>
                </c:pt>
                <c:pt idx="10">
                  <c:v>Av Price/Unit 227.17</c:v>
                </c:pt>
                <c:pt idx="11">
                  <c:v>Av Price/Unit 33.36</c:v>
                </c:pt>
              </c:strCache>
            </c:strRef>
          </c:cat>
          <c:val>
            <c:numRef>
              <c:f>Sheet1!$D$2:$D$13</c:f>
              <c:numCache>
                <c:formatCode>General</c:formatCode>
                <c:ptCount val="12"/>
                <c:pt idx="0">
                  <c:v>1.7044491325898434</c:v>
                </c:pt>
                <c:pt idx="1">
                  <c:v>0.78431563820793571</c:v>
                </c:pt>
                <c:pt idx="2">
                  <c:v>0.28613459158416177</c:v>
                </c:pt>
                <c:pt idx="3">
                  <c:v>0.12987385444743893</c:v>
                </c:pt>
                <c:pt idx="4">
                  <c:v>2.2310610244988851</c:v>
                </c:pt>
                <c:pt idx="5">
                  <c:v>6.4177360931438443E-2</c:v>
                </c:pt>
                <c:pt idx="6">
                  <c:v>0.90804534970238038</c:v>
                </c:pt>
                <c:pt idx="7">
                  <c:v>1.1195858081471854</c:v>
                </c:pt>
                <c:pt idx="8">
                  <c:v>1.7032822916666746</c:v>
                </c:pt>
                <c:pt idx="9">
                  <c:v>1.3209773618538492</c:v>
                </c:pt>
                <c:pt idx="10">
                  <c:v>17.568815962441278</c:v>
                </c:pt>
                <c:pt idx="11">
                  <c:v>1.371647498075446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66</c:v>
                </c:pt>
                <c:pt idx="1">
                  <c:v>Av Price/Unit 57.44</c:v>
                </c:pt>
                <c:pt idx="2">
                  <c:v>Av Price/Unit 37.48</c:v>
                </c:pt>
                <c:pt idx="3">
                  <c:v>Av Price/Unit 80.58</c:v>
                </c:pt>
                <c:pt idx="4">
                  <c:v>Av Price/Unit 93.78</c:v>
                </c:pt>
                <c:pt idx="5">
                  <c:v>Av Price/Unit 25.08</c:v>
                </c:pt>
                <c:pt idx="6">
                  <c:v>Av Price/Unit 37.54</c:v>
                </c:pt>
                <c:pt idx="7">
                  <c:v>Av Price/Unit 36.27</c:v>
                </c:pt>
                <c:pt idx="8">
                  <c:v>Av Price/Unit 47.40</c:v>
                </c:pt>
                <c:pt idx="9">
                  <c:v>Av Price/Unit 51.53</c:v>
                </c:pt>
                <c:pt idx="10">
                  <c:v>Av Price/Unit 227.17</c:v>
                </c:pt>
                <c:pt idx="11">
                  <c:v>Av Price/Unit 33.36</c:v>
                </c:pt>
              </c:strCache>
            </c:strRef>
          </c:cat>
          <c:val>
            <c:numRef>
              <c:f>Sheet1!$E$2:$E$13</c:f>
              <c:numCache>
                <c:formatCode>General</c:formatCode>
                <c:ptCount val="12"/>
                <c:pt idx="0">
                  <c:v>14.777261462205695</c:v>
                </c:pt>
                <c:pt idx="1">
                  <c:v>9.5726965342350017</c:v>
                </c:pt>
                <c:pt idx="2">
                  <c:v>6.2465965346534658</c:v>
                </c:pt>
                <c:pt idx="3">
                  <c:v>13.429245283018869</c:v>
                </c:pt>
                <c:pt idx="4">
                  <c:v>15.630289532293986</c:v>
                </c:pt>
                <c:pt idx="5">
                  <c:v>4.1794954721862849</c:v>
                </c:pt>
                <c:pt idx="6">
                  <c:v>6.256882440476188</c:v>
                </c:pt>
                <c:pt idx="7">
                  <c:v>6.0453350854139245</c:v>
                </c:pt>
                <c:pt idx="8">
                  <c:v>7.9007161458333286</c:v>
                </c:pt>
                <c:pt idx="9">
                  <c:v>8.588680926916215</c:v>
                </c:pt>
                <c:pt idx="10">
                  <c:v>37.861502347417833</c:v>
                </c:pt>
                <c:pt idx="11">
                  <c:v>5.560816012317164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15</c:v>
                </c:pt>
                <c:pt idx="1">
                  <c:v>Av Price/Unit 57.29</c:v>
                </c:pt>
                <c:pt idx="2">
                  <c:v>Av Price/Unit 37.32</c:v>
                </c:pt>
                <c:pt idx="3">
                  <c:v>Av Price/Unit 80.11</c:v>
                </c:pt>
                <c:pt idx="4">
                  <c:v>Av Price/Unit 93.37</c:v>
                </c:pt>
                <c:pt idx="5">
                  <c:v>Av Price/Unit 25.04</c:v>
                </c:pt>
                <c:pt idx="6">
                  <c:v>Av Price/Unit 37.61</c:v>
                </c:pt>
                <c:pt idx="7">
                  <c:v>Av Price/Unit 36.13</c:v>
                </c:pt>
                <c:pt idx="8">
                  <c:v>Av Price/Unit 47.22</c:v>
                </c:pt>
                <c:pt idx="9">
                  <c:v>Av Price/Unit 51.10</c:v>
                </c:pt>
                <c:pt idx="10">
                  <c:v>Av Price/Unit 218.00</c:v>
                </c:pt>
                <c:pt idx="11">
                  <c:v>Av Price/Unit 55.66</c:v>
                </c:pt>
              </c:strCache>
            </c:strRef>
          </c:cat>
          <c:val>
            <c:numRef>
              <c:f>Sheet1!$B$2:$B$13</c:f>
              <c:numCache>
                <c:formatCode>General</c:formatCode>
                <c:ptCount val="12"/>
                <c:pt idx="0">
                  <c:v>29.305249735449735</c:v>
                </c:pt>
                <c:pt idx="1">
                  <c:v>19.724350354609932</c:v>
                </c:pt>
                <c:pt idx="2">
                  <c:v>12.504121727019498</c:v>
                </c:pt>
                <c:pt idx="3">
                  <c:v>26.418330088495576</c:v>
                </c:pt>
                <c:pt idx="4">
                  <c:v>31.343355811138014</c:v>
                </c:pt>
                <c:pt idx="5">
                  <c:v>5.3350922403003764</c:v>
                </c:pt>
                <c:pt idx="6">
                  <c:v>13.357402760084925</c:v>
                </c:pt>
                <c:pt idx="7">
                  <c:v>12.542531555944054</c:v>
                </c:pt>
                <c:pt idx="8">
                  <c:v>16.564324804177545</c:v>
                </c:pt>
                <c:pt idx="9">
                  <c:v>18.669896851574212</c:v>
                </c:pt>
                <c:pt idx="10">
                  <c:v>70.874660330578507</c:v>
                </c:pt>
                <c:pt idx="11">
                  <c:v>18.56956049382715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15</c:v>
                </c:pt>
                <c:pt idx="1">
                  <c:v>Av Price/Unit 57.29</c:v>
                </c:pt>
                <c:pt idx="2">
                  <c:v>Av Price/Unit 37.32</c:v>
                </c:pt>
                <c:pt idx="3">
                  <c:v>Av Price/Unit 80.11</c:v>
                </c:pt>
                <c:pt idx="4">
                  <c:v>Av Price/Unit 93.37</c:v>
                </c:pt>
                <c:pt idx="5">
                  <c:v>Av Price/Unit 25.04</c:v>
                </c:pt>
                <c:pt idx="6">
                  <c:v>Av Price/Unit 37.61</c:v>
                </c:pt>
                <c:pt idx="7">
                  <c:v>Av Price/Unit 36.13</c:v>
                </c:pt>
                <c:pt idx="8">
                  <c:v>Av Price/Unit 47.22</c:v>
                </c:pt>
                <c:pt idx="9">
                  <c:v>Av Price/Unit 51.10</c:v>
                </c:pt>
                <c:pt idx="10">
                  <c:v>Av Price/Unit 218.00</c:v>
                </c:pt>
                <c:pt idx="11">
                  <c:v>Av Price/Unit 55.66</c:v>
                </c:pt>
              </c:strCache>
            </c:strRef>
          </c:cat>
          <c:val>
            <c:numRef>
              <c:f>Sheet1!$C$2:$C$13</c:f>
              <c:numCache>
                <c:formatCode>General</c:formatCode>
                <c:ptCount val="12"/>
                <c:pt idx="0">
                  <c:v>42.832169841269845</c:v>
                </c:pt>
                <c:pt idx="1">
                  <c:v>27.358467895981093</c:v>
                </c:pt>
                <c:pt idx="2">
                  <c:v>18.435727506963786</c:v>
                </c:pt>
                <c:pt idx="3">
                  <c:v>40.737803539823005</c:v>
                </c:pt>
                <c:pt idx="4">
                  <c:v>44.613724818401934</c:v>
                </c:pt>
                <c:pt idx="5">
                  <c:v>15.498207759699623</c:v>
                </c:pt>
                <c:pt idx="6">
                  <c:v>17.031498513800425</c:v>
                </c:pt>
                <c:pt idx="7">
                  <c:v>16.562664772727274</c:v>
                </c:pt>
                <c:pt idx="8">
                  <c:v>21.231357963446474</c:v>
                </c:pt>
                <c:pt idx="9">
                  <c:v>22.963770014992505</c:v>
                </c:pt>
                <c:pt idx="10">
                  <c:v>100.7676661157025</c:v>
                </c:pt>
                <c:pt idx="11">
                  <c:v>26.72608518518518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15</c:v>
                </c:pt>
                <c:pt idx="1">
                  <c:v>Av Price/Unit 57.29</c:v>
                </c:pt>
                <c:pt idx="2">
                  <c:v>Av Price/Unit 37.32</c:v>
                </c:pt>
                <c:pt idx="3">
                  <c:v>Av Price/Unit 80.11</c:v>
                </c:pt>
                <c:pt idx="4">
                  <c:v>Av Price/Unit 93.37</c:v>
                </c:pt>
                <c:pt idx="5">
                  <c:v>Av Price/Unit 25.04</c:v>
                </c:pt>
                <c:pt idx="6">
                  <c:v>Av Price/Unit 37.61</c:v>
                </c:pt>
                <c:pt idx="7">
                  <c:v>Av Price/Unit 36.13</c:v>
                </c:pt>
                <c:pt idx="8">
                  <c:v>Av Price/Unit 47.22</c:v>
                </c:pt>
                <c:pt idx="9">
                  <c:v>Av Price/Unit 51.10</c:v>
                </c:pt>
                <c:pt idx="10">
                  <c:v>Av Price/Unit 218.00</c:v>
                </c:pt>
                <c:pt idx="11">
                  <c:v>Av Price/Unit 55.66</c:v>
                </c:pt>
              </c:strCache>
            </c:strRef>
          </c:cat>
          <c:val>
            <c:numRef>
              <c:f>Sheet1!$D$2:$D$13</c:f>
              <c:numCache>
                <c:formatCode>General</c:formatCode>
                <c:ptCount val="12"/>
                <c:pt idx="0">
                  <c:v>1.3193705467372041</c:v>
                </c:pt>
                <c:pt idx="1">
                  <c:v>0.66186260047280854</c:v>
                </c:pt>
                <c:pt idx="2">
                  <c:v>0.16188010677808862</c:v>
                </c:pt>
                <c:pt idx="3">
                  <c:v>-0.39846715830874757</c:v>
                </c:pt>
                <c:pt idx="4">
                  <c:v>1.8486795399515898</c:v>
                </c:pt>
                <c:pt idx="5">
                  <c:v>3.2713071895425827E-2</c:v>
                </c:pt>
                <c:pt idx="6">
                  <c:v>0.95398619957538244</c:v>
                </c:pt>
                <c:pt idx="7">
                  <c:v>1.0062547202797241</c:v>
                </c:pt>
                <c:pt idx="8">
                  <c:v>1.5581031331592712</c:v>
                </c:pt>
                <c:pt idx="9">
                  <c:v>0.95254002998500198</c:v>
                </c:pt>
                <c:pt idx="10">
                  <c:v>10.024340220385739</c:v>
                </c:pt>
                <c:pt idx="11">
                  <c:v>1.089127983539093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15</c:v>
                </c:pt>
                <c:pt idx="1">
                  <c:v>Av Price/Unit 57.29</c:v>
                </c:pt>
                <c:pt idx="2">
                  <c:v>Av Price/Unit 37.32</c:v>
                </c:pt>
                <c:pt idx="3">
                  <c:v>Av Price/Unit 80.11</c:v>
                </c:pt>
                <c:pt idx="4">
                  <c:v>Av Price/Unit 93.37</c:v>
                </c:pt>
                <c:pt idx="5">
                  <c:v>Av Price/Unit 25.04</c:v>
                </c:pt>
                <c:pt idx="6">
                  <c:v>Av Price/Unit 37.61</c:v>
                </c:pt>
                <c:pt idx="7">
                  <c:v>Av Price/Unit 36.13</c:v>
                </c:pt>
                <c:pt idx="8">
                  <c:v>Av Price/Unit 47.22</c:v>
                </c:pt>
                <c:pt idx="9">
                  <c:v>Av Price/Unit 51.10</c:v>
                </c:pt>
                <c:pt idx="10">
                  <c:v>Av Price/Unit 218.00</c:v>
                </c:pt>
                <c:pt idx="11">
                  <c:v>Av Price/Unit 55.66</c:v>
                </c:pt>
              </c:strCache>
            </c:strRef>
          </c:cat>
          <c:val>
            <c:numRef>
              <c:f>Sheet1!$E$2:$E$13</c:f>
              <c:numCache>
                <c:formatCode>General</c:formatCode>
                <c:ptCount val="12"/>
                <c:pt idx="0">
                  <c:v>14.691358024691358</c:v>
                </c:pt>
                <c:pt idx="1">
                  <c:v>9.548936170212766</c:v>
                </c:pt>
                <c:pt idx="2">
                  <c:v>6.2203458681522728</c:v>
                </c:pt>
                <c:pt idx="3">
                  <c:v>13.351524090462144</c:v>
                </c:pt>
                <c:pt idx="4">
                  <c:v>15.561138014527836</c:v>
                </c:pt>
                <c:pt idx="5">
                  <c:v>4.1732026143790844</c:v>
                </c:pt>
                <c:pt idx="6">
                  <c:v>6.2685774946921393</c:v>
                </c:pt>
                <c:pt idx="7">
                  <c:v>6.02229020979021</c:v>
                </c:pt>
                <c:pt idx="8">
                  <c:v>7.8707571801566534</c:v>
                </c:pt>
                <c:pt idx="9">
                  <c:v>8.5172413793103452</c:v>
                </c:pt>
                <c:pt idx="10">
                  <c:v>36.333333333333321</c:v>
                </c:pt>
                <c:pt idx="11">
                  <c:v>9.276954732510290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66</c:v>
                </c:pt>
                <c:pt idx="1">
                  <c:v>Av Price/Unit 57.42</c:v>
                </c:pt>
                <c:pt idx="2">
                  <c:v>Av Price/Unit 37.38</c:v>
                </c:pt>
                <c:pt idx="3">
                  <c:v>Av Price/Unit 93.01</c:v>
                </c:pt>
                <c:pt idx="4">
                  <c:v>Av Price/Unit 25.01</c:v>
                </c:pt>
                <c:pt idx="5">
                  <c:v>Av Price/Unit 80.14</c:v>
                </c:pt>
                <c:pt idx="6">
                  <c:v>Av Price/Unit 37.93</c:v>
                </c:pt>
                <c:pt idx="7">
                  <c:v>Av Price/Unit 36.19</c:v>
                </c:pt>
                <c:pt idx="8">
                  <c:v>Av Price/Unit 51.29</c:v>
                </c:pt>
                <c:pt idx="9">
                  <c:v>Av Price/Unit 47.56</c:v>
                </c:pt>
                <c:pt idx="10">
                  <c:v>Av Price/Unit 220.36</c:v>
                </c:pt>
                <c:pt idx="11">
                  <c:v>Av Price/Unit 56.04</c:v>
                </c:pt>
              </c:strCache>
            </c:strRef>
          </c:cat>
          <c:val>
            <c:numRef>
              <c:f>Sheet1!$B$2:$B$13</c:f>
              <c:numCache>
                <c:formatCode>General</c:formatCode>
                <c:ptCount val="12"/>
                <c:pt idx="0">
                  <c:v>29.35817536121673</c:v>
                </c:pt>
                <c:pt idx="1">
                  <c:v>19.743019305019303</c:v>
                </c:pt>
                <c:pt idx="2">
                  <c:v>12.506571258907362</c:v>
                </c:pt>
                <c:pt idx="3">
                  <c:v>31.287064696223318</c:v>
                </c:pt>
                <c:pt idx="4">
                  <c:v>5.3443322731524781</c:v>
                </c:pt>
                <c:pt idx="5">
                  <c:v>26.137725236593059</c:v>
                </c:pt>
                <c:pt idx="6">
                  <c:v>13.422370944558523</c:v>
                </c:pt>
                <c:pt idx="7">
                  <c:v>12.545869999999999</c:v>
                </c:pt>
                <c:pt idx="8">
                  <c:v>18.668316609589038</c:v>
                </c:pt>
                <c:pt idx="9">
                  <c:v>16.530455831739964</c:v>
                </c:pt>
                <c:pt idx="10">
                  <c:v>70.636555999999999</c:v>
                </c:pt>
                <c:pt idx="11">
                  <c:v>18.70813669354838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66</c:v>
                </c:pt>
                <c:pt idx="1">
                  <c:v>Av Price/Unit 57.42</c:v>
                </c:pt>
                <c:pt idx="2">
                  <c:v>Av Price/Unit 37.38</c:v>
                </c:pt>
                <c:pt idx="3">
                  <c:v>Av Price/Unit 93.01</c:v>
                </c:pt>
                <c:pt idx="4">
                  <c:v>Av Price/Unit 25.01</c:v>
                </c:pt>
                <c:pt idx="5">
                  <c:v>Av Price/Unit 80.14</c:v>
                </c:pt>
                <c:pt idx="6">
                  <c:v>Av Price/Unit 37.93</c:v>
                </c:pt>
                <c:pt idx="7">
                  <c:v>Av Price/Unit 36.19</c:v>
                </c:pt>
                <c:pt idx="8">
                  <c:v>Av Price/Unit 51.29</c:v>
                </c:pt>
                <c:pt idx="9">
                  <c:v>Av Price/Unit 47.56</c:v>
                </c:pt>
                <c:pt idx="10">
                  <c:v>Av Price/Unit 220.36</c:v>
                </c:pt>
                <c:pt idx="11">
                  <c:v>Av Price/Unit 56.04</c:v>
                </c:pt>
              </c:strCache>
            </c:strRef>
          </c:cat>
          <c:val>
            <c:numRef>
              <c:f>Sheet1!$C$2:$C$13</c:f>
              <c:numCache>
                <c:formatCode>General</c:formatCode>
                <c:ptCount val="12"/>
                <c:pt idx="0">
                  <c:v>42.80144053231939</c:v>
                </c:pt>
                <c:pt idx="1">
                  <c:v>27.353953822393819</c:v>
                </c:pt>
                <c:pt idx="2">
                  <c:v>18.442910688836108</c:v>
                </c:pt>
                <c:pt idx="3">
                  <c:v>44.649953366174053</c:v>
                </c:pt>
                <c:pt idx="4">
                  <c:v>15.488967726847521</c:v>
                </c:pt>
                <c:pt idx="5">
                  <c:v>40.741503470031546</c:v>
                </c:pt>
                <c:pt idx="6">
                  <c:v>17.052268583162217</c:v>
                </c:pt>
                <c:pt idx="7">
                  <c:v>16.566447142857143</c:v>
                </c:pt>
                <c:pt idx="8">
                  <c:v>22.95086934931507</c:v>
                </c:pt>
                <c:pt idx="9">
                  <c:v>21.243353919694076</c:v>
                </c:pt>
                <c:pt idx="10">
                  <c:v>100.94141333333334</c:v>
                </c:pt>
                <c:pt idx="11">
                  <c:v>26.74613104838710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66</c:v>
                </c:pt>
                <c:pt idx="1">
                  <c:v>Av Price/Unit 57.42</c:v>
                </c:pt>
                <c:pt idx="2">
                  <c:v>Av Price/Unit 37.38</c:v>
                </c:pt>
                <c:pt idx="3">
                  <c:v>Av Price/Unit 93.01</c:v>
                </c:pt>
                <c:pt idx="4">
                  <c:v>Av Price/Unit 25.01</c:v>
                </c:pt>
                <c:pt idx="5">
                  <c:v>Av Price/Unit 80.14</c:v>
                </c:pt>
                <c:pt idx="6">
                  <c:v>Av Price/Unit 37.93</c:v>
                </c:pt>
                <c:pt idx="7">
                  <c:v>Av Price/Unit 36.19</c:v>
                </c:pt>
                <c:pt idx="8">
                  <c:v>Av Price/Unit 51.29</c:v>
                </c:pt>
                <c:pt idx="9">
                  <c:v>Av Price/Unit 47.56</c:v>
                </c:pt>
                <c:pt idx="10">
                  <c:v>Av Price/Unit 220.36</c:v>
                </c:pt>
                <c:pt idx="11">
                  <c:v>Av Price/Unit 56.04</c:v>
                </c:pt>
              </c:strCache>
            </c:strRef>
          </c:cat>
          <c:val>
            <c:numRef>
              <c:f>Sheet1!$D$2:$D$13</c:f>
              <c:numCache>
                <c:formatCode>General</c:formatCode>
                <c:ptCount val="12"/>
                <c:pt idx="0">
                  <c:v>1.7206122433460109</c:v>
                </c:pt>
                <c:pt idx="1">
                  <c:v>0.75180422136421043</c:v>
                </c:pt>
                <c:pt idx="2">
                  <c:v>0.20352676167854966</c:v>
                </c:pt>
                <c:pt idx="3">
                  <c:v>1.5753645320197052</c:v>
                </c:pt>
                <c:pt idx="4">
                  <c:v>5.4901465544148209E-3</c:v>
                </c:pt>
                <c:pt idx="5">
                  <c:v>-9.4216140904322287E-2</c:v>
                </c:pt>
                <c:pt idx="6">
                  <c:v>1.1355589664613248</c:v>
                </c:pt>
                <c:pt idx="7">
                  <c:v>1.0461077655677649</c:v>
                </c:pt>
                <c:pt idx="8">
                  <c:v>1.1262478310502217</c:v>
                </c:pt>
                <c:pt idx="9">
                  <c:v>1.8581214149139527</c:v>
                </c:pt>
                <c:pt idx="10">
                  <c:v>12.055363999999997</c:v>
                </c:pt>
                <c:pt idx="11">
                  <c:v>1.249361290322589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66</c:v>
                </c:pt>
                <c:pt idx="1">
                  <c:v>Av Price/Unit 57.42</c:v>
                </c:pt>
                <c:pt idx="2">
                  <c:v>Av Price/Unit 37.38</c:v>
                </c:pt>
                <c:pt idx="3">
                  <c:v>Av Price/Unit 93.01</c:v>
                </c:pt>
                <c:pt idx="4">
                  <c:v>Av Price/Unit 25.01</c:v>
                </c:pt>
                <c:pt idx="5">
                  <c:v>Av Price/Unit 80.14</c:v>
                </c:pt>
                <c:pt idx="6">
                  <c:v>Av Price/Unit 37.93</c:v>
                </c:pt>
                <c:pt idx="7">
                  <c:v>Av Price/Unit 36.19</c:v>
                </c:pt>
                <c:pt idx="8">
                  <c:v>Av Price/Unit 51.29</c:v>
                </c:pt>
                <c:pt idx="9">
                  <c:v>Av Price/Unit 47.56</c:v>
                </c:pt>
                <c:pt idx="10">
                  <c:v>Av Price/Unit 220.36</c:v>
                </c:pt>
                <c:pt idx="11">
                  <c:v>Av Price/Unit 56.04</c:v>
                </c:pt>
              </c:strCache>
            </c:strRef>
          </c:cat>
          <c:val>
            <c:numRef>
              <c:f>Sheet1!$E$2:$E$13</c:f>
              <c:numCache>
                <c:formatCode>General</c:formatCode>
                <c:ptCount val="12"/>
                <c:pt idx="0">
                  <c:v>14.776045627376426</c:v>
                </c:pt>
                <c:pt idx="1">
                  <c:v>9.5697554697554708</c:v>
                </c:pt>
                <c:pt idx="2">
                  <c:v>6.2306017418843993</c:v>
                </c:pt>
                <c:pt idx="3">
                  <c:v>15.50246305418718</c:v>
                </c:pt>
                <c:pt idx="4">
                  <c:v>4.1677580293108782</c:v>
                </c:pt>
                <c:pt idx="5">
                  <c:v>13.356992639327029</c:v>
                </c:pt>
                <c:pt idx="6">
                  <c:v>6.3220396988364147</c:v>
                </c:pt>
                <c:pt idx="7">
                  <c:v>6.0316849816849807</c:v>
                </c:pt>
                <c:pt idx="8">
                  <c:v>8.5490867579908763</c:v>
                </c:pt>
                <c:pt idx="9">
                  <c:v>7.9263862332695982</c:v>
                </c:pt>
                <c:pt idx="10">
                  <c:v>36.726666666666667</c:v>
                </c:pt>
                <c:pt idx="11">
                  <c:v>9.34072580645160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E6E5E5"/>
              </a:solidFill>
            </c:spPr>
            <c:extLst>
              <c:ext xmlns:c16="http://schemas.microsoft.com/office/drawing/2014/chart" uri="{C3380CC4-5D6E-409C-BE32-E72D297353CC}">
                <c16:uniqueId val="{00000005-CFF5-4D9B-9947-2A90D7752FBB}"/>
              </c:ext>
            </c:extLst>
          </c:dPt>
          <c:dPt>
            <c:idx val="3"/>
            <c:invertIfNegative val="0"/>
            <c:bubble3D val="0"/>
            <c:spPr>
              <a:solidFill>
                <a:srgbClr val="FF808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F77960E2-AEA7-4E79-BEEC-56EB726109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076DAC49-53CF-4AFE-BCF8-DDC00DEA86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8A0163C6-A504-42AD-9BED-260337E80E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62B268B4-3F70-4A04-80B9-5F815D0131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B5EE7A6E-77B6-40EC-92FE-C7E8AD3F2B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4D5FA4F-B291-462B-A1DB-950B52B764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0035D521-506A-4CC2-850F-7936930309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ACC87E56-CECE-4767-8855-695EEECBD0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47.725900000000003</c:v>
                </c:pt>
                <c:pt idx="1">
                  <c:v>49.932400000000001</c:v>
                </c:pt>
                <c:pt idx="2">
                  <c:v>44.402900000000002</c:v>
                </c:pt>
                <c:pt idx="3">
                  <c:v>48.112499999999997</c:v>
                </c:pt>
                <c:pt idx="4">
                  <c:v>44.137700000000002</c:v>
                </c:pt>
              </c:numCache>
            </c:numRef>
          </c:xVal>
          <c:yVal>
            <c:numRef>
              <c:f>Sheet1!$B$2:$B$6</c:f>
              <c:numCache>
                <c:formatCode>General</c:formatCode>
                <c:ptCount val="5"/>
                <c:pt idx="0">
                  <c:v>0.39979999999999999</c:v>
                </c:pt>
                <c:pt idx="1">
                  <c:v>0.39479999999999998</c:v>
                </c:pt>
                <c:pt idx="2">
                  <c:v>0.38879999999999998</c:v>
                </c:pt>
                <c:pt idx="3">
                  <c:v>0.40200000000000002</c:v>
                </c:pt>
                <c:pt idx="4">
                  <c:v>0.39660000000000001</c:v>
                </c:pt>
              </c:numCache>
            </c:numRef>
          </c:yVal>
          <c:bubbleSize>
            <c:numRef>
              <c:f>Sheet1!$C$2:$C$6</c:f>
              <c:numCache>
                <c:formatCode>General</c:formatCode>
                <c:ptCount val="5"/>
                <c:pt idx="0">
                  <c:v>36010739.481300034</c:v>
                </c:pt>
                <c:pt idx="1">
                  <c:v>5134800.602500001</c:v>
                </c:pt>
                <c:pt idx="2">
                  <c:v>1301359.3504000029</c:v>
                </c:pt>
                <c:pt idx="3">
                  <c:v>2839503.3923000032</c:v>
                </c:pt>
                <c:pt idx="4">
                  <c:v>1499753.3893999991</c:v>
                </c:pt>
              </c:numCache>
            </c:numRef>
          </c:bubbleSize>
          <c:bubble3D val="0"/>
          <c:extLst>
            <c:ext xmlns:c15="http://schemas.microsoft.com/office/drawing/2012/chart" uri="{02D57815-91ED-43cb-92C2-25804820EDAC}">
              <c15:datalabelsRange>
                <c15:f>Sheet1!$E$2:$E$29</c15:f>
                <c15:dlblRangeCache>
                  <c:ptCount val="28"/>
                  <c:pt idx="0">
                    <c:v>NICOLAS IDF</c:v>
                  </c:pt>
                  <c:pt idx="1">
                    <c:v>NICOLAS PAC</c:v>
                  </c:pt>
                  <c:pt idx="2">
                    <c:v>NICOLAS EST</c:v>
                  </c:pt>
                  <c:pt idx="3">
                    <c:v>NICOLAS RHO</c:v>
                  </c:pt>
                  <c:pt idx="4">
                    <c:v>NICOLAS AQU</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9.918880000000001"/>
          <c:min val="35.310160000000003"/>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989762251407859"/>
        <c:crossBetween val="midCat"/>
      </c:valAx>
      <c:valAx>
        <c:axId val="1011451359"/>
        <c:scaling>
          <c:orientation val="minMax"/>
          <c:max val="0.84239999999999993"/>
          <c:min val="7.1039999999999992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7.78407655323285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53</c:v>
                </c:pt>
                <c:pt idx="1">
                  <c:v>Av Price/Unit 57.55</c:v>
                </c:pt>
                <c:pt idx="2">
                  <c:v>Av Price/Unit 37.40</c:v>
                </c:pt>
                <c:pt idx="3">
                  <c:v>Av Price/Unit 80.80</c:v>
                </c:pt>
                <c:pt idx="4">
                  <c:v>Av Price/Unit 25.05</c:v>
                </c:pt>
                <c:pt idx="5">
                  <c:v>Av Price/Unit 93.36</c:v>
                </c:pt>
                <c:pt idx="6">
                  <c:v>Av Price/Unit 37.69</c:v>
                </c:pt>
                <c:pt idx="7">
                  <c:v>Av Price/Unit 36.33</c:v>
                </c:pt>
                <c:pt idx="8">
                  <c:v>Av Price/Unit 51.04</c:v>
                </c:pt>
                <c:pt idx="9">
                  <c:v>Av Price/Unit 47.16</c:v>
                </c:pt>
                <c:pt idx="10">
                  <c:v>Av Price/Unit 56.04</c:v>
                </c:pt>
                <c:pt idx="11">
                  <c:v>Av Price/Unit 229.38</c:v>
                </c:pt>
              </c:strCache>
            </c:strRef>
          </c:cat>
          <c:val>
            <c:numRef>
              <c:f>Sheet1!$B$2:$B$13</c:f>
              <c:numCache>
                <c:formatCode>General</c:formatCode>
                <c:ptCount val="12"/>
                <c:pt idx="0">
                  <c:v>29.414957004519046</c:v>
                </c:pt>
                <c:pt idx="1">
                  <c:v>19.785007633587785</c:v>
                </c:pt>
                <c:pt idx="2">
                  <c:v>12.507828752260398</c:v>
                </c:pt>
                <c:pt idx="3">
                  <c:v>26.349702409638557</c:v>
                </c:pt>
                <c:pt idx="4">
                  <c:v>5.3455388836329227</c:v>
                </c:pt>
                <c:pt idx="5">
                  <c:v>31.291352256944442</c:v>
                </c:pt>
                <c:pt idx="6">
                  <c:v>13.353339800995027</c:v>
                </c:pt>
                <c:pt idx="7">
                  <c:v>12.542425</c:v>
                </c:pt>
                <c:pt idx="8">
                  <c:v>18.668647848537002</c:v>
                </c:pt>
                <c:pt idx="9">
                  <c:v>16.6388</c:v>
                </c:pt>
                <c:pt idx="10">
                  <c:v>18.804120557491288</c:v>
                </c:pt>
                <c:pt idx="11">
                  <c:v>70.85684999999999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53</c:v>
                </c:pt>
                <c:pt idx="1">
                  <c:v>Av Price/Unit 57.55</c:v>
                </c:pt>
                <c:pt idx="2">
                  <c:v>Av Price/Unit 37.40</c:v>
                </c:pt>
                <c:pt idx="3">
                  <c:v>Av Price/Unit 80.80</c:v>
                </c:pt>
                <c:pt idx="4">
                  <c:v>Av Price/Unit 25.05</c:v>
                </c:pt>
                <c:pt idx="5">
                  <c:v>Av Price/Unit 93.36</c:v>
                </c:pt>
                <c:pt idx="6">
                  <c:v>Av Price/Unit 37.69</c:v>
                </c:pt>
                <c:pt idx="7">
                  <c:v>Av Price/Unit 36.33</c:v>
                </c:pt>
                <c:pt idx="8">
                  <c:v>Av Price/Unit 51.04</c:v>
                </c:pt>
                <c:pt idx="9">
                  <c:v>Av Price/Unit 47.16</c:v>
                </c:pt>
                <c:pt idx="10">
                  <c:v>Av Price/Unit 56.04</c:v>
                </c:pt>
                <c:pt idx="11">
                  <c:v>Av Price/Unit 229.38</c:v>
                </c:pt>
              </c:strCache>
            </c:strRef>
          </c:cat>
          <c:val>
            <c:numRef>
              <c:f>Sheet1!$C$2:$C$13</c:f>
              <c:numCache>
                <c:formatCode>General</c:formatCode>
                <c:ptCount val="12"/>
                <c:pt idx="0">
                  <c:v>42.768472369270498</c:v>
                </c:pt>
                <c:pt idx="1">
                  <c:v>27.343801221374047</c:v>
                </c:pt>
                <c:pt idx="2">
                  <c:v>18.44659825195901</c:v>
                </c:pt>
                <c:pt idx="3">
                  <c:v>40.738708433734942</c:v>
                </c:pt>
                <c:pt idx="4">
                  <c:v>15.487761116367075</c:v>
                </c:pt>
                <c:pt idx="5">
                  <c:v>44.647193923611113</c:v>
                </c:pt>
                <c:pt idx="6">
                  <c:v>17.030199601990049</c:v>
                </c:pt>
                <c:pt idx="7">
                  <c:v>16.562544047619046</c:v>
                </c:pt>
                <c:pt idx="8">
                  <c:v>22.953573493975902</c:v>
                </c:pt>
                <c:pt idx="9">
                  <c:v>21.20497980295567</c:v>
                </c:pt>
                <c:pt idx="10">
                  <c:v>26.760015679442514</c:v>
                </c:pt>
                <c:pt idx="11">
                  <c:v>100.7806625000000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53</c:v>
                </c:pt>
                <c:pt idx="1">
                  <c:v>Av Price/Unit 57.55</c:v>
                </c:pt>
                <c:pt idx="2">
                  <c:v>Av Price/Unit 37.40</c:v>
                </c:pt>
                <c:pt idx="3">
                  <c:v>Av Price/Unit 80.80</c:v>
                </c:pt>
                <c:pt idx="4">
                  <c:v>Av Price/Unit 25.05</c:v>
                </c:pt>
                <c:pt idx="5">
                  <c:v>Av Price/Unit 93.36</c:v>
                </c:pt>
                <c:pt idx="6">
                  <c:v>Av Price/Unit 37.69</c:v>
                </c:pt>
                <c:pt idx="7">
                  <c:v>Av Price/Unit 36.33</c:v>
                </c:pt>
                <c:pt idx="8">
                  <c:v>Av Price/Unit 51.04</c:v>
                </c:pt>
                <c:pt idx="9">
                  <c:v>Av Price/Unit 47.16</c:v>
                </c:pt>
                <c:pt idx="10">
                  <c:v>Av Price/Unit 56.04</c:v>
                </c:pt>
                <c:pt idx="11">
                  <c:v>Av Price/Unit 229.38</c:v>
                </c:pt>
              </c:strCache>
            </c:strRef>
          </c:cat>
          <c:val>
            <c:numRef>
              <c:f>Sheet1!$D$2:$D$13</c:f>
              <c:numCache>
                <c:formatCode>General</c:formatCode>
                <c:ptCount val="12"/>
                <c:pt idx="0">
                  <c:v>1.5932007101355765</c:v>
                </c:pt>
                <c:pt idx="1">
                  <c:v>0.83238707379134524</c:v>
                </c:pt>
                <c:pt idx="2">
                  <c:v>0.20892441229656811</c:v>
                </c:pt>
                <c:pt idx="3">
                  <c:v>0.24220828313252696</c:v>
                </c:pt>
                <c:pt idx="4">
                  <c:v>4.3395048880480402E-2</c:v>
                </c:pt>
                <c:pt idx="5">
                  <c:v>1.8653407986111148</c:v>
                </c:pt>
                <c:pt idx="6">
                  <c:v>1.0269083582089529</c:v>
                </c:pt>
                <c:pt idx="7">
                  <c:v>1.1719068542568571</c:v>
                </c:pt>
                <c:pt idx="8">
                  <c:v>0.90933344807802996</c:v>
                </c:pt>
                <c:pt idx="9">
                  <c:v>1.458354844006557</c:v>
                </c:pt>
                <c:pt idx="10">
                  <c:v>1.1373736353077817</c:v>
                </c:pt>
                <c:pt idx="11">
                  <c:v>19.50832083333332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53</c:v>
                </c:pt>
                <c:pt idx="1">
                  <c:v>Av Price/Unit 57.55</c:v>
                </c:pt>
                <c:pt idx="2">
                  <c:v>Av Price/Unit 37.40</c:v>
                </c:pt>
                <c:pt idx="3">
                  <c:v>Av Price/Unit 80.80</c:v>
                </c:pt>
                <c:pt idx="4">
                  <c:v>Av Price/Unit 25.05</c:v>
                </c:pt>
                <c:pt idx="5">
                  <c:v>Av Price/Unit 93.36</c:v>
                </c:pt>
                <c:pt idx="6">
                  <c:v>Av Price/Unit 37.69</c:v>
                </c:pt>
                <c:pt idx="7">
                  <c:v>Av Price/Unit 36.33</c:v>
                </c:pt>
                <c:pt idx="8">
                  <c:v>Av Price/Unit 51.04</c:v>
                </c:pt>
                <c:pt idx="9">
                  <c:v>Av Price/Unit 47.16</c:v>
                </c:pt>
                <c:pt idx="10">
                  <c:v>Av Price/Unit 56.04</c:v>
                </c:pt>
                <c:pt idx="11">
                  <c:v>Av Price/Unit 229.38</c:v>
                </c:pt>
              </c:strCache>
            </c:strRef>
          </c:cat>
          <c:val>
            <c:numRef>
              <c:f>Sheet1!$E$2:$E$13</c:f>
              <c:numCache>
                <c:formatCode>General</c:formatCode>
                <c:ptCount val="12"/>
                <c:pt idx="0">
                  <c:v>14.755326016785023</c:v>
                </c:pt>
                <c:pt idx="1">
                  <c:v>9.5922391857506319</c:v>
                </c:pt>
                <c:pt idx="2">
                  <c:v>6.2326702833031904</c:v>
                </c:pt>
                <c:pt idx="3">
                  <c:v>13.466114457831326</c:v>
                </c:pt>
                <c:pt idx="4">
                  <c:v>4.1753390097760947</c:v>
                </c:pt>
                <c:pt idx="5">
                  <c:v>15.560763888888902</c:v>
                </c:pt>
                <c:pt idx="6">
                  <c:v>6.2820895522388023</c:v>
                </c:pt>
                <c:pt idx="7">
                  <c:v>6.0553751803751776</c:v>
                </c:pt>
                <c:pt idx="8">
                  <c:v>8.5063109581181831</c:v>
                </c:pt>
                <c:pt idx="9">
                  <c:v>7.8604269293924469</c:v>
                </c:pt>
                <c:pt idx="10">
                  <c:v>9.3403019744483142</c:v>
                </c:pt>
                <c:pt idx="11">
                  <c:v>38.22916666666666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90</c:v>
                </c:pt>
                <c:pt idx="1">
                  <c:v>Av Price/Unit 12.65</c:v>
                </c:pt>
              </c:strCache>
            </c:strRef>
          </c:cat>
          <c:val>
            <c:numRef>
              <c:f>Sheet1!$B$2:$B$3</c:f>
              <c:numCache>
                <c:formatCode>General</c:formatCode>
                <c:ptCount val="2"/>
                <c:pt idx="0">
                  <c:v>5.1190837750484803</c:v>
                </c:pt>
                <c:pt idx="1">
                  <c:v>5.231885448916409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90</c:v>
                </c:pt>
                <c:pt idx="1">
                  <c:v>Av Price/Unit 12.65</c:v>
                </c:pt>
              </c:strCache>
            </c:strRef>
          </c:cat>
          <c:val>
            <c:numRef>
              <c:f>Sheet1!$C$2:$C$3</c:f>
              <c:numCache>
                <c:formatCode>General</c:formatCode>
                <c:ptCount val="2"/>
                <c:pt idx="0">
                  <c:v>4.9710407886231414</c:v>
                </c:pt>
                <c:pt idx="1">
                  <c:v>4.81965541795665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90</c:v>
                </c:pt>
                <c:pt idx="1">
                  <c:v>Av Price/Unit 12.65</c:v>
                </c:pt>
              </c:strCache>
            </c:strRef>
          </c:cat>
          <c:val>
            <c:numRef>
              <c:f>Sheet1!$D$2:$D$3</c:f>
              <c:numCache>
                <c:formatCode>General</c:formatCode>
                <c:ptCount val="2"/>
                <c:pt idx="0">
                  <c:v>0.66020810170222077</c:v>
                </c:pt>
                <c:pt idx="1">
                  <c:v>0.4902547987616134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90</c:v>
                </c:pt>
                <c:pt idx="1">
                  <c:v>Av Price/Unit 12.65</c:v>
                </c:pt>
              </c:strCache>
            </c:strRef>
          </c:cat>
          <c:val>
            <c:numRef>
              <c:f>Sheet1!$E$2:$E$3</c:f>
              <c:numCache>
                <c:formatCode>General</c:formatCode>
                <c:ptCount val="2"/>
                <c:pt idx="0">
                  <c:v>2.1500754147812957</c:v>
                </c:pt>
                <c:pt idx="1">
                  <c:v>2.108359133126933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12.82</c:v>
                </c:pt>
                <c:pt idx="1">
                  <c:v>Av Price/Unit 12.61</c:v>
                </c:pt>
                <c:pt idx="2">
                  <c:v>Av Price/Unit 12.14</c:v>
                </c:pt>
                <c:pt idx="3">
                  <c:v>Av Price/Unit 22.46</c:v>
                </c:pt>
                <c:pt idx="4">
                  <c:v>Av Price/Unit 18.85</c:v>
                </c:pt>
                <c:pt idx="5">
                  <c:v>Av Price/Unit 20.06</c:v>
                </c:pt>
                <c:pt idx="6">
                  <c:v>Av Price/Unit 14.25</c:v>
                </c:pt>
              </c:strCache>
            </c:strRef>
          </c:cat>
          <c:val>
            <c:numRef>
              <c:f>Sheet1!$B$2:$B$8</c:f>
              <c:numCache>
                <c:formatCode>General</c:formatCode>
                <c:ptCount val="7"/>
                <c:pt idx="0">
                  <c:v>5.1145929341317373</c:v>
                </c:pt>
                <c:pt idx="1">
                  <c:v>5.2191503510945889</c:v>
                </c:pt>
                <c:pt idx="2">
                  <c:v>4.0228637333333328</c:v>
                </c:pt>
                <c:pt idx="3">
                  <c:v>7.166699999999997</c:v>
                </c:pt>
                <c:pt idx="4">
                  <c:v>5.4366999999999992</c:v>
                </c:pt>
                <c:pt idx="5">
                  <c:v>6.18</c:v>
                </c:pt>
                <c:pt idx="6">
                  <c:v>4.379732919254658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12.82</c:v>
                </c:pt>
                <c:pt idx="1">
                  <c:v>Av Price/Unit 12.61</c:v>
                </c:pt>
                <c:pt idx="2">
                  <c:v>Av Price/Unit 12.14</c:v>
                </c:pt>
                <c:pt idx="3">
                  <c:v>Av Price/Unit 22.46</c:v>
                </c:pt>
                <c:pt idx="4">
                  <c:v>Av Price/Unit 18.85</c:v>
                </c:pt>
                <c:pt idx="5">
                  <c:v>Av Price/Unit 20.06</c:v>
                </c:pt>
                <c:pt idx="6">
                  <c:v>Av Price/Unit 14.25</c:v>
                </c:pt>
              </c:strCache>
            </c:strRef>
          </c:cat>
          <c:val>
            <c:numRef>
              <c:f>Sheet1!$C$2:$C$8</c:f>
              <c:numCache>
                <c:formatCode>General</c:formatCode>
                <c:ptCount val="7"/>
                <c:pt idx="0">
                  <c:v>4.9647134131736523</c:v>
                </c:pt>
                <c:pt idx="1">
                  <c:v>4.8107321664601397</c:v>
                </c:pt>
                <c:pt idx="2">
                  <c:v>6.0342666666666682</c:v>
                </c:pt>
                <c:pt idx="3">
                  <c:v>10.75</c:v>
                </c:pt>
                <c:pt idx="4">
                  <c:v>9.230000000000004</c:v>
                </c:pt>
                <c:pt idx="5">
                  <c:v>10.070000000000002</c:v>
                </c:pt>
                <c:pt idx="6">
                  <c:v>7.009685093167703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12.82</c:v>
                </c:pt>
                <c:pt idx="1">
                  <c:v>Av Price/Unit 12.61</c:v>
                </c:pt>
                <c:pt idx="2">
                  <c:v>Av Price/Unit 12.14</c:v>
                </c:pt>
                <c:pt idx="3">
                  <c:v>Av Price/Unit 22.46</c:v>
                </c:pt>
                <c:pt idx="4">
                  <c:v>Av Price/Unit 18.85</c:v>
                </c:pt>
                <c:pt idx="5">
                  <c:v>Av Price/Unit 20.06</c:v>
                </c:pt>
                <c:pt idx="6">
                  <c:v>Av Price/Unit 14.25</c:v>
                </c:pt>
              </c:strCache>
            </c:strRef>
          </c:cat>
          <c:val>
            <c:numRef>
              <c:f>Sheet1!$D$2:$D$8</c:f>
              <c:numCache>
                <c:formatCode>General</c:formatCode>
                <c:ptCount val="7"/>
                <c:pt idx="0">
                  <c:v>0.60043010867154756</c:v>
                </c:pt>
                <c:pt idx="1">
                  <c:v>0.47516016453255894</c:v>
                </c:pt>
                <c:pt idx="2">
                  <c:v>5.7684414814813678E-2</c:v>
                </c:pt>
                <c:pt idx="3">
                  <c:v>0.80220547263680686</c:v>
                </c:pt>
                <c:pt idx="4">
                  <c:v>1.0375253521126737</c:v>
                </c:pt>
                <c:pt idx="5">
                  <c:v>0.45868347338935678</c:v>
                </c:pt>
                <c:pt idx="6">
                  <c:v>0.484287991718428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12.82</c:v>
                </c:pt>
                <c:pt idx="1">
                  <c:v>Av Price/Unit 12.61</c:v>
                </c:pt>
                <c:pt idx="2">
                  <c:v>Av Price/Unit 12.14</c:v>
                </c:pt>
                <c:pt idx="3">
                  <c:v>Av Price/Unit 22.46</c:v>
                </c:pt>
                <c:pt idx="4">
                  <c:v>Av Price/Unit 18.85</c:v>
                </c:pt>
                <c:pt idx="5">
                  <c:v>Av Price/Unit 20.06</c:v>
                </c:pt>
                <c:pt idx="6">
                  <c:v>Av Price/Unit 14.25</c:v>
                </c:pt>
              </c:strCache>
            </c:strRef>
          </c:cat>
          <c:val>
            <c:numRef>
              <c:f>Sheet1!$E$2:$E$8</c:f>
              <c:numCache>
                <c:formatCode>General</c:formatCode>
                <c:ptCount val="7"/>
                <c:pt idx="0">
                  <c:v>2.1359558660456859</c:v>
                </c:pt>
                <c:pt idx="1">
                  <c:v>2.1010085364174618</c:v>
                </c:pt>
                <c:pt idx="2">
                  <c:v>2.0229629629629633</c:v>
                </c:pt>
                <c:pt idx="3">
                  <c:v>3.7437810945273653</c:v>
                </c:pt>
                <c:pt idx="4">
                  <c:v>3.1408450704225386</c:v>
                </c:pt>
                <c:pt idx="5">
                  <c:v>3.3417366946778699</c:v>
                </c:pt>
                <c:pt idx="6">
                  <c:v>2.374741200828155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2.81</c:v>
                </c:pt>
                <c:pt idx="1">
                  <c:v>Av Price/Unit 12.55</c:v>
                </c:pt>
                <c:pt idx="2">
                  <c:v>Av Price/Unit 12.12</c:v>
                </c:pt>
                <c:pt idx="3">
                  <c:v>Av Price/Unit 14.25</c:v>
                </c:pt>
                <c:pt idx="4">
                  <c:v>Av Price/Unit 20.14</c:v>
                </c:pt>
              </c:strCache>
            </c:strRef>
          </c:cat>
          <c:val>
            <c:numRef>
              <c:f>Sheet1!$B$2:$B$6</c:f>
              <c:numCache>
                <c:formatCode>General</c:formatCode>
                <c:ptCount val="5"/>
                <c:pt idx="0">
                  <c:v>5.1212597684515195</c:v>
                </c:pt>
                <c:pt idx="1">
                  <c:v>5.2174163150492268</c:v>
                </c:pt>
                <c:pt idx="2">
                  <c:v>4.0263342105263149</c:v>
                </c:pt>
                <c:pt idx="3">
                  <c:v>4.3797329192546588</c:v>
                </c:pt>
                <c:pt idx="4">
                  <c:v>6.180000000000000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2.81</c:v>
                </c:pt>
                <c:pt idx="1">
                  <c:v>Av Price/Unit 12.55</c:v>
                </c:pt>
                <c:pt idx="2">
                  <c:v>Av Price/Unit 12.12</c:v>
                </c:pt>
                <c:pt idx="3">
                  <c:v>Av Price/Unit 14.25</c:v>
                </c:pt>
                <c:pt idx="4">
                  <c:v>Av Price/Unit 20.14</c:v>
                </c:pt>
              </c:strCache>
            </c:strRef>
          </c:cat>
          <c:val>
            <c:numRef>
              <c:f>Sheet1!$C$2:$C$6</c:f>
              <c:numCache>
                <c:formatCode>General</c:formatCode>
                <c:ptCount val="5"/>
                <c:pt idx="0">
                  <c:v>4.9741066570188126</c:v>
                </c:pt>
                <c:pt idx="1">
                  <c:v>4.8095171589310839</c:v>
                </c:pt>
                <c:pt idx="2">
                  <c:v>6.0394736842105265</c:v>
                </c:pt>
                <c:pt idx="3">
                  <c:v>7.0096850931677031</c:v>
                </c:pt>
                <c:pt idx="4">
                  <c:v>10.06999999999999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2.81</c:v>
                </c:pt>
                <c:pt idx="1">
                  <c:v>Av Price/Unit 12.55</c:v>
                </c:pt>
                <c:pt idx="2">
                  <c:v>Av Price/Unit 12.12</c:v>
                </c:pt>
                <c:pt idx="3">
                  <c:v>Av Price/Unit 14.25</c:v>
                </c:pt>
                <c:pt idx="4">
                  <c:v>Av Price/Unit 20.14</c:v>
                </c:pt>
              </c:strCache>
            </c:strRef>
          </c:cat>
          <c:val>
            <c:numRef>
              <c:f>Sheet1!$D$2:$D$6</c:f>
              <c:numCache>
                <c:formatCode>General</c:formatCode>
                <c:ptCount val="5"/>
                <c:pt idx="0">
                  <c:v>0.57595841775205159</c:v>
                </c:pt>
                <c:pt idx="1">
                  <c:v>0.43055988435693138</c:v>
                </c:pt>
                <c:pt idx="2">
                  <c:v>3.8358771929821955E-2</c:v>
                </c:pt>
                <c:pt idx="3">
                  <c:v>0.4842879917184284</c:v>
                </c:pt>
                <c:pt idx="4">
                  <c:v>0.5518018018018011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2.81</c:v>
                </c:pt>
                <c:pt idx="1">
                  <c:v>Av Price/Unit 12.55</c:v>
                </c:pt>
                <c:pt idx="2">
                  <c:v>Av Price/Unit 12.12</c:v>
                </c:pt>
                <c:pt idx="3">
                  <c:v>Av Price/Unit 14.25</c:v>
                </c:pt>
                <c:pt idx="4">
                  <c:v>Av Price/Unit 20.14</c:v>
                </c:pt>
              </c:strCache>
            </c:strRef>
          </c:cat>
          <c:val>
            <c:numRef>
              <c:f>Sheet1!$E$2:$E$6</c:f>
              <c:numCache>
                <c:formatCode>General</c:formatCode>
                <c:ptCount val="5"/>
                <c:pt idx="0">
                  <c:v>2.134273999035214</c:v>
                </c:pt>
                <c:pt idx="1">
                  <c:v>2.0914986716674471</c:v>
                </c:pt>
                <c:pt idx="2">
                  <c:v>2.0208333333333335</c:v>
                </c:pt>
                <c:pt idx="3">
                  <c:v>2.3747412008281557</c:v>
                </c:pt>
                <c:pt idx="4">
                  <c:v>3.360360360360361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81</c:v>
                </c:pt>
                <c:pt idx="1">
                  <c:v>Av Price/Unit 12.58</c:v>
                </c:pt>
              </c:strCache>
            </c:strRef>
          </c:cat>
          <c:val>
            <c:numRef>
              <c:f>Sheet1!$B$2:$B$3</c:f>
              <c:numCache>
                <c:formatCode>General</c:formatCode>
                <c:ptCount val="2"/>
                <c:pt idx="0">
                  <c:v>5.1167321658120892</c:v>
                </c:pt>
                <c:pt idx="1">
                  <c:v>5.228849930523390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81</c:v>
                </c:pt>
                <c:pt idx="1">
                  <c:v>Av Price/Unit 12.58</c:v>
                </c:pt>
              </c:strCache>
            </c:strRef>
          </c:cat>
          <c:val>
            <c:numRef>
              <c:f>Sheet1!$C$2:$C$3</c:f>
              <c:numCache>
                <c:formatCode>General</c:formatCode>
                <c:ptCount val="2"/>
                <c:pt idx="0">
                  <c:v>4.967727486098072</c:v>
                </c:pt>
                <c:pt idx="1">
                  <c:v>4.817528485409911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81</c:v>
                </c:pt>
                <c:pt idx="1">
                  <c:v>Av Price/Unit 12.58</c:v>
                </c:pt>
              </c:strCache>
            </c:strRef>
          </c:cat>
          <c:val>
            <c:numRef>
              <c:f>Sheet1!$D$2:$D$3</c:f>
              <c:numCache>
                <c:formatCode>General</c:formatCode>
                <c:ptCount val="2"/>
                <c:pt idx="0">
                  <c:v>0.58760381791483063</c:v>
                </c:pt>
                <c:pt idx="1">
                  <c:v>0.438220935618341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81</c:v>
                </c:pt>
                <c:pt idx="1">
                  <c:v>Av Price/Unit 12.58</c:v>
                </c:pt>
              </c:strCache>
            </c:strRef>
          </c:cat>
          <c:val>
            <c:numRef>
              <c:f>Sheet1!$E$2:$E$3</c:f>
              <c:numCache>
                <c:formatCode>General</c:formatCode>
                <c:ptCount val="2"/>
                <c:pt idx="0">
                  <c:v>2.1344214149876013</c:v>
                </c:pt>
                <c:pt idx="1">
                  <c:v>2.0969198703103289</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3.07</c:v>
                </c:pt>
                <c:pt idx="1">
                  <c:v>Av Price/Unit 12.90</c:v>
                </c:pt>
              </c:strCache>
            </c:strRef>
          </c:cat>
          <c:val>
            <c:numRef>
              <c:f>Sheet1!$B$2:$B$3</c:f>
              <c:numCache>
                <c:formatCode>General</c:formatCode>
                <c:ptCount val="2"/>
                <c:pt idx="0">
                  <c:v>5.1243916218779635</c:v>
                </c:pt>
                <c:pt idx="1">
                  <c:v>5.235849958088851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3.07</c:v>
                </c:pt>
                <c:pt idx="1">
                  <c:v>Av Price/Unit 12.90</c:v>
                </c:pt>
              </c:strCache>
            </c:strRef>
          </c:cat>
          <c:val>
            <c:numRef>
              <c:f>Sheet1!$C$2:$C$3</c:f>
              <c:numCache>
                <c:formatCode>General</c:formatCode>
                <c:ptCount val="2"/>
                <c:pt idx="0">
                  <c:v>4.9785192854884608</c:v>
                </c:pt>
                <c:pt idx="1">
                  <c:v>4.822433277451802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3.07</c:v>
                </c:pt>
                <c:pt idx="1">
                  <c:v>Av Price/Unit 12.90</c:v>
                </c:pt>
              </c:strCache>
            </c:strRef>
          </c:cat>
          <c:val>
            <c:numRef>
              <c:f>Sheet1!$D$2:$D$3</c:f>
              <c:numCache>
                <c:formatCode>General</c:formatCode>
                <c:ptCount val="2"/>
                <c:pt idx="0">
                  <c:v>0.78596688797555281</c:v>
                </c:pt>
                <c:pt idx="1">
                  <c:v>0.6933233584800220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3.07</c:v>
                </c:pt>
                <c:pt idx="1">
                  <c:v>Av Price/Unit 12.90</c:v>
                </c:pt>
              </c:strCache>
            </c:strRef>
          </c:cat>
          <c:val>
            <c:numRef>
              <c:f>Sheet1!$E$2:$E$3</c:f>
              <c:numCache>
                <c:formatCode>General</c:formatCode>
                <c:ptCount val="2"/>
                <c:pt idx="0">
                  <c:v>2.1777848034566323</c:v>
                </c:pt>
                <c:pt idx="1">
                  <c:v>2.150321318804134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51</c:v>
                </c:pt>
                <c:pt idx="1">
                  <c:v>Av Price/Unit 12.29</c:v>
                </c:pt>
              </c:strCache>
            </c:strRef>
          </c:cat>
          <c:val>
            <c:numRef>
              <c:f>Sheet1!$B$2:$B$3</c:f>
              <c:numCache>
                <c:formatCode>General</c:formatCode>
                <c:ptCount val="2"/>
                <c:pt idx="0">
                  <c:v>5.0723134476534293</c:v>
                </c:pt>
                <c:pt idx="1">
                  <c:v>5.158027322404371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51</c:v>
                </c:pt>
                <c:pt idx="1">
                  <c:v>Av Price/Unit 12.29</c:v>
                </c:pt>
              </c:strCache>
            </c:strRef>
          </c:cat>
          <c:val>
            <c:numRef>
              <c:f>Sheet1!$C$2:$C$3</c:f>
              <c:numCache>
                <c:formatCode>General</c:formatCode>
                <c:ptCount val="2"/>
                <c:pt idx="0">
                  <c:v>4.9051436823104693</c:v>
                </c:pt>
                <c:pt idx="1">
                  <c:v>4.767904371584698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51</c:v>
                </c:pt>
                <c:pt idx="1">
                  <c:v>Av Price/Unit 12.29</c:v>
                </c:pt>
              </c:strCache>
            </c:strRef>
          </c:cat>
          <c:val>
            <c:numRef>
              <c:f>Sheet1!$D$2:$D$3</c:f>
              <c:numCache>
                <c:formatCode>General</c:formatCode>
                <c:ptCount val="2"/>
                <c:pt idx="0">
                  <c:v>0.44444584837545165</c:v>
                </c:pt>
                <c:pt idx="1">
                  <c:v>0.3184520340012149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51</c:v>
                </c:pt>
                <c:pt idx="1">
                  <c:v>Av Price/Unit 12.29</c:v>
                </c:pt>
              </c:strCache>
            </c:strRef>
          </c:cat>
          <c:val>
            <c:numRef>
              <c:f>Sheet1!$E$2:$E$3</c:f>
              <c:numCache>
                <c:formatCode>General</c:formatCode>
                <c:ptCount val="2"/>
                <c:pt idx="0">
                  <c:v>2.0843862815884475</c:v>
                </c:pt>
                <c:pt idx="1">
                  <c:v>2.048876745598056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87</c:v>
                </c:pt>
                <c:pt idx="1">
                  <c:v>Av Price/Unit 12.74</c:v>
                </c:pt>
              </c:strCache>
            </c:strRef>
          </c:cat>
          <c:val>
            <c:numRef>
              <c:f>Sheet1!$B$2:$B$3</c:f>
              <c:numCache>
                <c:formatCode>General</c:formatCode>
                <c:ptCount val="2"/>
                <c:pt idx="0">
                  <c:v>5.1023536736641217</c:v>
                </c:pt>
                <c:pt idx="1">
                  <c:v>5.213883864337102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87</c:v>
                </c:pt>
                <c:pt idx="1">
                  <c:v>Av Price/Unit 12.74</c:v>
                </c:pt>
              </c:strCache>
            </c:strRef>
          </c:cat>
          <c:val>
            <c:numRef>
              <c:f>Sheet1!$C$2:$C$3</c:f>
              <c:numCache>
                <c:formatCode>General</c:formatCode>
                <c:ptCount val="2"/>
                <c:pt idx="0">
                  <c:v>4.9474688931297708</c:v>
                </c:pt>
                <c:pt idx="1">
                  <c:v>4.807042034943473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87</c:v>
                </c:pt>
                <c:pt idx="1">
                  <c:v>Av Price/Unit 12.74</c:v>
                </c:pt>
              </c:strCache>
            </c:strRef>
          </c:cat>
          <c:val>
            <c:numRef>
              <c:f>Sheet1!$D$2:$D$3</c:f>
              <c:numCache>
                <c:formatCode>General</c:formatCode>
                <c:ptCount val="2"/>
                <c:pt idx="0">
                  <c:v>0.67413683206106967</c:v>
                </c:pt>
                <c:pt idx="1">
                  <c:v>0.5991494689962326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87</c:v>
                </c:pt>
                <c:pt idx="1">
                  <c:v>Av Price/Unit 12.74</c:v>
                </c:pt>
              </c:strCache>
            </c:strRef>
          </c:cat>
          <c:val>
            <c:numRef>
              <c:f>Sheet1!$E$2:$E$3</c:f>
              <c:numCache>
                <c:formatCode>General</c:formatCode>
                <c:ptCount val="2"/>
                <c:pt idx="0">
                  <c:v>2.1447996183206106</c:v>
                </c:pt>
                <c:pt idx="1">
                  <c:v>2.1240150736553609</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84</c:v>
                </c:pt>
                <c:pt idx="1">
                  <c:v>Av Price/Unit 12.58</c:v>
                </c:pt>
              </c:strCache>
            </c:strRef>
          </c:cat>
          <c:val>
            <c:numRef>
              <c:f>Sheet1!$B$2:$B$3</c:f>
              <c:numCache>
                <c:formatCode>General</c:formatCode>
                <c:ptCount val="2"/>
                <c:pt idx="0">
                  <c:v>5.1193865172806676</c:v>
                </c:pt>
                <c:pt idx="1">
                  <c:v>5.226165798345080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84</c:v>
                </c:pt>
                <c:pt idx="1">
                  <c:v>Av Price/Unit 12.58</c:v>
                </c:pt>
              </c:strCache>
            </c:strRef>
          </c:cat>
          <c:val>
            <c:numRef>
              <c:f>Sheet1!$C$2:$C$3</c:f>
              <c:numCache>
                <c:formatCode>General</c:formatCode>
                <c:ptCount val="2"/>
                <c:pt idx="0">
                  <c:v>4.9714673376376766</c:v>
                </c:pt>
                <c:pt idx="1">
                  <c:v>4.815647762794974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84</c:v>
                </c:pt>
                <c:pt idx="1">
                  <c:v>Av Price/Unit 12.58</c:v>
                </c:pt>
              </c:strCache>
            </c:strRef>
          </c:cat>
          <c:val>
            <c:numRef>
              <c:f>Sheet1!$D$2:$D$3</c:f>
              <c:numCache>
                <c:formatCode>General</c:formatCode>
                <c:ptCount val="2"/>
                <c:pt idx="0">
                  <c:v>0.60816164071401602</c:v>
                </c:pt>
                <c:pt idx="1">
                  <c:v>0.4393387526815821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84</c:v>
                </c:pt>
                <c:pt idx="1">
                  <c:v>Av Price/Unit 12.58</c:v>
                </c:pt>
              </c:strCache>
            </c:strRef>
          </c:cat>
          <c:val>
            <c:numRef>
              <c:f>Sheet1!$E$2:$E$3</c:f>
              <c:numCache>
                <c:formatCode>General</c:formatCode>
                <c:ptCount val="2"/>
                <c:pt idx="0">
                  <c:v>2.1398120015191795</c:v>
                </c:pt>
                <c:pt idx="1">
                  <c:v>2.096230462764327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72</c:v>
                </c:pt>
                <c:pt idx="1">
                  <c:v>Av Price/Unit 12.22</c:v>
                </c:pt>
              </c:strCache>
            </c:strRef>
          </c:cat>
          <c:val>
            <c:numRef>
              <c:f>Sheet1!$B$2:$B$3</c:f>
              <c:numCache>
                <c:formatCode>General</c:formatCode>
                <c:ptCount val="2"/>
                <c:pt idx="0">
                  <c:v>5.0957501417769375</c:v>
                </c:pt>
                <c:pt idx="1">
                  <c:v>5.16153046594982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72</c:v>
                </c:pt>
                <c:pt idx="1">
                  <c:v>Av Price/Unit 12.22</c:v>
                </c:pt>
              </c:strCache>
            </c:strRef>
          </c:cat>
          <c:val>
            <c:numRef>
              <c:f>Sheet1!$C$2:$C$3</c:f>
              <c:numCache>
                <c:formatCode>General</c:formatCode>
                <c:ptCount val="2"/>
                <c:pt idx="0">
                  <c:v>4.9381648393194713</c:v>
                </c:pt>
                <c:pt idx="1">
                  <c:v>4.770358960573476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72</c:v>
                </c:pt>
                <c:pt idx="1">
                  <c:v>Av Price/Unit 12.22</c:v>
                </c:pt>
              </c:strCache>
            </c:strRef>
          </c:cat>
          <c:val>
            <c:numRef>
              <c:f>Sheet1!$D$2:$D$3</c:f>
              <c:numCache>
                <c:formatCode>General</c:formatCode>
                <c:ptCount val="2"/>
                <c:pt idx="0">
                  <c:v>0.56505614366729517</c:v>
                </c:pt>
                <c:pt idx="1">
                  <c:v>0.2503089008363197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72</c:v>
                </c:pt>
                <c:pt idx="1">
                  <c:v>Av Price/Unit 12.22</c:v>
                </c:pt>
              </c:strCache>
            </c:strRef>
          </c:cat>
          <c:val>
            <c:numRef>
              <c:f>Sheet1!$E$2:$E$3</c:f>
              <c:numCache>
                <c:formatCode>General</c:formatCode>
                <c:ptCount val="2"/>
                <c:pt idx="0">
                  <c:v>2.1198015122873346</c:v>
                </c:pt>
                <c:pt idx="1">
                  <c:v>2.03643966547192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E6E5E5"/>
              </a:solidFill>
            </c:spPr>
            <c:extLst>
              <c:ext xmlns:c16="http://schemas.microsoft.com/office/drawing/2014/chart" uri="{C3380CC4-5D6E-409C-BE32-E72D297353CC}">
                <c16:uniqueId val="{00000005-CFF5-4D9B-9947-2A90D7752FBB}"/>
              </c:ext>
            </c:extLst>
          </c:dPt>
          <c:dPt>
            <c:idx val="3"/>
            <c:invertIfNegative val="0"/>
            <c:bubble3D val="0"/>
            <c:spPr>
              <a:solidFill>
                <a:srgbClr val="FF808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7ECAC4"/>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55A0A1F8-B63D-424F-818E-2276EEF526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B4CE2D2B-DC2B-4B92-9DD6-097D748B6D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DA3F1329-5FFF-43A7-9242-0D3B6AFD35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DA53E9E2-497A-4823-B2AE-FCFD8A53C1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9CF91F47-ABE0-445F-933B-62A7018F77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40BD996-2725-49B9-9123-860633AE8D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3F9BEC33-A330-45C8-A78F-23E4FF92F8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177CE2EA-B87D-4C21-8387-94D1E773CC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45.3296</c:v>
                </c:pt>
                <c:pt idx="1">
                  <c:v>178.27359999999999</c:v>
                </c:pt>
                <c:pt idx="2">
                  <c:v>107.0124</c:v>
                </c:pt>
                <c:pt idx="3">
                  <c:v>146.27969999999999</c:v>
                </c:pt>
                <c:pt idx="4">
                  <c:v>144.8124</c:v>
                </c:pt>
              </c:numCache>
            </c:numRef>
          </c:xVal>
          <c:yVal>
            <c:numRef>
              <c:f>Sheet1!$B$2:$B$6</c:f>
              <c:numCache>
                <c:formatCode>General</c:formatCode>
                <c:ptCount val="5"/>
                <c:pt idx="0">
                  <c:v>0.37919999999999998</c:v>
                </c:pt>
                <c:pt idx="1">
                  <c:v>0.37130000000000002</c:v>
                </c:pt>
                <c:pt idx="2">
                  <c:v>0.38779999999999998</c:v>
                </c:pt>
                <c:pt idx="3">
                  <c:v>0.3705</c:v>
                </c:pt>
                <c:pt idx="4">
                  <c:v>0.37290000000000001</c:v>
                </c:pt>
              </c:numCache>
            </c:numRef>
          </c:yVal>
          <c:bubbleSize>
            <c:numRef>
              <c:f>Sheet1!$C$2:$C$6</c:f>
              <c:numCache>
                <c:formatCode>General</c:formatCode>
                <c:ptCount val="5"/>
                <c:pt idx="0">
                  <c:v>1378741.798600002</c:v>
                </c:pt>
                <c:pt idx="1">
                  <c:v>263844.94709999999</c:v>
                </c:pt>
                <c:pt idx="2">
                  <c:v>49760.777699999962</c:v>
                </c:pt>
                <c:pt idx="3">
                  <c:v>116877.5012</c:v>
                </c:pt>
                <c:pt idx="4">
                  <c:v>45905.51749999998</c:v>
                </c:pt>
              </c:numCache>
            </c:numRef>
          </c:bubbleSize>
          <c:bubble3D val="0"/>
          <c:extLst>
            <c:ext xmlns:c15="http://schemas.microsoft.com/office/drawing/2012/chart" uri="{02D57815-91ED-43cb-92C2-25804820EDAC}">
              <c15:datalabelsRange>
                <c15:f>Sheet1!$E$2:$E$29</c15:f>
                <c15:dlblRangeCache>
                  <c:ptCount val="28"/>
                  <c:pt idx="0">
                    <c:v>NICOLAS IDF</c:v>
                  </c:pt>
                  <c:pt idx="1">
                    <c:v>NICOLAS PAC</c:v>
                  </c:pt>
                  <c:pt idx="2">
                    <c:v>NICOLAS EST</c:v>
                  </c:pt>
                  <c:pt idx="3">
                    <c:v>NICOLAS RHO</c:v>
                  </c:pt>
                  <c:pt idx="4">
                    <c:v>NICOLAS AQU</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13.92831999999999"/>
          <c:min val="85.609920000000002"/>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776030927488227"/>
        <c:crossBetween val="midCat"/>
      </c:valAx>
      <c:valAx>
        <c:axId val="1011451359"/>
        <c:scaling>
          <c:orientation val="minMax"/>
          <c:max val="0.82535999999999998"/>
          <c:min val="5.6400000000000006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49.0343081540877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2.89</c:v>
                </c:pt>
              </c:strCache>
            </c:strRef>
          </c:cat>
          <c:val>
            <c:numRef>
              <c:f>Sheet1!$B$2:$B$2</c:f>
              <c:numCache>
                <c:formatCode>General</c:formatCode>
                <c:ptCount val="1"/>
                <c:pt idx="0">
                  <c:v>5.125779295154184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2.89</c:v>
                </c:pt>
              </c:strCache>
            </c:strRef>
          </c:cat>
          <c:val>
            <c:numRef>
              <c:f>Sheet1!$C$2:$C$2</c:f>
              <c:numCache>
                <c:formatCode>General</c:formatCode>
                <c:ptCount val="1"/>
                <c:pt idx="0">
                  <c:v>4.980474449339207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2.89</c:v>
                </c:pt>
              </c:strCache>
            </c:strRef>
          </c:cat>
          <c:val>
            <c:numRef>
              <c:f>Sheet1!$D$2:$D$2</c:f>
              <c:numCache>
                <c:formatCode>General</c:formatCode>
                <c:ptCount val="1"/>
                <c:pt idx="0">
                  <c:v>0.6352560939794429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2.89</c:v>
                </c:pt>
              </c:strCache>
            </c:strRef>
          </c:cat>
          <c:val>
            <c:numRef>
              <c:f>Sheet1!$E$2:$E$2</c:f>
              <c:numCache>
                <c:formatCode>General</c:formatCode>
                <c:ptCount val="1"/>
                <c:pt idx="0">
                  <c:v>2.148311306901614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81</c:v>
                </c:pt>
                <c:pt idx="1">
                  <c:v>Av Price/Unit 12.68</c:v>
                </c:pt>
              </c:strCache>
            </c:strRef>
          </c:cat>
          <c:val>
            <c:numRef>
              <c:f>Sheet1!$B$2:$B$3</c:f>
              <c:numCache>
                <c:formatCode>General</c:formatCode>
                <c:ptCount val="2"/>
                <c:pt idx="0">
                  <c:v>5.1166167560321716</c:v>
                </c:pt>
                <c:pt idx="1">
                  <c:v>5.215102189781021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81</c:v>
                </c:pt>
                <c:pt idx="1">
                  <c:v>Av Price/Unit 12.68</c:v>
                </c:pt>
              </c:strCache>
            </c:strRef>
          </c:cat>
          <c:val>
            <c:numRef>
              <c:f>Sheet1!$C$2:$C$3</c:f>
              <c:numCache>
                <c:formatCode>General</c:formatCode>
                <c:ptCount val="2"/>
                <c:pt idx="0">
                  <c:v>4.9675648793565683</c:v>
                </c:pt>
                <c:pt idx="1">
                  <c:v>4.807895693430657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81</c:v>
                </c:pt>
                <c:pt idx="1">
                  <c:v>Av Price/Unit 12.68</c:v>
                </c:pt>
              </c:strCache>
            </c:strRef>
          </c:cat>
          <c:val>
            <c:numRef>
              <c:f>Sheet1!$D$2:$D$3</c:f>
              <c:numCache>
                <c:formatCode>General</c:formatCode>
                <c:ptCount val="2"/>
                <c:pt idx="0">
                  <c:v>0.5934632112004774</c:v>
                </c:pt>
                <c:pt idx="1">
                  <c:v>0.5439120924574218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81</c:v>
                </c:pt>
                <c:pt idx="1">
                  <c:v>Av Price/Unit 12.68</c:v>
                </c:pt>
              </c:strCache>
            </c:strRef>
          </c:cat>
          <c:val>
            <c:numRef>
              <c:f>Sheet1!$E$2:$E$3</c:f>
              <c:numCache>
                <c:formatCode>General</c:formatCode>
                <c:ptCount val="2"/>
                <c:pt idx="0">
                  <c:v>2.1355376824545722</c:v>
                </c:pt>
                <c:pt idx="1">
                  <c:v>2.1133819951338189</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67</c:v>
                </c:pt>
                <c:pt idx="1">
                  <c:v>Av Price/Unit 12.64</c:v>
                </c:pt>
              </c:strCache>
            </c:strRef>
          </c:cat>
          <c:val>
            <c:numRef>
              <c:f>Sheet1!$B$2:$B$3</c:f>
              <c:numCache>
                <c:formatCode>General</c:formatCode>
                <c:ptCount val="2"/>
                <c:pt idx="0">
                  <c:v>5.0888561009817668</c:v>
                </c:pt>
                <c:pt idx="1">
                  <c:v>5.217208242950109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67</c:v>
                </c:pt>
                <c:pt idx="1">
                  <c:v>Av Price/Unit 12.64</c:v>
                </c:pt>
              </c:strCache>
            </c:strRef>
          </c:cat>
          <c:val>
            <c:numRef>
              <c:f>Sheet1!$C$2:$C$3</c:f>
              <c:numCache>
                <c:formatCode>General</c:formatCode>
                <c:ptCount val="2"/>
                <c:pt idx="0">
                  <c:v>4.9284514726507709</c:v>
                </c:pt>
                <c:pt idx="1">
                  <c:v>4.809371366594359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67</c:v>
                </c:pt>
                <c:pt idx="1">
                  <c:v>Av Price/Unit 12.64</c:v>
                </c:pt>
              </c:strCache>
            </c:strRef>
          </c:cat>
          <c:val>
            <c:numRef>
              <c:f>Sheet1!$D$2:$D$3</c:f>
              <c:numCache>
                <c:formatCode>General</c:formatCode>
                <c:ptCount val="2"/>
                <c:pt idx="0">
                  <c:v>0.54016185133240135</c:v>
                </c:pt>
                <c:pt idx="1">
                  <c:v>0.5066814172089664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67</c:v>
                </c:pt>
                <c:pt idx="1">
                  <c:v>Av Price/Unit 12.64</c:v>
                </c:pt>
              </c:strCache>
            </c:strRef>
          </c:cat>
          <c:val>
            <c:numRef>
              <c:f>Sheet1!$E$2:$E$3</c:f>
              <c:numCache>
                <c:formatCode>General</c:formatCode>
                <c:ptCount val="2"/>
                <c:pt idx="0">
                  <c:v>2.1115007012622709</c:v>
                </c:pt>
                <c:pt idx="1">
                  <c:v>2.106652205350685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84</c:v>
                </c:pt>
                <c:pt idx="1">
                  <c:v>Av Price/Unit 12.58</c:v>
                </c:pt>
              </c:strCache>
            </c:strRef>
          </c:cat>
          <c:val>
            <c:numRef>
              <c:f>Sheet1!$B$2:$B$3</c:f>
              <c:numCache>
                <c:formatCode>General</c:formatCode>
                <c:ptCount val="2"/>
                <c:pt idx="0">
                  <c:v>5.1094206813342806</c:v>
                </c:pt>
                <c:pt idx="1">
                  <c:v>5.221428246013667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84</c:v>
                </c:pt>
                <c:pt idx="1">
                  <c:v>Av Price/Unit 12.58</c:v>
                </c:pt>
              </c:strCache>
            </c:strRef>
          </c:cat>
          <c:val>
            <c:numRef>
              <c:f>Sheet1!$C$2:$C$3</c:f>
              <c:numCache>
                <c:formatCode>General</c:formatCode>
                <c:ptCount val="2"/>
                <c:pt idx="0">
                  <c:v>4.9574259616749465</c:v>
                </c:pt>
                <c:pt idx="1">
                  <c:v>4.812328246013667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84</c:v>
                </c:pt>
                <c:pt idx="1">
                  <c:v>Av Price/Unit 12.58</c:v>
                </c:pt>
              </c:strCache>
            </c:strRef>
          </c:cat>
          <c:val>
            <c:numRef>
              <c:f>Sheet1!$D$2:$D$3</c:f>
              <c:numCache>
                <c:formatCode>General</c:formatCode>
                <c:ptCount val="2"/>
                <c:pt idx="0">
                  <c:v>0.63159817364561377</c:v>
                </c:pt>
                <c:pt idx="1">
                  <c:v>0.4483999240698555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84</c:v>
                </c:pt>
                <c:pt idx="1">
                  <c:v>Av Price/Unit 12.58</c:v>
                </c:pt>
              </c:strCache>
            </c:strRef>
          </c:cat>
          <c:val>
            <c:numRef>
              <c:f>Sheet1!$E$2:$E$3</c:f>
              <c:numCache>
                <c:formatCode>General</c:formatCode>
                <c:ptCount val="2"/>
                <c:pt idx="0">
                  <c:v>2.1396971847646071</c:v>
                </c:pt>
                <c:pt idx="1">
                  <c:v>2.096431283219436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76</c:v>
                </c:pt>
                <c:pt idx="1">
                  <c:v>Av Price/Unit 12.49</c:v>
                </c:pt>
              </c:strCache>
            </c:strRef>
          </c:cat>
          <c:val>
            <c:numRef>
              <c:f>Sheet1!$B$2:$B$3</c:f>
              <c:numCache>
                <c:formatCode>General</c:formatCode>
                <c:ptCount val="2"/>
                <c:pt idx="0">
                  <c:v>5.1216126317374275</c:v>
                </c:pt>
                <c:pt idx="1">
                  <c:v>5.231071395456653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76</c:v>
                </c:pt>
                <c:pt idx="1">
                  <c:v>Av Price/Unit 12.49</c:v>
                </c:pt>
              </c:strCache>
            </c:strRef>
          </c:cat>
          <c:val>
            <c:numRef>
              <c:f>Sheet1!$C$2:$C$3</c:f>
              <c:numCache>
                <c:formatCode>General</c:formatCode>
                <c:ptCount val="2"/>
                <c:pt idx="0">
                  <c:v>4.9746038241493524</c:v>
                </c:pt>
                <c:pt idx="1">
                  <c:v>4.819085025498377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76</c:v>
                </c:pt>
                <c:pt idx="1">
                  <c:v>Av Price/Unit 12.49</c:v>
                </c:pt>
              </c:strCache>
            </c:strRef>
          </c:cat>
          <c:val>
            <c:numRef>
              <c:f>Sheet1!$D$2:$D$3</c:f>
              <c:numCache>
                <c:formatCode>General</c:formatCode>
                <c:ptCount val="2"/>
                <c:pt idx="0">
                  <c:v>0.54009278329820454</c:v>
                </c:pt>
                <c:pt idx="1">
                  <c:v>0.3566585999072771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76</c:v>
                </c:pt>
                <c:pt idx="1">
                  <c:v>Av Price/Unit 12.49</c:v>
                </c:pt>
              </c:strCache>
            </c:strRef>
          </c:cat>
          <c:val>
            <c:numRef>
              <c:f>Sheet1!$E$2:$E$3</c:f>
              <c:numCache>
                <c:formatCode>General</c:formatCode>
                <c:ptCount val="2"/>
                <c:pt idx="0">
                  <c:v>2.1272709023386525</c:v>
                </c:pt>
                <c:pt idx="1">
                  <c:v>2.081363004172461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12.83</c:v>
                </c:pt>
                <c:pt idx="1">
                  <c:v>Av Price/Unit 12.50</c:v>
                </c:pt>
                <c:pt idx="2">
                  <c:v>Av Price/Unit 12.08</c:v>
                </c:pt>
                <c:pt idx="3">
                  <c:v>Av Price/Unit 22.16</c:v>
                </c:pt>
                <c:pt idx="4">
                  <c:v>Av Price/Unit 18.55</c:v>
                </c:pt>
                <c:pt idx="5">
                  <c:v>Av Price/Unit 14.25</c:v>
                </c:pt>
                <c:pt idx="6">
                  <c:v>Av Price/Unit 20.07</c:v>
                </c:pt>
              </c:strCache>
            </c:strRef>
          </c:cat>
          <c:val>
            <c:numRef>
              <c:f>Sheet1!$B$2:$B$8</c:f>
              <c:numCache>
                <c:formatCode>General</c:formatCode>
                <c:ptCount val="7"/>
                <c:pt idx="0">
                  <c:v>5.112365545224006</c:v>
                </c:pt>
                <c:pt idx="1">
                  <c:v>5.2158602150537634</c:v>
                </c:pt>
                <c:pt idx="2">
                  <c:v>4.0221467236467232</c:v>
                </c:pt>
                <c:pt idx="3">
                  <c:v>7.1666999999999987</c:v>
                </c:pt>
                <c:pt idx="4">
                  <c:v>5.436700000000001</c:v>
                </c:pt>
                <c:pt idx="5">
                  <c:v>4.3797329192546588</c:v>
                </c:pt>
                <c:pt idx="6">
                  <c:v>6.180000000000000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12.83</c:v>
                </c:pt>
                <c:pt idx="1">
                  <c:v>Av Price/Unit 12.50</c:v>
                </c:pt>
                <c:pt idx="2">
                  <c:v>Av Price/Unit 12.08</c:v>
                </c:pt>
                <c:pt idx="3">
                  <c:v>Av Price/Unit 22.16</c:v>
                </c:pt>
                <c:pt idx="4">
                  <c:v>Av Price/Unit 18.55</c:v>
                </c:pt>
                <c:pt idx="5">
                  <c:v>Av Price/Unit 14.25</c:v>
                </c:pt>
                <c:pt idx="6">
                  <c:v>Av Price/Unit 20.07</c:v>
                </c:pt>
              </c:strCache>
            </c:strRef>
          </c:cat>
          <c:val>
            <c:numRef>
              <c:f>Sheet1!$C$2:$C$8</c:f>
              <c:numCache>
                <c:formatCode>General</c:formatCode>
                <c:ptCount val="7"/>
                <c:pt idx="0">
                  <c:v>4.9615751310228235</c:v>
                </c:pt>
                <c:pt idx="1">
                  <c:v>4.8084268279569891</c:v>
                </c:pt>
                <c:pt idx="2">
                  <c:v>6.0331908831908834</c:v>
                </c:pt>
                <c:pt idx="3">
                  <c:v>10.75</c:v>
                </c:pt>
                <c:pt idx="4">
                  <c:v>9.2299999999999986</c:v>
                </c:pt>
                <c:pt idx="5">
                  <c:v>7.0096850931677031</c:v>
                </c:pt>
                <c:pt idx="6">
                  <c:v>10.0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12.83</c:v>
                </c:pt>
                <c:pt idx="1">
                  <c:v>Av Price/Unit 12.50</c:v>
                </c:pt>
                <c:pt idx="2">
                  <c:v>Av Price/Unit 12.08</c:v>
                </c:pt>
                <c:pt idx="3">
                  <c:v>Av Price/Unit 22.16</c:v>
                </c:pt>
                <c:pt idx="4">
                  <c:v>Av Price/Unit 18.55</c:v>
                </c:pt>
                <c:pt idx="5">
                  <c:v>Av Price/Unit 14.25</c:v>
                </c:pt>
                <c:pt idx="6">
                  <c:v>Av Price/Unit 20.07</c:v>
                </c:pt>
              </c:strCache>
            </c:strRef>
          </c:cat>
          <c:val>
            <c:numRef>
              <c:f>Sheet1!$D$2:$D$8</c:f>
              <c:numCache>
                <c:formatCode>General</c:formatCode>
                <c:ptCount val="7"/>
                <c:pt idx="0">
                  <c:v>0.61705693998309563</c:v>
                </c:pt>
                <c:pt idx="1">
                  <c:v>0.39461976702508927</c:v>
                </c:pt>
                <c:pt idx="2">
                  <c:v>1.4304685026907293E-2</c:v>
                </c:pt>
                <c:pt idx="3">
                  <c:v>0.54930331674958666</c:v>
                </c:pt>
                <c:pt idx="4">
                  <c:v>0.79415858585858601</c:v>
                </c:pt>
                <c:pt idx="5">
                  <c:v>0.4842879917184284</c:v>
                </c:pt>
                <c:pt idx="6">
                  <c:v>0.4263565891472893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12.83</c:v>
                </c:pt>
                <c:pt idx="1">
                  <c:v>Av Price/Unit 12.50</c:v>
                </c:pt>
                <c:pt idx="2">
                  <c:v>Av Price/Unit 12.08</c:v>
                </c:pt>
                <c:pt idx="3">
                  <c:v>Av Price/Unit 22.16</c:v>
                </c:pt>
                <c:pt idx="4">
                  <c:v>Av Price/Unit 18.55</c:v>
                </c:pt>
                <c:pt idx="5">
                  <c:v>Av Price/Unit 14.25</c:v>
                </c:pt>
                <c:pt idx="6">
                  <c:v>Av Price/Unit 20.07</c:v>
                </c:pt>
              </c:strCache>
            </c:strRef>
          </c:cat>
          <c:val>
            <c:numRef>
              <c:f>Sheet1!$E$2:$E$8</c:f>
              <c:numCache>
                <c:formatCode>General</c:formatCode>
                <c:ptCount val="7"/>
                <c:pt idx="0">
                  <c:v>2.1382079459002523</c:v>
                </c:pt>
                <c:pt idx="1">
                  <c:v>2.0837813620071679</c:v>
                </c:pt>
                <c:pt idx="2">
                  <c:v>2.0139284583729022</c:v>
                </c:pt>
                <c:pt idx="3">
                  <c:v>3.6932006633499155</c:v>
                </c:pt>
                <c:pt idx="4">
                  <c:v>3.0921717171717176</c:v>
                </c:pt>
                <c:pt idx="5">
                  <c:v>2.3747412008281557</c:v>
                </c:pt>
                <c:pt idx="6">
                  <c:v>3.335271317829456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80</c:v>
                </c:pt>
                <c:pt idx="1">
                  <c:v>Av Price/Unit 12.69</c:v>
                </c:pt>
              </c:strCache>
            </c:strRef>
          </c:cat>
          <c:val>
            <c:numRef>
              <c:f>Sheet1!$B$2:$B$3</c:f>
              <c:numCache>
                <c:formatCode>General</c:formatCode>
                <c:ptCount val="2"/>
                <c:pt idx="0">
                  <c:v>5.1136365788596194</c:v>
                </c:pt>
                <c:pt idx="1">
                  <c:v>5.208112692763938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80</c:v>
                </c:pt>
                <c:pt idx="1">
                  <c:v>Av Price/Unit 12.69</c:v>
                </c:pt>
              </c:strCache>
            </c:strRef>
          </c:cat>
          <c:val>
            <c:numRef>
              <c:f>Sheet1!$C$2:$C$3</c:f>
              <c:numCache>
                <c:formatCode>General</c:formatCode>
                <c:ptCount val="2"/>
                <c:pt idx="0">
                  <c:v>4.9633659553184399</c:v>
                </c:pt>
                <c:pt idx="1">
                  <c:v>4.802998279952550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80</c:v>
                </c:pt>
                <c:pt idx="1">
                  <c:v>Av Price/Unit 12.69</c:v>
                </c:pt>
              </c:strCache>
            </c:strRef>
          </c:cat>
          <c:val>
            <c:numRef>
              <c:f>Sheet1!$D$2:$D$3</c:f>
              <c:numCache>
                <c:formatCode>General</c:formatCode>
                <c:ptCount val="2"/>
                <c:pt idx="0">
                  <c:v>0.59290045570745953</c:v>
                </c:pt>
                <c:pt idx="1">
                  <c:v>0.5632267101621231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80</c:v>
                </c:pt>
                <c:pt idx="1">
                  <c:v>Av Price/Unit 12.69</c:v>
                </c:pt>
              </c:strCache>
            </c:strRef>
          </c:cat>
          <c:val>
            <c:numRef>
              <c:f>Sheet1!$E$2:$E$3</c:f>
              <c:numCache>
                <c:formatCode>General</c:formatCode>
                <c:ptCount val="2"/>
                <c:pt idx="0">
                  <c:v>2.1339891074802697</c:v>
                </c:pt>
                <c:pt idx="1">
                  <c:v>2.114867536575720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7.40</c:v>
                </c:pt>
                <c:pt idx="1">
                  <c:v>Av Price/Unit 11.79</c:v>
                </c:pt>
                <c:pt idx="2">
                  <c:v>Av Price/Unit 9.11</c:v>
                </c:pt>
                <c:pt idx="3">
                  <c:v>Av Price/Unit 9.84</c:v>
                </c:pt>
                <c:pt idx="4">
                  <c:v>Av Price/Unit 9.88</c:v>
                </c:pt>
                <c:pt idx="5">
                  <c:v>Av Price/Unit 18.59</c:v>
                </c:pt>
                <c:pt idx="6">
                  <c:v>Av Price/Unit 7.22</c:v>
                </c:pt>
                <c:pt idx="7">
                  <c:v>Av Price/Unit 15.77</c:v>
                </c:pt>
              </c:strCache>
            </c:strRef>
          </c:cat>
          <c:val>
            <c:numRef>
              <c:f>Sheet1!$B$2:$B$9</c:f>
              <c:numCache>
                <c:formatCode>General</c:formatCode>
                <c:ptCount val="8"/>
                <c:pt idx="0">
                  <c:v>3.3576659967978801</c:v>
                </c:pt>
                <c:pt idx="1">
                  <c:v>4.8998087014787428</c:v>
                </c:pt>
                <c:pt idx="2">
                  <c:v>3.997904032189989</c:v>
                </c:pt>
                <c:pt idx="3">
                  <c:v>4.0232463118189425</c:v>
                </c:pt>
                <c:pt idx="4">
                  <c:v>4.3265000000000002</c:v>
                </c:pt>
                <c:pt idx="5">
                  <c:v>8.1201275862068876</c:v>
                </c:pt>
                <c:pt idx="6">
                  <c:v>1.208413774834437</c:v>
                </c:pt>
                <c:pt idx="7">
                  <c:v>5.228299999999998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7.40</c:v>
                </c:pt>
                <c:pt idx="1">
                  <c:v>Av Price/Unit 11.79</c:v>
                </c:pt>
                <c:pt idx="2">
                  <c:v>Av Price/Unit 9.11</c:v>
                </c:pt>
                <c:pt idx="3">
                  <c:v>Av Price/Unit 9.84</c:v>
                </c:pt>
                <c:pt idx="4">
                  <c:v>Av Price/Unit 9.88</c:v>
                </c:pt>
                <c:pt idx="5">
                  <c:v>Av Price/Unit 18.59</c:v>
                </c:pt>
                <c:pt idx="6">
                  <c:v>Av Price/Unit 7.22</c:v>
                </c:pt>
                <c:pt idx="7">
                  <c:v>Av Price/Unit 15.77</c:v>
                </c:pt>
              </c:strCache>
            </c:strRef>
          </c:cat>
          <c:val>
            <c:numRef>
              <c:f>Sheet1!$C$2:$C$9</c:f>
              <c:numCache>
                <c:formatCode>General</c:formatCode>
                <c:ptCount val="8"/>
                <c:pt idx="0">
                  <c:v>2.5802535350300886</c:v>
                </c:pt>
                <c:pt idx="1">
                  <c:v>4.5773114671903876</c:v>
                </c:pt>
                <c:pt idx="2">
                  <c:v>3.2100597174934578</c:v>
                </c:pt>
                <c:pt idx="3">
                  <c:v>3.8164273260687338</c:v>
                </c:pt>
                <c:pt idx="4">
                  <c:v>3.5723999999999996</c:v>
                </c:pt>
                <c:pt idx="5">
                  <c:v>6.8855862068965452</c:v>
                </c:pt>
                <c:pt idx="6">
                  <c:v>3.6426055629139071</c:v>
                </c:pt>
                <c:pt idx="7">
                  <c:v>7.23000000000000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7.40</c:v>
                </c:pt>
                <c:pt idx="1">
                  <c:v>Av Price/Unit 11.79</c:v>
                </c:pt>
                <c:pt idx="2">
                  <c:v>Av Price/Unit 9.11</c:v>
                </c:pt>
                <c:pt idx="3">
                  <c:v>Av Price/Unit 9.84</c:v>
                </c:pt>
                <c:pt idx="4">
                  <c:v>Av Price/Unit 9.88</c:v>
                </c:pt>
                <c:pt idx="5">
                  <c:v>Av Price/Unit 18.59</c:v>
                </c:pt>
                <c:pt idx="6">
                  <c:v>Av Price/Unit 7.22</c:v>
                </c:pt>
                <c:pt idx="7">
                  <c:v>Av Price/Unit 15.77</c:v>
                </c:pt>
              </c:strCache>
            </c:strRef>
          </c:cat>
          <c:val>
            <c:numRef>
              <c:f>Sheet1!$D$2:$D$9</c:f>
              <c:numCache>
                <c:formatCode>General</c:formatCode>
                <c:ptCount val="8"/>
                <c:pt idx="0">
                  <c:v>0.2272472912641037</c:v>
                </c:pt>
                <c:pt idx="1">
                  <c:v>0.34383847119531907</c:v>
                </c:pt>
                <c:pt idx="2">
                  <c:v>0.38402439479632733</c:v>
                </c:pt>
                <c:pt idx="3">
                  <c:v>0.358845501536738</c:v>
                </c:pt>
                <c:pt idx="4">
                  <c:v>0.32609578386364646</c:v>
                </c:pt>
                <c:pt idx="5">
                  <c:v>0.48279195402300168</c:v>
                </c:pt>
                <c:pt idx="6">
                  <c:v>1.1655474172185416</c:v>
                </c:pt>
                <c:pt idx="7">
                  <c:v>0.5672681818181928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7.40</c:v>
                </c:pt>
                <c:pt idx="1">
                  <c:v>Av Price/Unit 11.79</c:v>
                </c:pt>
                <c:pt idx="2">
                  <c:v>Av Price/Unit 9.11</c:v>
                </c:pt>
                <c:pt idx="3">
                  <c:v>Av Price/Unit 9.84</c:v>
                </c:pt>
                <c:pt idx="4">
                  <c:v>Av Price/Unit 9.88</c:v>
                </c:pt>
                <c:pt idx="5">
                  <c:v>Av Price/Unit 18.59</c:v>
                </c:pt>
                <c:pt idx="6">
                  <c:v>Av Price/Unit 7.22</c:v>
                </c:pt>
                <c:pt idx="7">
                  <c:v>Av Price/Unit 15.77</c:v>
                </c:pt>
              </c:strCache>
            </c:strRef>
          </c:cat>
          <c:val>
            <c:numRef>
              <c:f>Sheet1!$E$2:$E$9</c:f>
              <c:numCache>
                <c:formatCode>General</c:formatCode>
                <c:ptCount val="8"/>
                <c:pt idx="0">
                  <c:v>1.2330333646184148</c:v>
                </c:pt>
                <c:pt idx="1">
                  <c:v>1.9641905422057921</c:v>
                </c:pt>
                <c:pt idx="2">
                  <c:v>1.5183976288959542</c:v>
                </c:pt>
                <c:pt idx="3">
                  <c:v>1.6397038278848881</c:v>
                </c:pt>
                <c:pt idx="4">
                  <c:v>1.6449791567727265</c:v>
                </c:pt>
                <c:pt idx="5">
                  <c:v>3.097701149425284</c:v>
                </c:pt>
                <c:pt idx="6">
                  <c:v>1.2033112582781469</c:v>
                </c:pt>
                <c:pt idx="7">
                  <c:v>2.605113636363633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44</c:v>
                </c:pt>
                <c:pt idx="1">
                  <c:v>Av Price/Unit 11.78</c:v>
                </c:pt>
                <c:pt idx="2">
                  <c:v>Av Price/Unit 9.09</c:v>
                </c:pt>
                <c:pt idx="3">
                  <c:v>Av Price/Unit 9.80</c:v>
                </c:pt>
                <c:pt idx="4">
                  <c:v>Av Price/Unit 9.85</c:v>
                </c:pt>
                <c:pt idx="5">
                  <c:v>Av Price/Unit 18.32</c:v>
                </c:pt>
              </c:strCache>
            </c:strRef>
          </c:cat>
          <c:val>
            <c:numRef>
              <c:f>Sheet1!$B$2:$B$7</c:f>
              <c:numCache>
                <c:formatCode>General</c:formatCode>
                <c:ptCount val="6"/>
                <c:pt idx="0">
                  <c:v>3.3605091708002082</c:v>
                </c:pt>
                <c:pt idx="1">
                  <c:v>4.9010822103319285</c:v>
                </c:pt>
                <c:pt idx="2">
                  <c:v>3.9851112126333583</c:v>
                </c:pt>
                <c:pt idx="3">
                  <c:v>4.0246372197309412</c:v>
                </c:pt>
                <c:pt idx="4">
                  <c:v>4.3265000000000002</c:v>
                </c:pt>
                <c:pt idx="5">
                  <c:v>8.125735703479577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44</c:v>
                </c:pt>
                <c:pt idx="1">
                  <c:v>Av Price/Unit 11.78</c:v>
                </c:pt>
                <c:pt idx="2">
                  <c:v>Av Price/Unit 9.09</c:v>
                </c:pt>
                <c:pt idx="3">
                  <c:v>Av Price/Unit 9.80</c:v>
                </c:pt>
                <c:pt idx="4">
                  <c:v>Av Price/Unit 9.85</c:v>
                </c:pt>
                <c:pt idx="5">
                  <c:v>Av Price/Unit 18.32</c:v>
                </c:pt>
              </c:strCache>
            </c:strRef>
          </c:cat>
          <c:val>
            <c:numRef>
              <c:f>Sheet1!$C$2:$C$7</c:f>
              <c:numCache>
                <c:formatCode>General</c:formatCode>
                <c:ptCount val="6"/>
                <c:pt idx="0">
                  <c:v>2.5823500668161534</c:v>
                </c:pt>
                <c:pt idx="1">
                  <c:v>4.5783474406932152</c:v>
                </c:pt>
                <c:pt idx="2">
                  <c:v>3.1995957483891408</c:v>
                </c:pt>
                <c:pt idx="3">
                  <c:v>3.8177179372197312</c:v>
                </c:pt>
                <c:pt idx="4">
                  <c:v>3.5724</c:v>
                </c:pt>
                <c:pt idx="5">
                  <c:v>6.891376701966716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44</c:v>
                </c:pt>
                <c:pt idx="1">
                  <c:v>Av Price/Unit 11.78</c:v>
                </c:pt>
                <c:pt idx="2">
                  <c:v>Av Price/Unit 9.09</c:v>
                </c:pt>
                <c:pt idx="3">
                  <c:v>Av Price/Unit 9.80</c:v>
                </c:pt>
                <c:pt idx="4">
                  <c:v>Av Price/Unit 9.85</c:v>
                </c:pt>
                <c:pt idx="5">
                  <c:v>Av Price/Unit 18.32</c:v>
                </c:pt>
              </c:strCache>
            </c:strRef>
          </c:cat>
          <c:val>
            <c:numRef>
              <c:f>Sheet1!$D$2:$D$7</c:f>
              <c:numCache>
                <c:formatCode>General</c:formatCode>
                <c:ptCount val="6"/>
                <c:pt idx="0">
                  <c:v>0.25794406619706578</c:v>
                </c:pt>
                <c:pt idx="1">
                  <c:v>0.33468122385845511</c:v>
                </c:pt>
                <c:pt idx="2">
                  <c:v>0.39015836062110409</c:v>
                </c:pt>
                <c:pt idx="3">
                  <c:v>0.32380014160962922</c:v>
                </c:pt>
                <c:pt idx="4">
                  <c:v>0.30563166080750115</c:v>
                </c:pt>
                <c:pt idx="5">
                  <c:v>0.2463772566817983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44</c:v>
                </c:pt>
                <c:pt idx="1">
                  <c:v>Av Price/Unit 11.78</c:v>
                </c:pt>
                <c:pt idx="2">
                  <c:v>Av Price/Unit 9.09</c:v>
                </c:pt>
                <c:pt idx="3">
                  <c:v>Av Price/Unit 9.80</c:v>
                </c:pt>
                <c:pt idx="4">
                  <c:v>Av Price/Unit 9.85</c:v>
                </c:pt>
                <c:pt idx="5">
                  <c:v>Av Price/Unit 18.32</c:v>
                </c:pt>
              </c:strCache>
            </c:strRef>
          </c:cat>
          <c:val>
            <c:numRef>
              <c:f>Sheet1!$E$2:$E$7</c:f>
              <c:numCache>
                <c:formatCode>General</c:formatCode>
                <c:ptCount val="6"/>
                <c:pt idx="0">
                  <c:v>1.2401606607626852</c:v>
                </c:pt>
                <c:pt idx="1">
                  <c:v>1.9628217876477714</c:v>
                </c:pt>
                <c:pt idx="2">
                  <c:v>1.5149730643287209</c:v>
                </c:pt>
                <c:pt idx="3">
                  <c:v>1.6332310597120605</c:v>
                </c:pt>
                <c:pt idx="4">
                  <c:v>1.6408863321614995</c:v>
                </c:pt>
                <c:pt idx="5">
                  <c:v>3.05269793242561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41</c:v>
                </c:pt>
                <c:pt idx="1">
                  <c:v>Av Price/Unit 11.76</c:v>
                </c:pt>
                <c:pt idx="2">
                  <c:v>Av Price/Unit 9.11</c:v>
                </c:pt>
                <c:pt idx="3">
                  <c:v>Av Price/Unit 9.86</c:v>
                </c:pt>
                <c:pt idx="4">
                  <c:v>Av Price/Unit 9.89</c:v>
                </c:pt>
                <c:pt idx="5">
                  <c:v>Av Price/Unit 18.79</c:v>
                </c:pt>
              </c:strCache>
            </c:strRef>
          </c:cat>
          <c:val>
            <c:numRef>
              <c:f>Sheet1!$B$2:$B$7</c:f>
              <c:numCache>
                <c:formatCode>General</c:formatCode>
                <c:ptCount val="6"/>
                <c:pt idx="0">
                  <c:v>3.3558954429843153</c:v>
                </c:pt>
                <c:pt idx="1">
                  <c:v>4.8999862171174504</c:v>
                </c:pt>
                <c:pt idx="2">
                  <c:v>3.9909211238997968</c:v>
                </c:pt>
                <c:pt idx="3">
                  <c:v>4.0228030534351156</c:v>
                </c:pt>
                <c:pt idx="4">
                  <c:v>4.3264999999999993</c:v>
                </c:pt>
                <c:pt idx="5">
                  <c:v>8.087089473684210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41</c:v>
                </c:pt>
                <c:pt idx="1">
                  <c:v>Av Price/Unit 11.76</c:v>
                </c:pt>
                <c:pt idx="2">
                  <c:v>Av Price/Unit 9.11</c:v>
                </c:pt>
                <c:pt idx="3">
                  <c:v>Av Price/Unit 9.86</c:v>
                </c:pt>
                <c:pt idx="4">
                  <c:v>Av Price/Unit 9.89</c:v>
                </c:pt>
                <c:pt idx="5">
                  <c:v>Av Price/Unit 18.79</c:v>
                </c:pt>
              </c:strCache>
            </c:strRef>
          </c:cat>
          <c:val>
            <c:numRef>
              <c:f>Sheet1!$C$2:$C$7</c:f>
              <c:numCache>
                <c:formatCode>General</c:formatCode>
                <c:ptCount val="6"/>
                <c:pt idx="0">
                  <c:v>2.5789479440440863</c:v>
                </c:pt>
                <c:pt idx="1">
                  <c:v>4.5774558725453875</c:v>
                </c:pt>
                <c:pt idx="2">
                  <c:v>3.2043480027081923</c:v>
                </c:pt>
                <c:pt idx="3">
                  <c:v>3.8160160305343513</c:v>
                </c:pt>
                <c:pt idx="4">
                  <c:v>3.5724</c:v>
                </c:pt>
                <c:pt idx="5">
                  <c:v>6.851473684210527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41</c:v>
                </c:pt>
                <c:pt idx="1">
                  <c:v>Av Price/Unit 11.76</c:v>
                </c:pt>
                <c:pt idx="2">
                  <c:v>Av Price/Unit 9.11</c:v>
                </c:pt>
                <c:pt idx="3">
                  <c:v>Av Price/Unit 9.86</c:v>
                </c:pt>
                <c:pt idx="4">
                  <c:v>Av Price/Unit 9.89</c:v>
                </c:pt>
                <c:pt idx="5">
                  <c:v>Av Price/Unit 18.79</c:v>
                </c:pt>
              </c:strCache>
            </c:strRef>
          </c:cat>
          <c:val>
            <c:numRef>
              <c:f>Sheet1!$D$2:$D$7</c:f>
              <c:numCache>
                <c:formatCode>General</c:formatCode>
                <c:ptCount val="6"/>
                <c:pt idx="0">
                  <c:v>0.23849983750176662</c:v>
                </c:pt>
                <c:pt idx="1">
                  <c:v>0.32557674447326335</c:v>
                </c:pt>
                <c:pt idx="2">
                  <c:v>0.39293519145414724</c:v>
                </c:pt>
                <c:pt idx="3">
                  <c:v>0.38001043256997313</c:v>
                </c:pt>
                <c:pt idx="4">
                  <c:v>0.32015424836601358</c:v>
                </c:pt>
                <c:pt idx="5">
                  <c:v>0.7193315789473668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41</c:v>
                </c:pt>
                <c:pt idx="1">
                  <c:v>Av Price/Unit 11.76</c:v>
                </c:pt>
                <c:pt idx="2">
                  <c:v>Av Price/Unit 9.11</c:v>
                </c:pt>
                <c:pt idx="3">
                  <c:v>Av Price/Unit 9.86</c:v>
                </c:pt>
                <c:pt idx="4">
                  <c:v>Av Price/Unit 9.89</c:v>
                </c:pt>
                <c:pt idx="5">
                  <c:v>Av Price/Unit 18.79</c:v>
                </c:pt>
              </c:strCache>
            </c:strRef>
          </c:cat>
          <c:val>
            <c:numRef>
              <c:f>Sheet1!$E$2:$E$7</c:f>
              <c:numCache>
                <c:formatCode>General</c:formatCode>
                <c:ptCount val="6"/>
                <c:pt idx="0">
                  <c:v>1.2346686449060331</c:v>
                </c:pt>
                <c:pt idx="1">
                  <c:v>1.9606026923551911</c:v>
                </c:pt>
                <c:pt idx="2">
                  <c:v>1.5176408636124288</c:v>
                </c:pt>
                <c:pt idx="3">
                  <c:v>1.6437659033078895</c:v>
                </c:pt>
                <c:pt idx="4">
                  <c:v>1.6437908496732021</c:v>
                </c:pt>
                <c:pt idx="5">
                  <c:v>3.131578947368421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75A16C7A-D7CF-4B95-8410-C93FD62440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6E5B5DA-2CBA-475C-A46A-1DD85E0034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FF5-4D9B-9947-2A90D7752FBB}"/>
                </c:ext>
              </c:extLst>
            </c:dLbl>
            <c:dLbl>
              <c:idx val="2"/>
              <c:tx>
                <c:rich>
                  <a:bodyPr/>
                  <a:lstStyle/>
                  <a:p>
                    <a:fld id="{3E70E48F-15BD-496D-B7BE-382E4797B8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FF5-4D9B-9947-2A90D7752FBB}"/>
                </c:ext>
              </c:extLst>
            </c:dLbl>
            <c:dLbl>
              <c:idx val="3"/>
              <c:tx>
                <c:rich>
                  <a:bodyPr/>
                  <a:lstStyle/>
                  <a:p>
                    <a:fld id="{D3C00F39-CFBE-47A7-93DD-CD9C13B9BD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C5FF391B-5BD4-480E-B2E6-D5C2CCB3F4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068C17E3-64BA-4A23-B43B-5028E73B96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77A4371C-7B79-4EAF-8DD7-0CB9F442EF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5D39A828-42D0-4E36-816B-18CE17B30F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6.799999999999997</c:v>
                </c:pt>
              </c:numCache>
            </c:numRef>
          </c:xVal>
          <c:yVal>
            <c:numRef>
              <c:f>Sheet1!$B$2:$B$2</c:f>
              <c:numCache>
                <c:formatCode>General</c:formatCode>
                <c:ptCount val="1"/>
                <c:pt idx="0">
                  <c:v>0.42980000000000002</c:v>
                </c:pt>
              </c:numCache>
            </c:numRef>
          </c:yVal>
          <c:bubbleSize>
            <c:numRef>
              <c:f>Sheet1!$C$2:$C$2</c:f>
              <c:numCache>
                <c:formatCode>General</c:formatCode>
                <c:ptCount val="1"/>
                <c:pt idx="0">
                  <c:v>1891999.907400002</c:v>
                </c:pt>
              </c:numCache>
            </c:numRef>
          </c:bubbleSize>
          <c:bubble3D val="0"/>
          <c:extLst>
            <c:ext xmlns:c15="http://schemas.microsoft.com/office/drawing/2012/chart" uri="{02D57815-91ED-43cb-92C2-25804820EDAC}">
              <c15:datalabelsRange>
                <c15:f>Sheet1!$E$2:$E$29</c15:f>
                <c15:dlblRangeCache>
                  <c:ptCount val="28"/>
                  <c:pt idx="0">
                    <c:v>NICOLAS</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44.16"/>
          <c:min val="29.43999999999999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2980000000000002"/>
        <c:crossBetween val="midCat"/>
      </c:valAx>
      <c:valAx>
        <c:axId val="1011451359"/>
        <c:scaling>
          <c:orientation val="minMax"/>
          <c:max val="0.87575999999999998"/>
          <c:min val="0.10384000000000003"/>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6.79999999999999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D79B1A75-3379-4550-A875-CECEBDB4B7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6025BDDB-7EF6-45AA-AD90-8703AD95D6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C63CAD94-9EAE-41E5-8EC4-5283780DD0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E23EFE3-A08F-494C-BC59-9FF41D432B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BEB4B04F-9203-4F6F-B970-9DEAFDEF68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A05137EE-5C97-452A-82AC-69FD3CC820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4076C17C-2127-4FB6-B7F2-6445862EE2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5207AF80-DF8F-4294-96E3-F263C22E73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3.442600000000001</c:v>
                </c:pt>
                <c:pt idx="1">
                  <c:v>13.3978</c:v>
                </c:pt>
                <c:pt idx="2">
                  <c:v>13.0754</c:v>
                </c:pt>
                <c:pt idx="3">
                  <c:v>13.3802</c:v>
                </c:pt>
                <c:pt idx="4">
                  <c:v>13.4915</c:v>
                </c:pt>
              </c:numCache>
            </c:numRef>
          </c:xVal>
          <c:yVal>
            <c:numRef>
              <c:f>Sheet1!$B$2:$B$6</c:f>
              <c:numCache>
                <c:formatCode>General</c:formatCode>
                <c:ptCount val="5"/>
                <c:pt idx="0">
                  <c:v>0.51039999999999996</c:v>
                </c:pt>
                <c:pt idx="1">
                  <c:v>0.51170000000000004</c:v>
                </c:pt>
                <c:pt idx="2">
                  <c:v>0.51039999999999996</c:v>
                </c:pt>
                <c:pt idx="3">
                  <c:v>0.51029999999999998</c:v>
                </c:pt>
                <c:pt idx="4">
                  <c:v>0.51290000000000002</c:v>
                </c:pt>
              </c:numCache>
            </c:numRef>
          </c:yVal>
          <c:bubbleSize>
            <c:numRef>
              <c:f>Sheet1!$C$2:$C$6</c:f>
              <c:numCache>
                <c:formatCode>General</c:formatCode>
                <c:ptCount val="5"/>
                <c:pt idx="0">
                  <c:v>278087.55849999998</c:v>
                </c:pt>
                <c:pt idx="1">
                  <c:v>30814.8701</c:v>
                </c:pt>
                <c:pt idx="2">
                  <c:v>3072.7200000000012</c:v>
                </c:pt>
                <c:pt idx="3">
                  <c:v>26773.835500000001</c:v>
                </c:pt>
                <c:pt idx="4">
                  <c:v>11764.6178</c:v>
                </c:pt>
              </c:numCache>
            </c:numRef>
          </c:bubbleSize>
          <c:bubble3D val="0"/>
          <c:extLst>
            <c:ext xmlns:c15="http://schemas.microsoft.com/office/drawing/2012/chart" uri="{02D57815-91ED-43cb-92C2-25804820EDAC}">
              <c15:datalabelsRange>
                <c15:f>Sheet1!$E$2:$E$29</c15:f>
                <c15:dlblRangeCache>
                  <c:ptCount val="28"/>
                  <c:pt idx="0">
                    <c:v>NICOLAS IDF</c:v>
                  </c:pt>
                  <c:pt idx="1">
                    <c:v>NICOLAS PAC</c:v>
                  </c:pt>
                  <c:pt idx="2">
                    <c:v>NICOLAS EST</c:v>
                  </c:pt>
                  <c:pt idx="3">
                    <c:v>NICOLAS RHO</c:v>
                  </c:pt>
                  <c:pt idx="4">
                    <c:v>NICOLAS AQU</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6.189799999999998"/>
          <c:min val="10.460320000000001"/>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51059055891616734"/>
        <c:crossBetween val="midCat"/>
      </c:valAx>
      <c:valAx>
        <c:axId val="1011451359"/>
        <c:scaling>
          <c:orientation val="minMax"/>
          <c:max val="0.9754799999999999"/>
          <c:min val="0.1682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3.43231735627455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55</c:v>
                </c:pt>
                <c:pt idx="1">
                  <c:v>Av Price/Unit 11.80</c:v>
                </c:pt>
                <c:pt idx="2">
                  <c:v>Av Price/Unit 9.14</c:v>
                </c:pt>
                <c:pt idx="3">
                  <c:v>Av Price/Unit 9.91</c:v>
                </c:pt>
                <c:pt idx="4">
                  <c:v>Av Price/Unit 9.93</c:v>
                </c:pt>
                <c:pt idx="5">
                  <c:v>Av Price/Unit 19.24</c:v>
                </c:pt>
              </c:strCache>
            </c:strRef>
          </c:cat>
          <c:val>
            <c:numRef>
              <c:f>Sheet1!$B$2:$B$7</c:f>
              <c:numCache>
                <c:formatCode>General</c:formatCode>
                <c:ptCount val="6"/>
                <c:pt idx="0">
                  <c:v>3.3659155306298527</c:v>
                </c:pt>
                <c:pt idx="1">
                  <c:v>4.9014456140350875</c:v>
                </c:pt>
                <c:pt idx="2">
                  <c:v>4.0355939223936428</c:v>
                </c:pt>
                <c:pt idx="3">
                  <c:v>4.0293006289308178</c:v>
                </c:pt>
                <c:pt idx="4">
                  <c:v>4.3265000000000002</c:v>
                </c:pt>
                <c:pt idx="5">
                  <c:v>8.127091044776118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55</c:v>
                </c:pt>
                <c:pt idx="1">
                  <c:v>Av Price/Unit 11.80</c:v>
                </c:pt>
                <c:pt idx="2">
                  <c:v>Av Price/Unit 9.14</c:v>
                </c:pt>
                <c:pt idx="3">
                  <c:v>Av Price/Unit 9.91</c:v>
                </c:pt>
                <c:pt idx="4">
                  <c:v>Av Price/Unit 9.93</c:v>
                </c:pt>
                <c:pt idx="5">
                  <c:v>Av Price/Unit 19.24</c:v>
                </c:pt>
              </c:strCache>
            </c:strRef>
          </c:cat>
          <c:val>
            <c:numRef>
              <c:f>Sheet1!$C$2:$C$7</c:f>
              <c:numCache>
                <c:formatCode>General</c:formatCode>
                <c:ptCount val="6"/>
                <c:pt idx="0">
                  <c:v>2.5863366695427095</c:v>
                </c:pt>
                <c:pt idx="1">
                  <c:v>4.5786430622009568</c:v>
                </c:pt>
                <c:pt idx="2">
                  <c:v>3.2408884057971012</c:v>
                </c:pt>
                <c:pt idx="3">
                  <c:v>3.8220450733752624</c:v>
                </c:pt>
                <c:pt idx="4">
                  <c:v>3.5723999999999996</c:v>
                </c:pt>
                <c:pt idx="5">
                  <c:v>6.892776119402984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55</c:v>
                </c:pt>
                <c:pt idx="1">
                  <c:v>Av Price/Unit 11.80</c:v>
                </c:pt>
                <c:pt idx="2">
                  <c:v>Av Price/Unit 9.14</c:v>
                </c:pt>
                <c:pt idx="3">
                  <c:v>Av Price/Unit 9.91</c:v>
                </c:pt>
                <c:pt idx="4">
                  <c:v>Av Price/Unit 9.93</c:v>
                </c:pt>
                <c:pt idx="5">
                  <c:v>Av Price/Unit 19.24</c:v>
                </c:pt>
              </c:strCache>
            </c:strRef>
          </c:cat>
          <c:val>
            <c:numRef>
              <c:f>Sheet1!$D$2:$D$7</c:f>
              <c:numCache>
                <c:formatCode>General</c:formatCode>
                <c:ptCount val="6"/>
                <c:pt idx="0">
                  <c:v>0.34142769628990699</c:v>
                </c:pt>
                <c:pt idx="1">
                  <c:v>0.35344481658692217</c:v>
                </c:pt>
                <c:pt idx="2">
                  <c:v>0.34312184821567637</c:v>
                </c:pt>
                <c:pt idx="3">
                  <c:v>0.41035939902166341</c:v>
                </c:pt>
                <c:pt idx="4">
                  <c:v>0.35462465753424866</c:v>
                </c:pt>
                <c:pt idx="5">
                  <c:v>1.012471144278610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55</c:v>
                </c:pt>
                <c:pt idx="1">
                  <c:v>Av Price/Unit 11.80</c:v>
                </c:pt>
                <c:pt idx="2">
                  <c:v>Av Price/Unit 9.14</c:v>
                </c:pt>
                <c:pt idx="3">
                  <c:v>Av Price/Unit 9.91</c:v>
                </c:pt>
                <c:pt idx="4">
                  <c:v>Av Price/Unit 9.93</c:v>
                </c:pt>
                <c:pt idx="5">
                  <c:v>Av Price/Unit 19.24</c:v>
                </c:pt>
              </c:strCache>
            </c:strRef>
          </c:cat>
          <c:val>
            <c:numRef>
              <c:f>Sheet1!$E$2:$E$7</c:f>
              <c:numCache>
                <c:formatCode>General</c:formatCode>
                <c:ptCount val="6"/>
                <c:pt idx="0">
                  <c:v>1.2587359792924919</c:v>
                </c:pt>
                <c:pt idx="1">
                  <c:v>1.9667065390749601</c:v>
                </c:pt>
                <c:pt idx="2">
                  <c:v>1.5239208352812839</c:v>
                </c:pt>
                <c:pt idx="3">
                  <c:v>1.6523410202655473</c:v>
                </c:pt>
                <c:pt idx="4">
                  <c:v>1.6506849315068477</c:v>
                </c:pt>
                <c:pt idx="5">
                  <c:v>3.206467661691541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32</c:v>
                </c:pt>
                <c:pt idx="1">
                  <c:v>Av Price/Unit 11.77</c:v>
                </c:pt>
                <c:pt idx="2">
                  <c:v>Av Price/Unit 9.10</c:v>
                </c:pt>
                <c:pt idx="3">
                  <c:v>Av Price/Unit 9.81</c:v>
                </c:pt>
                <c:pt idx="4">
                  <c:v>Av Price/Unit 9.91</c:v>
                </c:pt>
                <c:pt idx="5">
                  <c:v>Av Price/Unit 18.39</c:v>
                </c:pt>
              </c:strCache>
            </c:strRef>
          </c:cat>
          <c:val>
            <c:numRef>
              <c:f>Sheet1!$B$2:$B$7</c:f>
              <c:numCache>
                <c:formatCode>General</c:formatCode>
                <c:ptCount val="6"/>
                <c:pt idx="0">
                  <c:v>3.3546313078421819</c:v>
                </c:pt>
                <c:pt idx="1">
                  <c:v>4.8999189130728666</c:v>
                </c:pt>
                <c:pt idx="2">
                  <c:v>3.9932482838283825</c:v>
                </c:pt>
                <c:pt idx="3">
                  <c:v>4.0234854415274466</c:v>
                </c:pt>
                <c:pt idx="4">
                  <c:v>4.3265000000000002</c:v>
                </c:pt>
                <c:pt idx="5">
                  <c:v>8.13197092651757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32</c:v>
                </c:pt>
                <c:pt idx="1">
                  <c:v>Av Price/Unit 11.77</c:v>
                </c:pt>
                <c:pt idx="2">
                  <c:v>Av Price/Unit 9.10</c:v>
                </c:pt>
                <c:pt idx="3">
                  <c:v>Av Price/Unit 9.81</c:v>
                </c:pt>
                <c:pt idx="4">
                  <c:v>Av Price/Unit 9.91</c:v>
                </c:pt>
                <c:pt idx="5">
                  <c:v>Av Price/Unit 18.39</c:v>
                </c:pt>
              </c:strCache>
            </c:strRef>
          </c:cat>
          <c:val>
            <c:numRef>
              <c:f>Sheet1!$C$2:$C$7</c:f>
              <c:numCache>
                <c:formatCode>General</c:formatCode>
                <c:ptCount val="6"/>
                <c:pt idx="0">
                  <c:v>2.5780157817827569</c:v>
                </c:pt>
                <c:pt idx="1">
                  <c:v>4.5774011220765169</c:v>
                </c:pt>
                <c:pt idx="2">
                  <c:v>3.2062515181518152</c:v>
                </c:pt>
                <c:pt idx="3">
                  <c:v>3.8166492124105007</c:v>
                </c:pt>
                <c:pt idx="4">
                  <c:v>3.5724</c:v>
                </c:pt>
                <c:pt idx="5">
                  <c:v>6.897814696485625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32</c:v>
                </c:pt>
                <c:pt idx="1">
                  <c:v>Av Price/Unit 11.77</c:v>
                </c:pt>
                <c:pt idx="2">
                  <c:v>Av Price/Unit 9.10</c:v>
                </c:pt>
                <c:pt idx="3">
                  <c:v>Av Price/Unit 9.81</c:v>
                </c:pt>
                <c:pt idx="4">
                  <c:v>Av Price/Unit 9.91</c:v>
                </c:pt>
                <c:pt idx="5">
                  <c:v>Av Price/Unit 18.39</c:v>
                </c:pt>
              </c:strCache>
            </c:strRef>
          </c:cat>
          <c:val>
            <c:numRef>
              <c:f>Sheet1!$D$2:$D$7</c:f>
              <c:numCache>
                <c:formatCode>General</c:formatCode>
                <c:ptCount val="6"/>
                <c:pt idx="0">
                  <c:v>0.17102233723006943</c:v>
                </c:pt>
                <c:pt idx="1">
                  <c:v>0.33319431300977875</c:v>
                </c:pt>
                <c:pt idx="2">
                  <c:v>0.38245839383938218</c:v>
                </c:pt>
                <c:pt idx="3">
                  <c:v>0.33647632458233989</c:v>
                </c:pt>
                <c:pt idx="4">
                  <c:v>0.34497656344869565</c:v>
                </c:pt>
                <c:pt idx="5">
                  <c:v>0.2976904153354684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32</c:v>
                </c:pt>
                <c:pt idx="1">
                  <c:v>Av Price/Unit 11.77</c:v>
                </c:pt>
                <c:pt idx="2">
                  <c:v>Av Price/Unit 9.10</c:v>
                </c:pt>
                <c:pt idx="3">
                  <c:v>Av Price/Unit 9.81</c:v>
                </c:pt>
                <c:pt idx="4">
                  <c:v>Av Price/Unit 9.91</c:v>
                </c:pt>
                <c:pt idx="5">
                  <c:v>Av Price/Unit 18.39</c:v>
                </c:pt>
              </c:strCache>
            </c:strRef>
          </c:cat>
          <c:val>
            <c:numRef>
              <c:f>Sheet1!$E$2:$E$7</c:f>
              <c:numCache>
                <c:formatCode>General</c:formatCode>
                <c:ptCount val="6"/>
                <c:pt idx="0">
                  <c:v>1.2207338853710015</c:v>
                </c:pt>
                <c:pt idx="1">
                  <c:v>1.9621017529629117</c:v>
                </c:pt>
                <c:pt idx="2">
                  <c:v>1.5163916391639181</c:v>
                </c:pt>
                <c:pt idx="3">
                  <c:v>1.6353221957040573</c:v>
                </c:pt>
                <c:pt idx="4">
                  <c:v>1.6487553126897379</c:v>
                </c:pt>
                <c:pt idx="5">
                  <c:v>3.065495207667728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7.19</c:v>
                </c:pt>
                <c:pt idx="1">
                  <c:v>Av Price/Unit 11.79</c:v>
                </c:pt>
                <c:pt idx="2">
                  <c:v>Av Price/Unit 9.20</c:v>
                </c:pt>
                <c:pt idx="3">
                  <c:v>Av Price/Unit 9.95</c:v>
                </c:pt>
                <c:pt idx="4">
                  <c:v>Av Price/Unit 9.88</c:v>
                </c:pt>
                <c:pt idx="5">
                  <c:v>Av Price/Unit 18.80</c:v>
                </c:pt>
                <c:pt idx="6">
                  <c:v>Av Price/Unit 7.45</c:v>
                </c:pt>
              </c:strCache>
            </c:strRef>
          </c:cat>
          <c:val>
            <c:numRef>
              <c:f>Sheet1!$B$2:$B$8</c:f>
              <c:numCache>
                <c:formatCode>General</c:formatCode>
                <c:ptCount val="7"/>
                <c:pt idx="0">
                  <c:v>3.3443261036468326</c:v>
                </c:pt>
                <c:pt idx="1">
                  <c:v>4.8910233316352532</c:v>
                </c:pt>
                <c:pt idx="2">
                  <c:v>4.1047860014892024</c:v>
                </c:pt>
                <c:pt idx="3">
                  <c:v>4.0159141638225258</c:v>
                </c:pt>
                <c:pt idx="4">
                  <c:v>4.3264999999999993</c:v>
                </c:pt>
                <c:pt idx="5">
                  <c:v>8.1081160000000008</c:v>
                </c:pt>
                <c:pt idx="6">
                  <c:v>1.210569294605809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7.19</c:v>
                </c:pt>
                <c:pt idx="1">
                  <c:v>Av Price/Unit 11.79</c:v>
                </c:pt>
                <c:pt idx="2">
                  <c:v>Av Price/Unit 9.20</c:v>
                </c:pt>
                <c:pt idx="3">
                  <c:v>Av Price/Unit 9.95</c:v>
                </c:pt>
                <c:pt idx="4">
                  <c:v>Av Price/Unit 9.88</c:v>
                </c:pt>
                <c:pt idx="5">
                  <c:v>Av Price/Unit 18.80</c:v>
                </c:pt>
                <c:pt idx="6">
                  <c:v>Av Price/Unit 7.45</c:v>
                </c:pt>
              </c:strCache>
            </c:strRef>
          </c:cat>
          <c:val>
            <c:numRef>
              <c:f>Sheet1!$C$2:$C$8</c:f>
              <c:numCache>
                <c:formatCode>General</c:formatCode>
                <c:ptCount val="7"/>
                <c:pt idx="0">
                  <c:v>2.5704168138195778</c:v>
                </c:pt>
                <c:pt idx="1">
                  <c:v>4.570164747834947</c:v>
                </c:pt>
                <c:pt idx="2">
                  <c:v>3.2974845122859273</c:v>
                </c:pt>
                <c:pt idx="3">
                  <c:v>3.8096238907849824</c:v>
                </c:pt>
                <c:pt idx="4">
                  <c:v>3.5724000000000009</c:v>
                </c:pt>
                <c:pt idx="5">
                  <c:v>6.8731840000000002</c:v>
                </c:pt>
                <c:pt idx="6">
                  <c:v>3.645634439834025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7.19</c:v>
                </c:pt>
                <c:pt idx="1">
                  <c:v>Av Price/Unit 11.79</c:v>
                </c:pt>
                <c:pt idx="2">
                  <c:v>Av Price/Unit 9.20</c:v>
                </c:pt>
                <c:pt idx="3">
                  <c:v>Av Price/Unit 9.95</c:v>
                </c:pt>
                <c:pt idx="4">
                  <c:v>Av Price/Unit 9.88</c:v>
                </c:pt>
                <c:pt idx="5">
                  <c:v>Av Price/Unit 18.80</c:v>
                </c:pt>
                <c:pt idx="6">
                  <c:v>Av Price/Unit 7.45</c:v>
                </c:pt>
              </c:strCache>
            </c:strRef>
          </c:cat>
          <c:val>
            <c:numRef>
              <c:f>Sheet1!$D$2:$D$8</c:f>
              <c:numCache>
                <c:formatCode>General</c:formatCode>
                <c:ptCount val="7"/>
                <c:pt idx="0">
                  <c:v>7.5020358285350142E-2</c:v>
                </c:pt>
                <c:pt idx="1">
                  <c:v>0.3609713873323166</c:v>
                </c:pt>
                <c:pt idx="2">
                  <c:v>0.26774686026309169</c:v>
                </c:pt>
                <c:pt idx="3">
                  <c:v>0.46797730375426827</c:v>
                </c:pt>
                <c:pt idx="4">
                  <c:v>0.33336187433440134</c:v>
                </c:pt>
                <c:pt idx="5">
                  <c:v>0.68536666666666513</c:v>
                </c:pt>
                <c:pt idx="6">
                  <c:v>1.354060442600277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7.19</c:v>
                </c:pt>
                <c:pt idx="1">
                  <c:v>Av Price/Unit 11.79</c:v>
                </c:pt>
                <c:pt idx="2">
                  <c:v>Av Price/Unit 9.20</c:v>
                </c:pt>
                <c:pt idx="3">
                  <c:v>Av Price/Unit 9.95</c:v>
                </c:pt>
                <c:pt idx="4">
                  <c:v>Av Price/Unit 9.88</c:v>
                </c:pt>
                <c:pt idx="5">
                  <c:v>Av Price/Unit 18.80</c:v>
                </c:pt>
                <c:pt idx="6">
                  <c:v>Av Price/Unit 7.45</c:v>
                </c:pt>
              </c:strCache>
            </c:strRef>
          </c:cat>
          <c:val>
            <c:numRef>
              <c:f>Sheet1!$E$2:$E$8</c:f>
              <c:numCache>
                <c:formatCode>General</c:formatCode>
                <c:ptCount val="7"/>
                <c:pt idx="0">
                  <c:v>1.197952655150351</c:v>
                </c:pt>
                <c:pt idx="1">
                  <c:v>1.9644251995245361</c:v>
                </c:pt>
                <c:pt idx="2">
                  <c:v>1.5340034748076441</c:v>
                </c:pt>
                <c:pt idx="3">
                  <c:v>1.6587030716723534</c:v>
                </c:pt>
                <c:pt idx="4">
                  <c:v>1.6464323748668788</c:v>
                </c:pt>
                <c:pt idx="5">
                  <c:v>3.1333333333333337</c:v>
                </c:pt>
                <c:pt idx="6">
                  <c:v>1.242047026279390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7.47</c:v>
                </c:pt>
                <c:pt idx="1">
                  <c:v>Av Price/Unit 11.77</c:v>
                </c:pt>
                <c:pt idx="2">
                  <c:v>Av Price/Unit 9.09</c:v>
                </c:pt>
                <c:pt idx="3">
                  <c:v>Av Price/Unit 9.80</c:v>
                </c:pt>
                <c:pt idx="4">
                  <c:v>Av Price/Unit 9.86</c:v>
                </c:pt>
                <c:pt idx="5">
                  <c:v>Av Price/Unit 18.31</c:v>
                </c:pt>
                <c:pt idx="6">
                  <c:v>Av Price/Unit 15.40</c:v>
                </c:pt>
              </c:strCache>
            </c:strRef>
          </c:cat>
          <c:val>
            <c:numRef>
              <c:f>Sheet1!$B$2:$B$8</c:f>
              <c:numCache>
                <c:formatCode>General</c:formatCode>
                <c:ptCount val="7"/>
                <c:pt idx="0">
                  <c:v>3.361576254977424</c:v>
                </c:pt>
                <c:pt idx="1">
                  <c:v>4.9013940047961633</c:v>
                </c:pt>
                <c:pt idx="2">
                  <c:v>3.9857341560631614</c:v>
                </c:pt>
                <c:pt idx="3">
                  <c:v>4.0247585302239948</c:v>
                </c:pt>
                <c:pt idx="4">
                  <c:v>4.3265000000000002</c:v>
                </c:pt>
                <c:pt idx="5">
                  <c:v>8.1267524495677232</c:v>
                </c:pt>
                <c:pt idx="6">
                  <c:v>5.228299999999999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7.47</c:v>
                </c:pt>
                <c:pt idx="1">
                  <c:v>Av Price/Unit 11.77</c:v>
                </c:pt>
                <c:pt idx="2">
                  <c:v>Av Price/Unit 9.09</c:v>
                </c:pt>
                <c:pt idx="3">
                  <c:v>Av Price/Unit 9.80</c:v>
                </c:pt>
                <c:pt idx="4">
                  <c:v>Av Price/Unit 9.86</c:v>
                </c:pt>
                <c:pt idx="5">
                  <c:v>Av Price/Unit 18.31</c:v>
                </c:pt>
                <c:pt idx="6">
                  <c:v>Av Price/Unit 15.40</c:v>
                </c:pt>
              </c:strCache>
            </c:strRef>
          </c:cat>
          <c:val>
            <c:numRef>
              <c:f>Sheet1!$C$2:$C$8</c:f>
              <c:numCache>
                <c:formatCode>General</c:formatCode>
                <c:ptCount val="7"/>
                <c:pt idx="0">
                  <c:v>2.5831369254094398</c:v>
                </c:pt>
                <c:pt idx="1">
                  <c:v>4.57860107913669</c:v>
                </c:pt>
                <c:pt idx="2">
                  <c:v>3.2001052889774648</c:v>
                </c:pt>
                <c:pt idx="3">
                  <c:v>3.8178305001534203</c:v>
                </c:pt>
                <c:pt idx="4">
                  <c:v>3.5723999999999996</c:v>
                </c:pt>
                <c:pt idx="5">
                  <c:v>6.8924265129683002</c:v>
                </c:pt>
                <c:pt idx="6">
                  <c:v>7.229999999999999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7.47</c:v>
                </c:pt>
                <c:pt idx="1">
                  <c:v>Av Price/Unit 11.77</c:v>
                </c:pt>
                <c:pt idx="2">
                  <c:v>Av Price/Unit 9.09</c:v>
                </c:pt>
                <c:pt idx="3">
                  <c:v>Av Price/Unit 9.80</c:v>
                </c:pt>
                <c:pt idx="4">
                  <c:v>Av Price/Unit 9.86</c:v>
                </c:pt>
                <c:pt idx="5">
                  <c:v>Av Price/Unit 18.31</c:v>
                </c:pt>
                <c:pt idx="6">
                  <c:v>Av Price/Unit 15.40</c:v>
                </c:pt>
              </c:strCache>
            </c:strRef>
          </c:cat>
          <c:val>
            <c:numRef>
              <c:f>Sheet1!$D$2:$D$8</c:f>
              <c:numCache>
                <c:formatCode>General</c:formatCode>
                <c:ptCount val="7"/>
                <c:pt idx="0">
                  <c:v>0.27960830709251905</c:v>
                </c:pt>
                <c:pt idx="1">
                  <c:v>0.3270521301877416</c:v>
                </c:pt>
                <c:pt idx="2">
                  <c:v>0.38956680975011615</c:v>
                </c:pt>
                <c:pt idx="3">
                  <c:v>0.32095806996011245</c:v>
                </c:pt>
                <c:pt idx="4">
                  <c:v>0.30694740400869325</c:v>
                </c:pt>
                <c:pt idx="5">
                  <c:v>0.24258856868395817</c:v>
                </c:pt>
                <c:pt idx="6">
                  <c:v>0.3009592592592635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7.47</c:v>
                </c:pt>
                <c:pt idx="1">
                  <c:v>Av Price/Unit 11.77</c:v>
                </c:pt>
                <c:pt idx="2">
                  <c:v>Av Price/Unit 9.09</c:v>
                </c:pt>
                <c:pt idx="3">
                  <c:v>Av Price/Unit 9.80</c:v>
                </c:pt>
                <c:pt idx="4">
                  <c:v>Av Price/Unit 9.86</c:v>
                </c:pt>
                <c:pt idx="5">
                  <c:v>Av Price/Unit 18.31</c:v>
                </c:pt>
                <c:pt idx="6">
                  <c:v>Av Price/Unit 15.40</c:v>
                </c:pt>
              </c:strCache>
            </c:strRef>
          </c:cat>
          <c:val>
            <c:numRef>
              <c:f>Sheet1!$E$2:$E$8</c:f>
              <c:numCache>
                <c:formatCode>General</c:formatCode>
                <c:ptCount val="7"/>
                <c:pt idx="0">
                  <c:v>1.2448642974958746</c:v>
                </c:pt>
                <c:pt idx="1">
                  <c:v>1.9614092509775951</c:v>
                </c:pt>
                <c:pt idx="2">
                  <c:v>1.5150812509581471</c:v>
                </c:pt>
                <c:pt idx="3">
                  <c:v>1.6327094200675043</c:v>
                </c:pt>
                <c:pt idx="4">
                  <c:v>1.6411494808017386</c:v>
                </c:pt>
                <c:pt idx="5">
                  <c:v>3.0523535062439962</c:v>
                </c:pt>
                <c:pt idx="6">
                  <c:v>2.5518518518518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32</c:v>
                </c:pt>
                <c:pt idx="1">
                  <c:v>Av Price/Unit 11.79</c:v>
                </c:pt>
                <c:pt idx="2">
                  <c:v>Av Price/Unit 9.16</c:v>
                </c:pt>
                <c:pt idx="3">
                  <c:v>Av Price/Unit 9.87</c:v>
                </c:pt>
                <c:pt idx="4">
                  <c:v>Av Price/Unit 9.88</c:v>
                </c:pt>
                <c:pt idx="5">
                  <c:v>Av Price/Unit 18.78</c:v>
                </c:pt>
              </c:strCache>
            </c:strRef>
          </c:cat>
          <c:val>
            <c:numRef>
              <c:f>Sheet1!$B$2:$B$7</c:f>
              <c:numCache>
                <c:formatCode>General</c:formatCode>
                <c:ptCount val="6"/>
                <c:pt idx="0">
                  <c:v>3.3536259305568912</c:v>
                </c:pt>
                <c:pt idx="1">
                  <c:v>4.8967329118497114</c:v>
                </c:pt>
                <c:pt idx="2">
                  <c:v>4.0293718937446448</c:v>
                </c:pt>
                <c:pt idx="3">
                  <c:v>4.0207254237288126</c:v>
                </c:pt>
                <c:pt idx="4">
                  <c:v>4.3265000000000011</c:v>
                </c:pt>
                <c:pt idx="5">
                  <c:v>8.079160465116279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32</c:v>
                </c:pt>
                <c:pt idx="1">
                  <c:v>Av Price/Unit 11.79</c:v>
                </c:pt>
                <c:pt idx="2">
                  <c:v>Av Price/Unit 9.16</c:v>
                </c:pt>
                <c:pt idx="3">
                  <c:v>Av Price/Unit 9.87</c:v>
                </c:pt>
                <c:pt idx="4">
                  <c:v>Av Price/Unit 9.88</c:v>
                </c:pt>
                <c:pt idx="5">
                  <c:v>Av Price/Unit 18.78</c:v>
                </c:pt>
              </c:strCache>
            </c:strRef>
          </c:cat>
          <c:val>
            <c:numRef>
              <c:f>Sheet1!$C$2:$C$7</c:f>
              <c:numCache>
                <c:formatCode>General</c:formatCode>
                <c:ptCount val="6"/>
                <c:pt idx="0">
                  <c:v>2.5772744253149944</c:v>
                </c:pt>
                <c:pt idx="1">
                  <c:v>4.5748093749999992</c:v>
                </c:pt>
                <c:pt idx="2">
                  <c:v>3.2357990574121676</c:v>
                </c:pt>
                <c:pt idx="3">
                  <c:v>3.8140882163034702</c:v>
                </c:pt>
                <c:pt idx="4">
                  <c:v>3.5724000000000005</c:v>
                </c:pt>
                <c:pt idx="5">
                  <c:v>6.843286821705427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32</c:v>
                </c:pt>
                <c:pt idx="1">
                  <c:v>Av Price/Unit 11.79</c:v>
                </c:pt>
                <c:pt idx="2">
                  <c:v>Av Price/Unit 9.16</c:v>
                </c:pt>
                <c:pt idx="3">
                  <c:v>Av Price/Unit 9.87</c:v>
                </c:pt>
                <c:pt idx="4">
                  <c:v>Av Price/Unit 9.88</c:v>
                </c:pt>
                <c:pt idx="5">
                  <c:v>Av Price/Unit 18.78</c:v>
                </c:pt>
              </c:strCache>
            </c:strRef>
          </c:cat>
          <c:val>
            <c:numRef>
              <c:f>Sheet1!$D$2:$D$7</c:f>
              <c:numCache>
                <c:formatCode>General</c:formatCode>
                <c:ptCount val="6"/>
                <c:pt idx="0">
                  <c:v>0.16973764868070962</c:v>
                </c:pt>
                <c:pt idx="1">
                  <c:v>0.35596605852601293</c:v>
                </c:pt>
                <c:pt idx="2">
                  <c:v>0.36622007997715134</c:v>
                </c:pt>
                <c:pt idx="3">
                  <c:v>0.388215684691958</c:v>
                </c:pt>
                <c:pt idx="4">
                  <c:v>0.33054472934472656</c:v>
                </c:pt>
                <c:pt idx="5">
                  <c:v>0.7235475452196364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32</c:v>
                </c:pt>
                <c:pt idx="1">
                  <c:v>Av Price/Unit 11.79</c:v>
                </c:pt>
                <c:pt idx="2">
                  <c:v>Av Price/Unit 9.16</c:v>
                </c:pt>
                <c:pt idx="3">
                  <c:v>Av Price/Unit 9.87</c:v>
                </c:pt>
                <c:pt idx="4">
                  <c:v>Av Price/Unit 9.88</c:v>
                </c:pt>
                <c:pt idx="5">
                  <c:v>Av Price/Unit 18.78</c:v>
                </c:pt>
              </c:strCache>
            </c:strRef>
          </c:cat>
          <c:val>
            <c:numRef>
              <c:f>Sheet1!$E$2:$E$7</c:f>
              <c:numCache>
                <c:formatCode>General</c:formatCode>
                <c:ptCount val="6"/>
                <c:pt idx="0">
                  <c:v>1.2201276009105189</c:v>
                </c:pt>
                <c:pt idx="1">
                  <c:v>1.9654985549132948</c:v>
                </c:pt>
                <c:pt idx="2">
                  <c:v>1.5262782062267923</c:v>
                </c:pt>
                <c:pt idx="3">
                  <c:v>1.6446058649448474</c:v>
                </c:pt>
                <c:pt idx="4">
                  <c:v>1.6458689458689468</c:v>
                </c:pt>
                <c:pt idx="5">
                  <c:v>3.129198966408269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7.18</c:v>
                </c:pt>
                <c:pt idx="1">
                  <c:v>Av Price/Unit 11.83</c:v>
                </c:pt>
                <c:pt idx="2">
                  <c:v>Av Price/Unit 9.18</c:v>
                </c:pt>
                <c:pt idx="3">
                  <c:v>Av Price/Unit 9.94</c:v>
                </c:pt>
                <c:pt idx="4">
                  <c:v>Av Price/Unit 9.88</c:v>
                </c:pt>
                <c:pt idx="5">
                  <c:v>Av Price/Unit 7.19</c:v>
                </c:pt>
                <c:pt idx="6">
                  <c:v>Av Price/Unit 18.78</c:v>
                </c:pt>
              </c:strCache>
            </c:strRef>
          </c:cat>
          <c:val>
            <c:numRef>
              <c:f>Sheet1!$B$2:$B$8</c:f>
              <c:numCache>
                <c:formatCode>General</c:formatCode>
                <c:ptCount val="7"/>
                <c:pt idx="0">
                  <c:v>3.3437369659982559</c:v>
                </c:pt>
                <c:pt idx="1">
                  <c:v>4.8927943545611008</c:v>
                </c:pt>
                <c:pt idx="2">
                  <c:v>4.0926038662907773</c:v>
                </c:pt>
                <c:pt idx="3">
                  <c:v>4.0153754122938521</c:v>
                </c:pt>
                <c:pt idx="4">
                  <c:v>4.3264999999999993</c:v>
                </c:pt>
                <c:pt idx="5">
                  <c:v>1.2084226613965745</c:v>
                </c:pt>
                <c:pt idx="6">
                  <c:v>8.112404477611940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7.18</c:v>
                </c:pt>
                <c:pt idx="1">
                  <c:v>Av Price/Unit 11.83</c:v>
                </c:pt>
                <c:pt idx="2">
                  <c:v>Av Price/Unit 9.18</c:v>
                </c:pt>
                <c:pt idx="3">
                  <c:v>Av Price/Unit 9.94</c:v>
                </c:pt>
                <c:pt idx="4">
                  <c:v>Av Price/Unit 9.88</c:v>
                </c:pt>
                <c:pt idx="5">
                  <c:v>Av Price/Unit 7.19</c:v>
                </c:pt>
                <c:pt idx="6">
                  <c:v>Av Price/Unit 18.78</c:v>
                </c:pt>
              </c:strCache>
            </c:strRef>
          </c:cat>
          <c:val>
            <c:numRef>
              <c:f>Sheet1!$C$2:$C$8</c:f>
              <c:numCache>
                <c:formatCode>General</c:formatCode>
                <c:ptCount val="7"/>
                <c:pt idx="0">
                  <c:v>2.5699823888404536</c:v>
                </c:pt>
                <c:pt idx="1">
                  <c:v>4.5716054388984508</c:v>
                </c:pt>
                <c:pt idx="2">
                  <c:v>3.2875200563834066</c:v>
                </c:pt>
                <c:pt idx="3">
                  <c:v>3.8091239880059975</c:v>
                </c:pt>
                <c:pt idx="4">
                  <c:v>3.5724</c:v>
                </c:pt>
                <c:pt idx="5">
                  <c:v>3.6426180500658756</c:v>
                </c:pt>
                <c:pt idx="6">
                  <c:v>6.877611940298508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7.18</c:v>
                </c:pt>
                <c:pt idx="1">
                  <c:v>Av Price/Unit 11.83</c:v>
                </c:pt>
                <c:pt idx="2">
                  <c:v>Av Price/Unit 9.18</c:v>
                </c:pt>
                <c:pt idx="3">
                  <c:v>Av Price/Unit 9.94</c:v>
                </c:pt>
                <c:pt idx="4">
                  <c:v>Av Price/Unit 9.88</c:v>
                </c:pt>
                <c:pt idx="5">
                  <c:v>Av Price/Unit 7.19</c:v>
                </c:pt>
                <c:pt idx="6">
                  <c:v>Av Price/Unit 18.78</c:v>
                </c:pt>
              </c:strCache>
            </c:strRef>
          </c:cat>
          <c:val>
            <c:numRef>
              <c:f>Sheet1!$D$2:$D$8</c:f>
              <c:numCache>
                <c:formatCode>General</c:formatCode>
                <c:ptCount val="7"/>
                <c:pt idx="0">
                  <c:v>6.7826707352512727E-2</c:v>
                </c:pt>
                <c:pt idx="1">
                  <c:v>0.39506587492828693</c:v>
                </c:pt>
                <c:pt idx="2">
                  <c:v>0.2678825211437772</c:v>
                </c:pt>
                <c:pt idx="3">
                  <c:v>0.45885892053972999</c:v>
                </c:pt>
                <c:pt idx="4">
                  <c:v>0.31443960164030393</c:v>
                </c:pt>
                <c:pt idx="5">
                  <c:v>1.1393079929732091</c:v>
                </c:pt>
                <c:pt idx="6">
                  <c:v>0.6629686567164156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7.18</c:v>
                </c:pt>
                <c:pt idx="1">
                  <c:v>Av Price/Unit 11.83</c:v>
                </c:pt>
                <c:pt idx="2">
                  <c:v>Av Price/Unit 9.18</c:v>
                </c:pt>
                <c:pt idx="3">
                  <c:v>Av Price/Unit 9.94</c:v>
                </c:pt>
                <c:pt idx="4">
                  <c:v>Av Price/Unit 9.88</c:v>
                </c:pt>
                <c:pt idx="5">
                  <c:v>Av Price/Unit 7.19</c:v>
                </c:pt>
                <c:pt idx="6">
                  <c:v>Av Price/Unit 18.78</c:v>
                </c:pt>
              </c:strCache>
            </c:strRef>
          </c:cat>
          <c:val>
            <c:numRef>
              <c:f>Sheet1!$E$2:$E$8</c:f>
              <c:numCache>
                <c:formatCode>General</c:formatCode>
                <c:ptCount val="7"/>
                <c:pt idx="0">
                  <c:v>1.1963092124382446</c:v>
                </c:pt>
                <c:pt idx="1">
                  <c:v>1.9718875502008015</c:v>
                </c:pt>
                <c:pt idx="2">
                  <c:v>1.5296012887635924</c:v>
                </c:pt>
                <c:pt idx="3">
                  <c:v>1.656671664167916</c:v>
                </c:pt>
                <c:pt idx="4">
                  <c:v>1.6426479203280615</c:v>
                </c:pt>
                <c:pt idx="5">
                  <c:v>1.1980676328502424</c:v>
                </c:pt>
                <c:pt idx="6">
                  <c:v>3.130597014925373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7.24</c:v>
                </c:pt>
                <c:pt idx="1">
                  <c:v>Av Price/Unit 11.88</c:v>
                </c:pt>
                <c:pt idx="2">
                  <c:v>Av Price/Unit 9.17</c:v>
                </c:pt>
                <c:pt idx="3">
                  <c:v>Av Price/Unit 9.88</c:v>
                </c:pt>
                <c:pt idx="4">
                  <c:v>Av Price/Unit 9.86</c:v>
                </c:pt>
              </c:strCache>
            </c:strRef>
          </c:cat>
          <c:val>
            <c:numRef>
              <c:f>Sheet1!$B$2:$B$6</c:f>
              <c:numCache>
                <c:formatCode>General</c:formatCode>
                <c:ptCount val="5"/>
                <c:pt idx="0">
                  <c:v>3.3487875530410181</c:v>
                </c:pt>
                <c:pt idx="1">
                  <c:v>4.896087305122494</c:v>
                </c:pt>
                <c:pt idx="2">
                  <c:v>4.0083442244224425</c:v>
                </c:pt>
                <c:pt idx="3">
                  <c:v>4.0194062500000003</c:v>
                </c:pt>
                <c:pt idx="4">
                  <c:v>4.326500000000000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7.24</c:v>
                </c:pt>
                <c:pt idx="1">
                  <c:v>Av Price/Unit 11.88</c:v>
                </c:pt>
                <c:pt idx="2">
                  <c:v>Av Price/Unit 9.17</c:v>
                </c:pt>
                <c:pt idx="3">
                  <c:v>Av Price/Unit 9.88</c:v>
                </c:pt>
                <c:pt idx="4">
                  <c:v>Av Price/Unit 9.86</c:v>
                </c:pt>
              </c:strCache>
            </c:strRef>
          </c:cat>
          <c:val>
            <c:numRef>
              <c:f>Sheet1!$C$2:$C$6</c:f>
              <c:numCache>
                <c:formatCode>General</c:formatCode>
                <c:ptCount val="5"/>
                <c:pt idx="0">
                  <c:v>2.5737066478076374</c:v>
                </c:pt>
                <c:pt idx="1">
                  <c:v>4.5742841870824051</c:v>
                </c:pt>
                <c:pt idx="2">
                  <c:v>3.2185993399339932</c:v>
                </c:pt>
                <c:pt idx="3">
                  <c:v>3.8128641666666669</c:v>
                </c:pt>
                <c:pt idx="4">
                  <c:v>3.572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7.24</c:v>
                </c:pt>
                <c:pt idx="1">
                  <c:v>Av Price/Unit 11.88</c:v>
                </c:pt>
                <c:pt idx="2">
                  <c:v>Av Price/Unit 9.17</c:v>
                </c:pt>
                <c:pt idx="3">
                  <c:v>Av Price/Unit 9.88</c:v>
                </c:pt>
                <c:pt idx="4">
                  <c:v>Av Price/Unit 9.86</c:v>
                </c:pt>
              </c:strCache>
            </c:strRef>
          </c:cat>
          <c:val>
            <c:numRef>
              <c:f>Sheet1!$D$2:$D$6</c:f>
              <c:numCache>
                <c:formatCode>General</c:formatCode>
                <c:ptCount val="5"/>
                <c:pt idx="0">
                  <c:v>0.10679622819424761</c:v>
                </c:pt>
                <c:pt idx="1">
                  <c:v>0.42663942093541074</c:v>
                </c:pt>
                <c:pt idx="2">
                  <c:v>0.41194532453245181</c:v>
                </c:pt>
                <c:pt idx="3">
                  <c:v>0.39689625000000017</c:v>
                </c:pt>
                <c:pt idx="4">
                  <c:v>0.316069281045752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7.24</c:v>
                </c:pt>
                <c:pt idx="1">
                  <c:v>Av Price/Unit 11.88</c:v>
                </c:pt>
                <c:pt idx="2">
                  <c:v>Av Price/Unit 9.17</c:v>
                </c:pt>
                <c:pt idx="3">
                  <c:v>Av Price/Unit 9.88</c:v>
                </c:pt>
                <c:pt idx="4">
                  <c:v>Av Price/Unit 9.86</c:v>
                </c:pt>
              </c:strCache>
            </c:strRef>
          </c:cat>
          <c:val>
            <c:numRef>
              <c:f>Sheet1!$E$2:$E$6</c:f>
              <c:numCache>
                <c:formatCode>General</c:formatCode>
                <c:ptCount val="5"/>
                <c:pt idx="0">
                  <c:v>1.2058580858085799</c:v>
                </c:pt>
                <c:pt idx="1">
                  <c:v>1.9793986636971046</c:v>
                </c:pt>
                <c:pt idx="2">
                  <c:v>1.5277777777777788</c:v>
                </c:pt>
                <c:pt idx="3">
                  <c:v>1.6458333333333324</c:v>
                </c:pt>
                <c:pt idx="4">
                  <c:v>1.642973856209149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7.27</c:v>
                </c:pt>
                <c:pt idx="1">
                  <c:v>Av Price/Unit 9.03</c:v>
                </c:pt>
                <c:pt idx="2">
                  <c:v>Av Price/Unit 12.14</c:v>
                </c:pt>
                <c:pt idx="3">
                  <c:v>Av Price/Unit 10.01</c:v>
                </c:pt>
              </c:strCache>
            </c:strRef>
          </c:cat>
          <c:val>
            <c:numRef>
              <c:f>Sheet1!$B$2:$B$5</c:f>
              <c:numCache>
                <c:formatCode>General</c:formatCode>
                <c:ptCount val="4"/>
                <c:pt idx="0">
                  <c:v>3.3495121908127206</c:v>
                </c:pt>
                <c:pt idx="1">
                  <c:v>3.917382988505747</c:v>
                </c:pt>
                <c:pt idx="2">
                  <c:v>4.8919652582159623</c:v>
                </c:pt>
                <c:pt idx="3">
                  <c:v>4.326500000000000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7.27</c:v>
                </c:pt>
                <c:pt idx="1">
                  <c:v>Av Price/Unit 9.03</c:v>
                </c:pt>
                <c:pt idx="2">
                  <c:v>Av Price/Unit 12.14</c:v>
                </c:pt>
                <c:pt idx="3">
                  <c:v>Av Price/Unit 10.01</c:v>
                </c:pt>
              </c:strCache>
            </c:strRef>
          </c:cat>
          <c:val>
            <c:numRef>
              <c:f>Sheet1!$C$2:$C$5</c:f>
              <c:numCache>
                <c:formatCode>General</c:formatCode>
                <c:ptCount val="4"/>
                <c:pt idx="0">
                  <c:v>2.5742409893992932</c:v>
                </c:pt>
                <c:pt idx="1">
                  <c:v>3.1441970114942528</c:v>
                </c:pt>
                <c:pt idx="2">
                  <c:v>4.570930985915493</c:v>
                </c:pt>
                <c:pt idx="3">
                  <c:v>3.572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7.27</c:v>
                </c:pt>
                <c:pt idx="1">
                  <c:v>Av Price/Unit 9.03</c:v>
                </c:pt>
                <c:pt idx="2">
                  <c:v>Av Price/Unit 12.14</c:v>
                </c:pt>
                <c:pt idx="3">
                  <c:v>Av Price/Unit 10.01</c:v>
                </c:pt>
              </c:strCache>
            </c:strRef>
          </c:cat>
          <c:val>
            <c:numRef>
              <c:f>Sheet1!$D$2:$D$5</c:f>
              <c:numCache>
                <c:formatCode>General</c:formatCode>
                <c:ptCount val="4"/>
                <c:pt idx="0">
                  <c:v>0.13190053003533553</c:v>
                </c:pt>
                <c:pt idx="1">
                  <c:v>0.46715563218390699</c:v>
                </c:pt>
                <c:pt idx="2">
                  <c:v>0.65059280125195684</c:v>
                </c:pt>
                <c:pt idx="3">
                  <c:v>0.3893136950904407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7.27</c:v>
                </c:pt>
                <c:pt idx="1">
                  <c:v>Av Price/Unit 9.03</c:v>
                </c:pt>
                <c:pt idx="2">
                  <c:v>Av Price/Unit 12.14</c:v>
                </c:pt>
                <c:pt idx="3">
                  <c:v>Av Price/Unit 10.01</c:v>
                </c:pt>
              </c:strCache>
            </c:strRef>
          </c:cat>
          <c:val>
            <c:numRef>
              <c:f>Sheet1!$E$2:$E$5</c:f>
              <c:numCache>
                <c:formatCode>General</c:formatCode>
                <c:ptCount val="4"/>
                <c:pt idx="0">
                  <c:v>1.2111307420494692</c:v>
                </c:pt>
                <c:pt idx="1">
                  <c:v>1.5057471264367817</c:v>
                </c:pt>
                <c:pt idx="2">
                  <c:v>2.022691705790296</c:v>
                </c:pt>
                <c:pt idx="3">
                  <c:v>1.657622739018087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46</c:v>
                </c:pt>
                <c:pt idx="1">
                  <c:v>Av Price/Unit 11.79</c:v>
                </c:pt>
                <c:pt idx="2">
                  <c:v>Av Price/Unit 9.05</c:v>
                </c:pt>
                <c:pt idx="3">
                  <c:v>Av Price/Unit 9.85</c:v>
                </c:pt>
                <c:pt idx="4">
                  <c:v>Av Price/Unit 9.84</c:v>
                </c:pt>
                <c:pt idx="5">
                  <c:v>Av Price/Unit 18.63</c:v>
                </c:pt>
              </c:strCache>
            </c:strRef>
          </c:cat>
          <c:val>
            <c:numRef>
              <c:f>Sheet1!$B$2:$B$7</c:f>
              <c:numCache>
                <c:formatCode>General</c:formatCode>
                <c:ptCount val="6"/>
                <c:pt idx="0">
                  <c:v>3.3613558288458734</c:v>
                </c:pt>
                <c:pt idx="1">
                  <c:v>4.9004981244813273</c:v>
                </c:pt>
                <c:pt idx="2">
                  <c:v>3.9766575452255553</c:v>
                </c:pt>
                <c:pt idx="3">
                  <c:v>4.0256554054054066</c:v>
                </c:pt>
                <c:pt idx="4">
                  <c:v>4.3265000000000002</c:v>
                </c:pt>
                <c:pt idx="5">
                  <c:v>8.136882089552241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46</c:v>
                </c:pt>
                <c:pt idx="1">
                  <c:v>Av Price/Unit 11.79</c:v>
                </c:pt>
                <c:pt idx="2">
                  <c:v>Av Price/Unit 9.05</c:v>
                </c:pt>
                <c:pt idx="3">
                  <c:v>Av Price/Unit 9.85</c:v>
                </c:pt>
                <c:pt idx="4">
                  <c:v>Av Price/Unit 9.84</c:v>
                </c:pt>
                <c:pt idx="5">
                  <c:v>Av Price/Unit 18.63</c:v>
                </c:pt>
              </c:strCache>
            </c:strRef>
          </c:cat>
          <c:val>
            <c:numRef>
              <c:f>Sheet1!$C$2:$C$7</c:f>
              <c:numCache>
                <c:formatCode>General</c:formatCode>
                <c:ptCount val="6"/>
                <c:pt idx="0">
                  <c:v>2.5829743850967835</c:v>
                </c:pt>
                <c:pt idx="1">
                  <c:v>4.577872298755187</c:v>
                </c:pt>
                <c:pt idx="2">
                  <c:v>3.1926810167162807</c:v>
                </c:pt>
                <c:pt idx="3">
                  <c:v>3.8186627027027025</c:v>
                </c:pt>
                <c:pt idx="4">
                  <c:v>3.5724000000000005</c:v>
                </c:pt>
                <c:pt idx="5">
                  <c:v>6.902885572139303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46</c:v>
                </c:pt>
                <c:pt idx="1">
                  <c:v>Av Price/Unit 11.79</c:v>
                </c:pt>
                <c:pt idx="2">
                  <c:v>Av Price/Unit 9.05</c:v>
                </c:pt>
                <c:pt idx="3">
                  <c:v>Av Price/Unit 9.85</c:v>
                </c:pt>
                <c:pt idx="4">
                  <c:v>Av Price/Unit 9.84</c:v>
                </c:pt>
                <c:pt idx="5">
                  <c:v>Av Price/Unit 18.63</c:v>
                </c:pt>
              </c:strCache>
            </c:strRef>
          </c:cat>
          <c:val>
            <c:numRef>
              <c:f>Sheet1!$D$2:$D$7</c:f>
              <c:numCache>
                <c:formatCode>General</c:formatCode>
                <c:ptCount val="6"/>
                <c:pt idx="0">
                  <c:v>0.26934562169504783</c:v>
                </c:pt>
                <c:pt idx="1">
                  <c:v>0.3491575491009673</c:v>
                </c:pt>
                <c:pt idx="2">
                  <c:v>0.37550534310357975</c:v>
                </c:pt>
                <c:pt idx="3">
                  <c:v>0.36288909909909961</c:v>
                </c:pt>
                <c:pt idx="4">
                  <c:v>0.30034430182808514</c:v>
                </c:pt>
                <c:pt idx="5">
                  <c:v>0.486766334991708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46</c:v>
                </c:pt>
                <c:pt idx="1">
                  <c:v>Av Price/Unit 11.79</c:v>
                </c:pt>
                <c:pt idx="2">
                  <c:v>Av Price/Unit 9.05</c:v>
                </c:pt>
                <c:pt idx="3">
                  <c:v>Av Price/Unit 9.85</c:v>
                </c:pt>
                <c:pt idx="4">
                  <c:v>Av Price/Unit 9.84</c:v>
                </c:pt>
                <c:pt idx="5">
                  <c:v>Av Price/Unit 18.63</c:v>
                </c:pt>
              </c:strCache>
            </c:strRef>
          </c:cat>
          <c:val>
            <c:numRef>
              <c:f>Sheet1!$E$2:$E$7</c:f>
              <c:numCache>
                <c:formatCode>General</c:formatCode>
                <c:ptCount val="6"/>
                <c:pt idx="0">
                  <c:v>1.2427351671275402</c:v>
                </c:pt>
                <c:pt idx="1">
                  <c:v>1.9655048409405251</c:v>
                </c:pt>
                <c:pt idx="2">
                  <c:v>1.5089687810090828</c:v>
                </c:pt>
                <c:pt idx="3">
                  <c:v>1.6414414414414398</c:v>
                </c:pt>
                <c:pt idx="4">
                  <c:v>1.639828860365615</c:v>
                </c:pt>
                <c:pt idx="5">
                  <c:v>3.105306799336649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7.34</c:v>
                </c:pt>
                <c:pt idx="1">
                  <c:v>Av Price/Unit 11.78</c:v>
                </c:pt>
                <c:pt idx="2">
                  <c:v>Av Price/Unit 9.13</c:v>
                </c:pt>
                <c:pt idx="3">
                  <c:v>Av Price/Unit 9.83</c:v>
                </c:pt>
                <c:pt idx="4">
                  <c:v>Av Price/Unit 9.82</c:v>
                </c:pt>
                <c:pt idx="5">
                  <c:v>Av Price/Unit 18.40</c:v>
                </c:pt>
                <c:pt idx="6">
                  <c:v>Av Price/Unit 7.18</c:v>
                </c:pt>
              </c:strCache>
            </c:strRef>
          </c:cat>
          <c:val>
            <c:numRef>
              <c:f>Sheet1!$B$2:$B$8</c:f>
              <c:numCache>
                <c:formatCode>General</c:formatCode>
                <c:ptCount val="7"/>
                <c:pt idx="0">
                  <c:v>3.3528350139040026</c:v>
                </c:pt>
                <c:pt idx="1">
                  <c:v>4.8988453319948375</c:v>
                </c:pt>
                <c:pt idx="2">
                  <c:v>4.0279393596986814</c:v>
                </c:pt>
                <c:pt idx="3">
                  <c:v>4.0223374430709171</c:v>
                </c:pt>
                <c:pt idx="4">
                  <c:v>4.3265000000000002</c:v>
                </c:pt>
                <c:pt idx="5">
                  <c:v>8.1134986754966896</c:v>
                </c:pt>
                <c:pt idx="6">
                  <c:v>1.208353846153846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7.34</c:v>
                </c:pt>
                <c:pt idx="1">
                  <c:v>Av Price/Unit 11.78</c:v>
                </c:pt>
                <c:pt idx="2">
                  <c:v>Av Price/Unit 9.13</c:v>
                </c:pt>
                <c:pt idx="3">
                  <c:v>Av Price/Unit 9.83</c:v>
                </c:pt>
                <c:pt idx="4">
                  <c:v>Av Price/Unit 9.82</c:v>
                </c:pt>
                <c:pt idx="5">
                  <c:v>Av Price/Unit 18.40</c:v>
                </c:pt>
                <c:pt idx="6">
                  <c:v>Av Price/Unit 7.18</c:v>
                </c:pt>
              </c:strCache>
            </c:strRef>
          </c:cat>
          <c:val>
            <c:numRef>
              <c:f>Sheet1!$C$2:$C$8</c:f>
              <c:numCache>
                <c:formatCode>General</c:formatCode>
                <c:ptCount val="7"/>
                <c:pt idx="0">
                  <c:v>2.5766912102526902</c:v>
                </c:pt>
                <c:pt idx="1">
                  <c:v>4.5765277857450171</c:v>
                </c:pt>
                <c:pt idx="2">
                  <c:v>3.2346273069679849</c:v>
                </c:pt>
                <c:pt idx="3">
                  <c:v>3.8155839947950554</c:v>
                </c:pt>
                <c:pt idx="4">
                  <c:v>3.5724000000000005</c:v>
                </c:pt>
                <c:pt idx="5">
                  <c:v>6.878741721854305</c:v>
                </c:pt>
                <c:pt idx="6">
                  <c:v>3.642521352785144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7.34</c:v>
                </c:pt>
                <c:pt idx="1">
                  <c:v>Av Price/Unit 11.78</c:v>
                </c:pt>
                <c:pt idx="2">
                  <c:v>Av Price/Unit 9.13</c:v>
                </c:pt>
                <c:pt idx="3">
                  <c:v>Av Price/Unit 9.83</c:v>
                </c:pt>
                <c:pt idx="4">
                  <c:v>Av Price/Unit 9.82</c:v>
                </c:pt>
                <c:pt idx="5">
                  <c:v>Av Price/Unit 18.40</c:v>
                </c:pt>
                <c:pt idx="6">
                  <c:v>Av Price/Unit 7.18</c:v>
                </c:pt>
              </c:strCache>
            </c:strRef>
          </c:cat>
          <c:val>
            <c:numRef>
              <c:f>Sheet1!$D$2:$D$8</c:f>
              <c:numCache>
                <c:formatCode>General</c:formatCode>
                <c:ptCount val="7"/>
                <c:pt idx="0">
                  <c:v>0.18390222061016459</c:v>
                </c:pt>
                <c:pt idx="1">
                  <c:v>0.34405836560065239</c:v>
                </c:pt>
                <c:pt idx="2">
                  <c:v>0.34234544883867013</c:v>
                </c:pt>
                <c:pt idx="3">
                  <c:v>0.35227591628713917</c:v>
                </c:pt>
                <c:pt idx="4">
                  <c:v>0.28723851444291704</c:v>
                </c:pt>
                <c:pt idx="5">
                  <c:v>0.33888543046357888</c:v>
                </c:pt>
                <c:pt idx="6">
                  <c:v>1.134987975243148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7.34</c:v>
                </c:pt>
                <c:pt idx="1">
                  <c:v>Av Price/Unit 11.78</c:v>
                </c:pt>
                <c:pt idx="2">
                  <c:v>Av Price/Unit 9.13</c:v>
                </c:pt>
                <c:pt idx="3">
                  <c:v>Av Price/Unit 9.83</c:v>
                </c:pt>
                <c:pt idx="4">
                  <c:v>Av Price/Unit 9.82</c:v>
                </c:pt>
                <c:pt idx="5">
                  <c:v>Av Price/Unit 18.40</c:v>
                </c:pt>
                <c:pt idx="6">
                  <c:v>Av Price/Unit 7.18</c:v>
                </c:pt>
              </c:strCache>
            </c:strRef>
          </c:cat>
          <c:val>
            <c:numRef>
              <c:f>Sheet1!$E$2:$E$8</c:f>
              <c:numCache>
                <c:formatCode>General</c:formatCode>
                <c:ptCount val="7"/>
                <c:pt idx="0">
                  <c:v>1.2226856889533702</c:v>
                </c:pt>
                <c:pt idx="1">
                  <c:v>1.9638845069075945</c:v>
                </c:pt>
                <c:pt idx="2">
                  <c:v>1.5209824231010667</c:v>
                </c:pt>
                <c:pt idx="3">
                  <c:v>1.6380394708306221</c:v>
                </c:pt>
                <c:pt idx="4">
                  <c:v>1.6372077028885832</c:v>
                </c:pt>
                <c:pt idx="5">
                  <c:v>3.0662251655629107</c:v>
                </c:pt>
                <c:pt idx="6">
                  <c:v>1.197170645446506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E6E5E5"/>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1EA94D0-4B40-4A0B-BB29-6DB1BABA0D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6CB7FBCF-2CAD-4CA1-81D1-B9A758D551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2465A4A-5378-4E0B-B590-E2E890D584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0E7E151A-7FB9-4DEF-8D17-E8CDC36709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9A73839B-0DBB-4FA5-A4CB-99B7616E05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3E40EB35-840F-4BF9-B256-65ABF65AC8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7F550F9E-FEBE-4B19-B1F7-6BD1A94E1D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96EFB3E7-F58D-4C6E-BFAF-AC16A00978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63.025500000000001</c:v>
                </c:pt>
                <c:pt idx="1">
                  <c:v>62.845300000000002</c:v>
                </c:pt>
                <c:pt idx="2">
                  <c:v>51.2117</c:v>
                </c:pt>
                <c:pt idx="3">
                  <c:v>59.219900000000003</c:v>
                </c:pt>
                <c:pt idx="4">
                  <c:v>55.6631</c:v>
                </c:pt>
              </c:numCache>
            </c:numRef>
          </c:xVal>
          <c:yVal>
            <c:numRef>
              <c:f>Sheet1!$B$2:$B$6</c:f>
              <c:numCache>
                <c:formatCode>General</c:formatCode>
                <c:ptCount val="5"/>
                <c:pt idx="0">
                  <c:v>0.40589999999999998</c:v>
                </c:pt>
                <c:pt idx="1">
                  <c:v>0.40379999999999999</c:v>
                </c:pt>
                <c:pt idx="2">
                  <c:v>0.3992</c:v>
                </c:pt>
                <c:pt idx="3">
                  <c:v>0.4078</c:v>
                </c:pt>
                <c:pt idx="4">
                  <c:v>0.40550000000000003</c:v>
                </c:pt>
              </c:numCache>
            </c:numRef>
          </c:yVal>
          <c:bubbleSize>
            <c:numRef>
              <c:f>Sheet1!$C$2:$C$6</c:f>
              <c:numCache>
                <c:formatCode>General</c:formatCode>
                <c:ptCount val="5"/>
                <c:pt idx="0">
                  <c:v>2420178.2243999988</c:v>
                </c:pt>
                <c:pt idx="1">
                  <c:v>381785.00800000021</c:v>
                </c:pt>
                <c:pt idx="2">
                  <c:v>89364.467999999979</c:v>
                </c:pt>
                <c:pt idx="3">
                  <c:v>191635.7429000001</c:v>
                </c:pt>
                <c:pt idx="4">
                  <c:v>103978.6274000001</c:v>
                </c:pt>
              </c:numCache>
            </c:numRef>
          </c:bubbleSize>
          <c:bubble3D val="0"/>
          <c:extLst>
            <c:ext xmlns:c15="http://schemas.microsoft.com/office/drawing/2012/chart" uri="{02D57815-91ED-43cb-92C2-25804820EDAC}">
              <c15:datalabelsRange>
                <c15:f>Sheet1!$E$2:$E$29</c15:f>
                <c15:dlblRangeCache>
                  <c:ptCount val="28"/>
                  <c:pt idx="0">
                    <c:v>NICOLAS IDF</c:v>
                  </c:pt>
                  <c:pt idx="1">
                    <c:v>NICOLAS PAC</c:v>
                  </c:pt>
                  <c:pt idx="2">
                    <c:v>NICOLAS EST</c:v>
                  </c:pt>
                  <c:pt idx="3">
                    <c:v>NICOLAS RHO</c:v>
                  </c:pt>
                  <c:pt idx="4">
                    <c:v>NICOLAS AQU</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75.630600000000001"/>
          <c:min val="40.969360000000002"/>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556175287534701"/>
        <c:crossBetween val="midCat"/>
      </c:valAx>
      <c:valAx>
        <c:axId val="1011451359"/>
        <c:scaling>
          <c:orientation val="minMax"/>
          <c:max val="0.84936"/>
          <c:min val="7.9360000000000014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62.20359838335885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40</c:v>
                </c:pt>
                <c:pt idx="1">
                  <c:v>Av Price/Unit 11.76</c:v>
                </c:pt>
                <c:pt idx="2">
                  <c:v>Av Price/Unit 9.08</c:v>
                </c:pt>
                <c:pt idx="3">
                  <c:v>Av Price/Unit 9.81</c:v>
                </c:pt>
                <c:pt idx="4">
                  <c:v>Av Price/Unit 9.87</c:v>
                </c:pt>
                <c:pt idx="5">
                  <c:v>Av Price/Unit 18.61</c:v>
                </c:pt>
              </c:strCache>
            </c:strRef>
          </c:cat>
          <c:val>
            <c:numRef>
              <c:f>Sheet1!$B$2:$B$7</c:f>
              <c:numCache>
                <c:formatCode>General</c:formatCode>
                <c:ptCount val="6"/>
                <c:pt idx="0">
                  <c:v>3.3581887054319215</c:v>
                </c:pt>
                <c:pt idx="1">
                  <c:v>4.9007731958762886</c:v>
                </c:pt>
                <c:pt idx="2">
                  <c:v>3.9834686460307429</c:v>
                </c:pt>
                <c:pt idx="3">
                  <c:v>4.0251807463279077</c:v>
                </c:pt>
                <c:pt idx="4">
                  <c:v>4.3265000000000002</c:v>
                </c:pt>
                <c:pt idx="5">
                  <c:v>8.108477215189871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40</c:v>
                </c:pt>
                <c:pt idx="1">
                  <c:v>Av Price/Unit 11.76</c:v>
                </c:pt>
                <c:pt idx="2">
                  <c:v>Av Price/Unit 9.08</c:v>
                </c:pt>
                <c:pt idx="3">
                  <c:v>Av Price/Unit 9.81</c:v>
                </c:pt>
                <c:pt idx="4">
                  <c:v>Av Price/Unit 9.87</c:v>
                </c:pt>
                <c:pt idx="5">
                  <c:v>Av Price/Unit 18.61</c:v>
                </c:pt>
              </c:strCache>
            </c:strRef>
          </c:cat>
          <c:val>
            <c:numRef>
              <c:f>Sheet1!$C$2:$C$7</c:f>
              <c:numCache>
                <c:formatCode>General</c:formatCode>
                <c:ptCount val="6"/>
                <c:pt idx="0">
                  <c:v>2.5806389758315387</c:v>
                </c:pt>
                <c:pt idx="1">
                  <c:v>4.5780960637300847</c:v>
                </c:pt>
                <c:pt idx="2">
                  <c:v>3.1982522004632554</c:v>
                </c:pt>
                <c:pt idx="3">
                  <c:v>3.8182222707423579</c:v>
                </c:pt>
                <c:pt idx="4">
                  <c:v>3.5724000000000005</c:v>
                </c:pt>
                <c:pt idx="5">
                  <c:v>6.873556962025316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40</c:v>
                </c:pt>
                <c:pt idx="1">
                  <c:v>Av Price/Unit 11.76</c:v>
                </c:pt>
                <c:pt idx="2">
                  <c:v>Av Price/Unit 9.08</c:v>
                </c:pt>
                <c:pt idx="3">
                  <c:v>Av Price/Unit 9.81</c:v>
                </c:pt>
                <c:pt idx="4">
                  <c:v>Av Price/Unit 9.87</c:v>
                </c:pt>
                <c:pt idx="5">
                  <c:v>Av Price/Unit 18.61</c:v>
                </c:pt>
              </c:strCache>
            </c:strRef>
          </c:cat>
          <c:val>
            <c:numRef>
              <c:f>Sheet1!$D$2:$D$7</c:f>
              <c:numCache>
                <c:formatCode>General</c:formatCode>
                <c:ptCount val="6"/>
                <c:pt idx="0">
                  <c:v>0.23019202041956</c:v>
                </c:pt>
                <c:pt idx="1">
                  <c:v>0.32392964698532012</c:v>
                </c:pt>
                <c:pt idx="2">
                  <c:v>0.38838163122060987</c:v>
                </c:pt>
                <c:pt idx="3">
                  <c:v>0.3317987825856834</c:v>
                </c:pt>
                <c:pt idx="4">
                  <c:v>0.31758548057259706</c:v>
                </c:pt>
                <c:pt idx="5">
                  <c:v>0.5242949367088609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40</c:v>
                </c:pt>
                <c:pt idx="1">
                  <c:v>Av Price/Unit 11.76</c:v>
                </c:pt>
                <c:pt idx="2">
                  <c:v>Av Price/Unit 9.08</c:v>
                </c:pt>
                <c:pt idx="3">
                  <c:v>Av Price/Unit 9.81</c:v>
                </c:pt>
                <c:pt idx="4">
                  <c:v>Av Price/Unit 9.87</c:v>
                </c:pt>
                <c:pt idx="5">
                  <c:v>Av Price/Unit 18.61</c:v>
                </c:pt>
              </c:strCache>
            </c:strRef>
          </c:cat>
          <c:val>
            <c:numRef>
              <c:f>Sheet1!$E$2:$E$7</c:f>
              <c:numCache>
                <c:formatCode>General</c:formatCode>
                <c:ptCount val="6"/>
                <c:pt idx="0">
                  <c:v>1.2338039403366021</c:v>
                </c:pt>
                <c:pt idx="1">
                  <c:v>1.9605592002499197</c:v>
                </c:pt>
                <c:pt idx="2">
                  <c:v>1.5140204955429204</c:v>
                </c:pt>
                <c:pt idx="3">
                  <c:v>1.6350403599311887</c:v>
                </c:pt>
                <c:pt idx="4">
                  <c:v>1.6432770961145184</c:v>
                </c:pt>
                <c:pt idx="5">
                  <c:v>3.1012658227848129</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43</c:v>
                </c:pt>
                <c:pt idx="1">
                  <c:v>Av Price/Unit 11.78</c:v>
                </c:pt>
                <c:pt idx="2">
                  <c:v>Av Price/Unit 9.12</c:v>
                </c:pt>
                <c:pt idx="3">
                  <c:v>Av Price/Unit 9.79</c:v>
                </c:pt>
                <c:pt idx="4">
                  <c:v>Av Price/Unit 9.89</c:v>
                </c:pt>
                <c:pt idx="5">
                  <c:v>Av Price/Unit 18.38</c:v>
                </c:pt>
              </c:strCache>
            </c:strRef>
          </c:cat>
          <c:val>
            <c:numRef>
              <c:f>Sheet1!$B$2:$B$7</c:f>
              <c:numCache>
                <c:formatCode>General</c:formatCode>
                <c:ptCount val="6"/>
                <c:pt idx="0">
                  <c:v>3.3595733821733824</c:v>
                </c:pt>
                <c:pt idx="1">
                  <c:v>4.8998508541024934</c:v>
                </c:pt>
                <c:pt idx="2">
                  <c:v>3.9871078947368424</c:v>
                </c:pt>
                <c:pt idx="3">
                  <c:v>4.0219353616532718</c:v>
                </c:pt>
                <c:pt idx="4">
                  <c:v>4.3265000000000002</c:v>
                </c:pt>
                <c:pt idx="5">
                  <c:v>8.117867474048443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43</c:v>
                </c:pt>
                <c:pt idx="1">
                  <c:v>Av Price/Unit 11.78</c:v>
                </c:pt>
                <c:pt idx="2">
                  <c:v>Av Price/Unit 9.12</c:v>
                </c:pt>
                <c:pt idx="3">
                  <c:v>Av Price/Unit 9.79</c:v>
                </c:pt>
                <c:pt idx="4">
                  <c:v>Av Price/Unit 9.89</c:v>
                </c:pt>
                <c:pt idx="5">
                  <c:v>Av Price/Unit 18.38</c:v>
                </c:pt>
              </c:strCache>
            </c:strRef>
          </c:cat>
          <c:val>
            <c:numRef>
              <c:f>Sheet1!$C$2:$C$7</c:f>
              <c:numCache>
                <c:formatCode>General</c:formatCode>
                <c:ptCount val="6"/>
                <c:pt idx="0">
                  <c:v>2.5816600244200241</c:v>
                </c:pt>
                <c:pt idx="1">
                  <c:v>4.5773457574908987</c:v>
                </c:pt>
                <c:pt idx="2">
                  <c:v>3.2012289473684206</c:v>
                </c:pt>
                <c:pt idx="3">
                  <c:v>3.8152109070034439</c:v>
                </c:pt>
                <c:pt idx="4">
                  <c:v>3.5723999999999996</c:v>
                </c:pt>
                <c:pt idx="5">
                  <c:v>6.883252595155708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43</c:v>
                </c:pt>
                <c:pt idx="1">
                  <c:v>Av Price/Unit 11.78</c:v>
                </c:pt>
                <c:pt idx="2">
                  <c:v>Av Price/Unit 9.12</c:v>
                </c:pt>
                <c:pt idx="3">
                  <c:v>Av Price/Unit 9.79</c:v>
                </c:pt>
                <c:pt idx="4">
                  <c:v>Av Price/Unit 9.89</c:v>
                </c:pt>
                <c:pt idx="5">
                  <c:v>Av Price/Unit 18.38</c:v>
                </c:pt>
              </c:strCache>
            </c:strRef>
          </c:cat>
          <c:val>
            <c:numRef>
              <c:f>Sheet1!$D$2:$D$7</c:f>
              <c:numCache>
                <c:formatCode>General</c:formatCode>
                <c:ptCount val="6"/>
                <c:pt idx="0">
                  <c:v>0.2471060317460303</c:v>
                </c:pt>
                <c:pt idx="1">
                  <c:v>0.33763696443573288</c:v>
                </c:pt>
                <c:pt idx="2">
                  <c:v>0.41323995264234181</c:v>
                </c:pt>
                <c:pt idx="3">
                  <c:v>0.31727393800229642</c:v>
                </c:pt>
                <c:pt idx="4">
                  <c:v>0.33134517506404837</c:v>
                </c:pt>
                <c:pt idx="5">
                  <c:v>0.3160656286043810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43</c:v>
                </c:pt>
                <c:pt idx="1">
                  <c:v>Av Price/Unit 11.78</c:v>
                </c:pt>
                <c:pt idx="2">
                  <c:v>Av Price/Unit 9.12</c:v>
                </c:pt>
                <c:pt idx="3">
                  <c:v>Av Price/Unit 9.79</c:v>
                </c:pt>
                <c:pt idx="4">
                  <c:v>Av Price/Unit 9.89</c:v>
                </c:pt>
                <c:pt idx="5">
                  <c:v>Av Price/Unit 18.38</c:v>
                </c:pt>
              </c:strCache>
            </c:strRef>
          </c:cat>
          <c:val>
            <c:numRef>
              <c:f>Sheet1!$E$2:$E$7</c:f>
              <c:numCache>
                <c:formatCode>General</c:formatCode>
                <c:ptCount val="6"/>
                <c:pt idx="0">
                  <c:v>1.2376678876678886</c:v>
                </c:pt>
                <c:pt idx="1">
                  <c:v>1.9629655558667041</c:v>
                </c:pt>
                <c:pt idx="2">
                  <c:v>1.5203153589495215</c:v>
                </c:pt>
                <c:pt idx="3">
                  <c:v>1.6308840413318024</c:v>
                </c:pt>
                <c:pt idx="4">
                  <c:v>1.6460290350128095</c:v>
                </c:pt>
                <c:pt idx="5">
                  <c:v>3.063437139561706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40</c:v>
                </c:pt>
                <c:pt idx="1">
                  <c:v>Av Price/Unit 11.79</c:v>
                </c:pt>
                <c:pt idx="2">
                  <c:v>Av Price/Unit 9.13</c:v>
                </c:pt>
                <c:pt idx="3">
                  <c:v>Av Price/Unit 9.89</c:v>
                </c:pt>
                <c:pt idx="4">
                  <c:v>Av Price/Unit 9.82</c:v>
                </c:pt>
                <c:pt idx="5">
                  <c:v>Av Price/Unit 18.49</c:v>
                </c:pt>
              </c:strCache>
            </c:strRef>
          </c:cat>
          <c:val>
            <c:numRef>
              <c:f>Sheet1!$B$2:$B$7</c:f>
              <c:numCache>
                <c:formatCode>General</c:formatCode>
                <c:ptCount val="6"/>
                <c:pt idx="0">
                  <c:v>3.3595064651667124</c:v>
                </c:pt>
                <c:pt idx="1">
                  <c:v>4.899590288095669</c:v>
                </c:pt>
                <c:pt idx="2">
                  <c:v>3.9934357991803271</c:v>
                </c:pt>
                <c:pt idx="3">
                  <c:v>4.3265000000000002</c:v>
                </c:pt>
                <c:pt idx="4">
                  <c:v>4.0212748663101605</c:v>
                </c:pt>
                <c:pt idx="5">
                  <c:v>8.129561682242989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40</c:v>
                </c:pt>
                <c:pt idx="1">
                  <c:v>Av Price/Unit 11.79</c:v>
                </c:pt>
                <c:pt idx="2">
                  <c:v>Av Price/Unit 9.13</c:v>
                </c:pt>
                <c:pt idx="3">
                  <c:v>Av Price/Unit 9.89</c:v>
                </c:pt>
                <c:pt idx="4">
                  <c:v>Av Price/Unit 9.82</c:v>
                </c:pt>
                <c:pt idx="5">
                  <c:v>Av Price/Unit 18.49</c:v>
                </c:pt>
              </c:strCache>
            </c:strRef>
          </c:cat>
          <c:val>
            <c:numRef>
              <c:f>Sheet1!$C$2:$C$7</c:f>
              <c:numCache>
                <c:formatCode>General</c:formatCode>
                <c:ptCount val="6"/>
                <c:pt idx="0">
                  <c:v>2.5816106804011927</c:v>
                </c:pt>
                <c:pt idx="1">
                  <c:v>4.5771337923536866</c:v>
                </c:pt>
                <c:pt idx="2">
                  <c:v>3.2064048975409838</c:v>
                </c:pt>
                <c:pt idx="3">
                  <c:v>3.5724</c:v>
                </c:pt>
                <c:pt idx="4">
                  <c:v>3.8145980392156864</c:v>
                </c:pt>
                <c:pt idx="5">
                  <c:v>6.895327102803738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40</c:v>
                </c:pt>
                <c:pt idx="1">
                  <c:v>Av Price/Unit 11.79</c:v>
                </c:pt>
                <c:pt idx="2">
                  <c:v>Av Price/Unit 9.13</c:v>
                </c:pt>
                <c:pt idx="3">
                  <c:v>Av Price/Unit 9.89</c:v>
                </c:pt>
                <c:pt idx="4">
                  <c:v>Av Price/Unit 9.82</c:v>
                </c:pt>
                <c:pt idx="5">
                  <c:v>Av Price/Unit 18.49</c:v>
                </c:pt>
              </c:strCache>
            </c:strRef>
          </c:cat>
          <c:val>
            <c:numRef>
              <c:f>Sheet1!$D$2:$D$7</c:f>
              <c:numCache>
                <c:formatCode>General</c:formatCode>
                <c:ptCount val="6"/>
                <c:pt idx="0">
                  <c:v>0.22722115749525429</c:v>
                </c:pt>
                <c:pt idx="1">
                  <c:v>0.34782804251978128</c:v>
                </c:pt>
                <c:pt idx="2">
                  <c:v>0.40859509562841634</c:v>
                </c:pt>
                <c:pt idx="3">
                  <c:v>0.33070465065974552</c:v>
                </c:pt>
                <c:pt idx="4">
                  <c:v>0.34743071895424915</c:v>
                </c:pt>
                <c:pt idx="5">
                  <c:v>0.380095638629285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40</c:v>
                </c:pt>
                <c:pt idx="1">
                  <c:v>Av Price/Unit 11.79</c:v>
                </c:pt>
                <c:pt idx="2">
                  <c:v>Av Price/Unit 9.13</c:v>
                </c:pt>
                <c:pt idx="3">
                  <c:v>Av Price/Unit 9.89</c:v>
                </c:pt>
                <c:pt idx="4">
                  <c:v>Av Price/Unit 9.82</c:v>
                </c:pt>
                <c:pt idx="5">
                  <c:v>Av Price/Unit 18.49</c:v>
                </c:pt>
              </c:strCache>
            </c:strRef>
          </c:cat>
          <c:val>
            <c:numRef>
              <c:f>Sheet1!$E$2:$E$7</c:f>
              <c:numCache>
                <c:formatCode>General</c:formatCode>
                <c:ptCount val="6"/>
                <c:pt idx="0">
                  <c:v>1.2336676606126331</c:v>
                </c:pt>
                <c:pt idx="1">
                  <c:v>1.9649091018904381</c:v>
                </c:pt>
                <c:pt idx="2">
                  <c:v>1.5216871584699443</c:v>
                </c:pt>
                <c:pt idx="3">
                  <c:v>1.6459009301319483</c:v>
                </c:pt>
                <c:pt idx="4">
                  <c:v>1.6366607248960197</c:v>
                </c:pt>
                <c:pt idx="5">
                  <c:v>3.080996884735202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1.41</c:v>
                </c:pt>
                <c:pt idx="1">
                  <c:v>Av Price/Unit 11.19</c:v>
                </c:pt>
                <c:pt idx="2">
                  <c:v>Av Price/Unit 13.47</c:v>
                </c:pt>
                <c:pt idx="3">
                  <c:v>Av Price/Unit 13.86</c:v>
                </c:pt>
                <c:pt idx="4">
                  <c:v>Av Price/Unit 9.66</c:v>
                </c:pt>
                <c:pt idx="5">
                  <c:v>Av Price/Unit 10.19</c:v>
                </c:pt>
                <c:pt idx="6">
                  <c:v>Av Price/Unit 10.59</c:v>
                </c:pt>
                <c:pt idx="7">
                  <c:v>Av Price/Unit 12.61</c:v>
                </c:pt>
                <c:pt idx="8">
                  <c:v>Av Price/Unit 10.76</c:v>
                </c:pt>
                <c:pt idx="9">
                  <c:v>Av Price/Unit 24.70</c:v>
                </c:pt>
                <c:pt idx="10">
                  <c:v>Av Price/Unit 25.40</c:v>
                </c:pt>
                <c:pt idx="11">
                  <c:v>Av Price/Unit 9.85</c:v>
                </c:pt>
              </c:strCache>
            </c:strRef>
          </c:cat>
          <c:val>
            <c:numRef>
              <c:f>Sheet1!$B$2:$B$13</c:f>
              <c:numCache>
                <c:formatCode>General</c:formatCode>
                <c:ptCount val="12"/>
                <c:pt idx="0">
                  <c:v>4.7535026697362577</c:v>
                </c:pt>
                <c:pt idx="1">
                  <c:v>4.6421045257485511</c:v>
                </c:pt>
                <c:pt idx="2">
                  <c:v>5.3892173142467605</c:v>
                </c:pt>
                <c:pt idx="3">
                  <c:v>5.6552571581196585</c:v>
                </c:pt>
                <c:pt idx="4">
                  <c:v>2.874833658661871</c:v>
                </c:pt>
                <c:pt idx="5">
                  <c:v>4.3624999999999998</c:v>
                </c:pt>
                <c:pt idx="6">
                  <c:v>3.5545703938433681</c:v>
                </c:pt>
                <c:pt idx="7">
                  <c:v>4.5267000000000008</c:v>
                </c:pt>
                <c:pt idx="8">
                  <c:v>3.1259510603588914</c:v>
                </c:pt>
                <c:pt idx="9">
                  <c:v>9.2006774834437106</c:v>
                </c:pt>
                <c:pt idx="10">
                  <c:v>9.393803343465045</c:v>
                </c:pt>
                <c:pt idx="11">
                  <c:v>2.865557431457432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1.41</c:v>
                </c:pt>
                <c:pt idx="1">
                  <c:v>Av Price/Unit 11.19</c:v>
                </c:pt>
                <c:pt idx="2">
                  <c:v>Av Price/Unit 13.47</c:v>
                </c:pt>
                <c:pt idx="3">
                  <c:v>Av Price/Unit 13.86</c:v>
                </c:pt>
                <c:pt idx="4">
                  <c:v>Av Price/Unit 9.66</c:v>
                </c:pt>
                <c:pt idx="5">
                  <c:v>Av Price/Unit 10.19</c:v>
                </c:pt>
                <c:pt idx="6">
                  <c:v>Av Price/Unit 10.59</c:v>
                </c:pt>
                <c:pt idx="7">
                  <c:v>Av Price/Unit 12.61</c:v>
                </c:pt>
                <c:pt idx="8">
                  <c:v>Av Price/Unit 10.76</c:v>
                </c:pt>
                <c:pt idx="9">
                  <c:v>Av Price/Unit 24.70</c:v>
                </c:pt>
                <c:pt idx="10">
                  <c:v>Av Price/Unit 25.40</c:v>
                </c:pt>
                <c:pt idx="11">
                  <c:v>Av Price/Unit 9.85</c:v>
                </c:pt>
              </c:strCache>
            </c:strRef>
          </c:cat>
          <c:val>
            <c:numRef>
              <c:f>Sheet1!$C$2:$C$13</c:f>
              <c:numCache>
                <c:formatCode>General</c:formatCode>
                <c:ptCount val="12"/>
                <c:pt idx="0">
                  <c:v>4.4644519972535237</c:v>
                </c:pt>
                <c:pt idx="1">
                  <c:v>4.4564037964426069</c:v>
                </c:pt>
                <c:pt idx="2">
                  <c:v>5.3271784594410354</c:v>
                </c:pt>
                <c:pt idx="3">
                  <c:v>5.3084822649572647</c:v>
                </c:pt>
                <c:pt idx="4">
                  <c:v>5.1872222935661974</c:v>
                </c:pt>
                <c:pt idx="5">
                  <c:v>4.1375000000000011</c:v>
                </c:pt>
                <c:pt idx="6">
                  <c:v>5.1954296061566314</c:v>
                </c:pt>
                <c:pt idx="7">
                  <c:v>5.89</c:v>
                </c:pt>
                <c:pt idx="8">
                  <c:v>5.7524469820554653</c:v>
                </c:pt>
                <c:pt idx="9">
                  <c:v>9.7609960264900639</c:v>
                </c:pt>
                <c:pt idx="10">
                  <c:v>10.416940729483279</c:v>
                </c:pt>
                <c:pt idx="11">
                  <c:v>5.173304473304473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1.41</c:v>
                </c:pt>
                <c:pt idx="1">
                  <c:v>Av Price/Unit 11.19</c:v>
                </c:pt>
                <c:pt idx="2">
                  <c:v>Av Price/Unit 13.47</c:v>
                </c:pt>
                <c:pt idx="3">
                  <c:v>Av Price/Unit 13.86</c:v>
                </c:pt>
                <c:pt idx="4">
                  <c:v>Av Price/Unit 9.66</c:v>
                </c:pt>
                <c:pt idx="5">
                  <c:v>Av Price/Unit 10.19</c:v>
                </c:pt>
                <c:pt idx="6">
                  <c:v>Av Price/Unit 10.59</c:v>
                </c:pt>
                <c:pt idx="7">
                  <c:v>Av Price/Unit 12.61</c:v>
                </c:pt>
                <c:pt idx="8">
                  <c:v>Av Price/Unit 10.76</c:v>
                </c:pt>
                <c:pt idx="9">
                  <c:v>Av Price/Unit 24.70</c:v>
                </c:pt>
                <c:pt idx="10">
                  <c:v>Av Price/Unit 25.40</c:v>
                </c:pt>
                <c:pt idx="11">
                  <c:v>Av Price/Unit 9.85</c:v>
                </c:pt>
              </c:strCache>
            </c:strRef>
          </c:cat>
          <c:val>
            <c:numRef>
              <c:f>Sheet1!$D$2:$D$13</c:f>
              <c:numCache>
                <c:formatCode>General</c:formatCode>
                <c:ptCount val="12"/>
                <c:pt idx="0">
                  <c:v>0.28804988354402816</c:v>
                </c:pt>
                <c:pt idx="1">
                  <c:v>0.22351913347649166</c:v>
                </c:pt>
                <c:pt idx="2">
                  <c:v>0.50560788457168471</c:v>
                </c:pt>
                <c:pt idx="3">
                  <c:v>0.58585103276353578</c:v>
                </c:pt>
                <c:pt idx="4">
                  <c:v>-1.1030739266297829E-2</c:v>
                </c:pt>
                <c:pt idx="5">
                  <c:v>-1.6120644825795338E-2</c:v>
                </c:pt>
                <c:pt idx="6">
                  <c:v>7.7146521804737134E-2</c:v>
                </c:pt>
                <c:pt idx="7">
                  <c:v>8.8865862708704668E-2</c:v>
                </c:pt>
                <c:pt idx="8">
                  <c:v>8.8431756389349303E-2</c:v>
                </c:pt>
                <c:pt idx="9">
                  <c:v>1.6251550404709292</c:v>
                </c:pt>
                <c:pt idx="10">
                  <c:v>1.3518699088145851</c:v>
                </c:pt>
                <c:pt idx="11">
                  <c:v>0.1706138047138043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1.41</c:v>
                </c:pt>
                <c:pt idx="1">
                  <c:v>Av Price/Unit 11.19</c:v>
                </c:pt>
                <c:pt idx="2">
                  <c:v>Av Price/Unit 13.47</c:v>
                </c:pt>
                <c:pt idx="3">
                  <c:v>Av Price/Unit 13.86</c:v>
                </c:pt>
                <c:pt idx="4">
                  <c:v>Av Price/Unit 9.66</c:v>
                </c:pt>
                <c:pt idx="5">
                  <c:v>Av Price/Unit 10.19</c:v>
                </c:pt>
                <c:pt idx="6">
                  <c:v>Av Price/Unit 10.59</c:v>
                </c:pt>
                <c:pt idx="7">
                  <c:v>Av Price/Unit 12.61</c:v>
                </c:pt>
                <c:pt idx="8">
                  <c:v>Av Price/Unit 10.76</c:v>
                </c:pt>
                <c:pt idx="9">
                  <c:v>Av Price/Unit 24.70</c:v>
                </c:pt>
                <c:pt idx="10">
                  <c:v>Av Price/Unit 25.40</c:v>
                </c:pt>
                <c:pt idx="11">
                  <c:v>Av Price/Unit 9.85</c:v>
                </c:pt>
              </c:strCache>
            </c:strRef>
          </c:cat>
          <c:val>
            <c:numRef>
              <c:f>Sheet1!$E$2:$E$13</c:f>
              <c:numCache>
                <c:formatCode>General</c:formatCode>
                <c:ptCount val="12"/>
                <c:pt idx="0">
                  <c:v>1.9012009101067664</c:v>
                </c:pt>
                <c:pt idx="1">
                  <c:v>1.864396364274814</c:v>
                </c:pt>
                <c:pt idx="2">
                  <c:v>2.2443904794364911</c:v>
                </c:pt>
                <c:pt idx="3">
                  <c:v>2.3099180911680874</c:v>
                </c:pt>
                <c:pt idx="4">
                  <c:v>1.6102050425923526</c:v>
                </c:pt>
                <c:pt idx="5">
                  <c:v>1.6967758710348428</c:v>
                </c:pt>
                <c:pt idx="6">
                  <c:v>1.7654293043609488</c:v>
                </c:pt>
                <c:pt idx="7">
                  <c:v>2.1011131725417487</c:v>
                </c:pt>
                <c:pt idx="8">
                  <c:v>1.793365959760739</c:v>
                </c:pt>
                <c:pt idx="9">
                  <c:v>4.1173657100809402</c:v>
                </c:pt>
                <c:pt idx="10">
                  <c:v>4.2325227963525807</c:v>
                </c:pt>
                <c:pt idx="11">
                  <c:v>1.641895141895144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1.15</c:v>
                </c:pt>
                <c:pt idx="1">
                  <c:v>Av Price/Unit 11.37</c:v>
                </c:pt>
                <c:pt idx="2">
                  <c:v>Av Price/Unit 13.25</c:v>
                </c:pt>
                <c:pt idx="3">
                  <c:v>Av Price/Unit 13.80</c:v>
                </c:pt>
                <c:pt idx="4">
                  <c:v>Av Price/Unit 9.65</c:v>
                </c:pt>
                <c:pt idx="5">
                  <c:v>Av Price/Unit 12.55</c:v>
                </c:pt>
                <c:pt idx="6">
                  <c:v>Av Price/Unit 10.16</c:v>
                </c:pt>
                <c:pt idx="7">
                  <c:v>Av Price/Unit 10.57</c:v>
                </c:pt>
                <c:pt idx="8">
                  <c:v>Av Price/Unit 25.13</c:v>
                </c:pt>
                <c:pt idx="9">
                  <c:v>Av Price/Unit 10.71</c:v>
                </c:pt>
                <c:pt idx="10">
                  <c:v>Av Price/Unit 10.21</c:v>
                </c:pt>
                <c:pt idx="11">
                  <c:v>Av Price/Unit 24.81</c:v>
                </c:pt>
              </c:strCache>
            </c:strRef>
          </c:cat>
          <c:val>
            <c:numRef>
              <c:f>Sheet1!$B$2:$B$13</c:f>
              <c:numCache>
                <c:formatCode>General</c:formatCode>
                <c:ptCount val="12"/>
                <c:pt idx="0">
                  <c:v>4.6329318400000004</c:v>
                </c:pt>
                <c:pt idx="1">
                  <c:v>4.7478915628192029</c:v>
                </c:pt>
                <c:pt idx="2">
                  <c:v>5.3422217821782176</c:v>
                </c:pt>
                <c:pt idx="3">
                  <c:v>5.6512118404907987</c:v>
                </c:pt>
                <c:pt idx="4">
                  <c:v>2.8755070422535214</c:v>
                </c:pt>
                <c:pt idx="5">
                  <c:v>4.5266999999999999</c:v>
                </c:pt>
                <c:pt idx="6">
                  <c:v>4.3624999999999989</c:v>
                </c:pt>
                <c:pt idx="7">
                  <c:v>3.5545008237232296</c:v>
                </c:pt>
                <c:pt idx="8">
                  <c:v>9.4164060240963856</c:v>
                </c:pt>
                <c:pt idx="9">
                  <c:v>3.1299971428571425</c:v>
                </c:pt>
                <c:pt idx="10">
                  <c:v>4.3499999999999996</c:v>
                </c:pt>
                <c:pt idx="11">
                  <c:v>9.199214285714285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1.15</c:v>
                </c:pt>
                <c:pt idx="1">
                  <c:v>Av Price/Unit 11.37</c:v>
                </c:pt>
                <c:pt idx="2">
                  <c:v>Av Price/Unit 13.25</c:v>
                </c:pt>
                <c:pt idx="3">
                  <c:v>Av Price/Unit 13.80</c:v>
                </c:pt>
                <c:pt idx="4">
                  <c:v>Av Price/Unit 9.65</c:v>
                </c:pt>
                <c:pt idx="5">
                  <c:v>Av Price/Unit 12.55</c:v>
                </c:pt>
                <c:pt idx="6">
                  <c:v>Av Price/Unit 10.16</c:v>
                </c:pt>
                <c:pt idx="7">
                  <c:v>Av Price/Unit 10.57</c:v>
                </c:pt>
                <c:pt idx="8">
                  <c:v>Av Price/Unit 25.13</c:v>
                </c:pt>
                <c:pt idx="9">
                  <c:v>Av Price/Unit 10.71</c:v>
                </c:pt>
                <c:pt idx="10">
                  <c:v>Av Price/Unit 10.21</c:v>
                </c:pt>
                <c:pt idx="11">
                  <c:v>Av Price/Unit 24.81</c:v>
                </c:pt>
              </c:strCache>
            </c:strRef>
          </c:cat>
          <c:val>
            <c:numRef>
              <c:f>Sheet1!$C$2:$C$13</c:f>
              <c:numCache>
                <c:formatCode>General</c:formatCode>
                <c:ptCount val="12"/>
                <c:pt idx="0">
                  <c:v>4.4555395200000003</c:v>
                </c:pt>
                <c:pt idx="1">
                  <c:v>4.4588608784473953</c:v>
                </c:pt>
                <c:pt idx="2">
                  <c:v>5.307330693069308</c:v>
                </c:pt>
                <c:pt idx="3">
                  <c:v>5.3204770552147238</c:v>
                </c:pt>
                <c:pt idx="4">
                  <c:v>5.1882326215356649</c:v>
                </c:pt>
                <c:pt idx="5">
                  <c:v>5.89</c:v>
                </c:pt>
                <c:pt idx="6">
                  <c:v>4.1375000000000011</c:v>
                </c:pt>
                <c:pt idx="7">
                  <c:v>5.1954991762767708</c:v>
                </c:pt>
                <c:pt idx="8">
                  <c:v>10.4480421686747</c:v>
                </c:pt>
                <c:pt idx="9">
                  <c:v>5.7628571428571425</c:v>
                </c:pt>
                <c:pt idx="10">
                  <c:v>4.1500000000000004</c:v>
                </c:pt>
                <c:pt idx="11">
                  <c:v>9.773422222222221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1.15</c:v>
                </c:pt>
                <c:pt idx="1">
                  <c:v>Av Price/Unit 11.37</c:v>
                </c:pt>
                <c:pt idx="2">
                  <c:v>Av Price/Unit 13.25</c:v>
                </c:pt>
                <c:pt idx="3">
                  <c:v>Av Price/Unit 13.80</c:v>
                </c:pt>
                <c:pt idx="4">
                  <c:v>Av Price/Unit 9.65</c:v>
                </c:pt>
                <c:pt idx="5">
                  <c:v>Av Price/Unit 12.55</c:v>
                </c:pt>
                <c:pt idx="6">
                  <c:v>Av Price/Unit 10.16</c:v>
                </c:pt>
                <c:pt idx="7">
                  <c:v>Av Price/Unit 10.57</c:v>
                </c:pt>
                <c:pt idx="8">
                  <c:v>Av Price/Unit 25.13</c:v>
                </c:pt>
                <c:pt idx="9">
                  <c:v>Av Price/Unit 10.71</c:v>
                </c:pt>
                <c:pt idx="10">
                  <c:v>Av Price/Unit 10.21</c:v>
                </c:pt>
                <c:pt idx="11">
                  <c:v>Av Price/Unit 24.81</c:v>
                </c:pt>
              </c:strCache>
            </c:strRef>
          </c:cat>
          <c:val>
            <c:numRef>
              <c:f>Sheet1!$D$2:$D$13</c:f>
              <c:numCache>
                <c:formatCode>General</c:formatCode>
                <c:ptCount val="12"/>
                <c:pt idx="0">
                  <c:v>0.20290445333333373</c:v>
                </c:pt>
                <c:pt idx="1">
                  <c:v>0.27196734082397178</c:v>
                </c:pt>
                <c:pt idx="2">
                  <c:v>0.38813254754047044</c:v>
                </c:pt>
                <c:pt idx="3">
                  <c:v>0.5252436196319028</c:v>
                </c:pt>
                <c:pt idx="4">
                  <c:v>-1.9668786915037373E-2</c:v>
                </c:pt>
                <c:pt idx="5">
                  <c:v>4.1966666666667152E-2</c:v>
                </c:pt>
                <c:pt idx="6">
                  <c:v>-3.3485540334854846E-2</c:v>
                </c:pt>
                <c:pt idx="7">
                  <c:v>5.422844590884246E-2</c:v>
                </c:pt>
                <c:pt idx="8">
                  <c:v>1.0793269076305201</c:v>
                </c:pt>
                <c:pt idx="9">
                  <c:v>3.5717142857144779E-2</c:v>
                </c:pt>
                <c:pt idx="10">
                  <c:v>4.7281323877079728E-3</c:v>
                </c:pt>
                <c:pt idx="11">
                  <c:v>1.701966666666663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1.15</c:v>
                </c:pt>
                <c:pt idx="1">
                  <c:v>Av Price/Unit 11.37</c:v>
                </c:pt>
                <c:pt idx="2">
                  <c:v>Av Price/Unit 13.25</c:v>
                </c:pt>
                <c:pt idx="3">
                  <c:v>Av Price/Unit 13.80</c:v>
                </c:pt>
                <c:pt idx="4">
                  <c:v>Av Price/Unit 9.65</c:v>
                </c:pt>
                <c:pt idx="5">
                  <c:v>Av Price/Unit 12.55</c:v>
                </c:pt>
                <c:pt idx="6">
                  <c:v>Av Price/Unit 10.16</c:v>
                </c:pt>
                <c:pt idx="7">
                  <c:v>Av Price/Unit 10.57</c:v>
                </c:pt>
                <c:pt idx="8">
                  <c:v>Av Price/Unit 25.13</c:v>
                </c:pt>
                <c:pt idx="9">
                  <c:v>Av Price/Unit 10.71</c:v>
                </c:pt>
                <c:pt idx="10">
                  <c:v>Av Price/Unit 10.21</c:v>
                </c:pt>
                <c:pt idx="11">
                  <c:v>Av Price/Unit 24.81</c:v>
                </c:pt>
              </c:strCache>
            </c:strRef>
          </c:cat>
          <c:val>
            <c:numRef>
              <c:f>Sheet1!$E$2:$E$13</c:f>
              <c:numCache>
                <c:formatCode>General</c:formatCode>
                <c:ptCount val="12"/>
                <c:pt idx="0">
                  <c:v>1.8582666666666656</c:v>
                </c:pt>
                <c:pt idx="1">
                  <c:v>1.8957439564181133</c:v>
                </c:pt>
                <c:pt idx="2">
                  <c:v>2.2075278956467064</c:v>
                </c:pt>
                <c:pt idx="3">
                  <c:v>2.2993865030674847</c:v>
                </c:pt>
                <c:pt idx="4">
                  <c:v>1.6088141753748295</c:v>
                </c:pt>
                <c:pt idx="5">
                  <c:v>2.091733333333333</c:v>
                </c:pt>
                <c:pt idx="6">
                  <c:v>1.6933028919330289</c:v>
                </c:pt>
                <c:pt idx="7">
                  <c:v>1.7608456891817679</c:v>
                </c:pt>
                <c:pt idx="8">
                  <c:v>4.1887550200803219</c:v>
                </c:pt>
                <c:pt idx="9">
                  <c:v>1.7857142857142858</c:v>
                </c:pt>
                <c:pt idx="10">
                  <c:v>1.7009456264775409</c:v>
                </c:pt>
                <c:pt idx="11">
                  <c:v>4.134920634920635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1.32</c:v>
                </c:pt>
                <c:pt idx="1">
                  <c:v>Av Price/Unit 11.54</c:v>
                </c:pt>
                <c:pt idx="2">
                  <c:v>Av Price/Unit 13.96</c:v>
                </c:pt>
                <c:pt idx="3">
                  <c:v>Av Price/Unit 13.39</c:v>
                </c:pt>
                <c:pt idx="4">
                  <c:v>Av Price/Unit 10.35</c:v>
                </c:pt>
              </c:strCache>
            </c:strRef>
          </c:cat>
          <c:val>
            <c:numRef>
              <c:f>Sheet1!$B$2:$B$6</c:f>
              <c:numCache>
                <c:formatCode>General</c:formatCode>
                <c:ptCount val="5"/>
                <c:pt idx="0">
                  <c:v>4.6641778179626288</c:v>
                </c:pt>
                <c:pt idx="1">
                  <c:v>4.7817718816067654</c:v>
                </c:pt>
                <c:pt idx="2">
                  <c:v>5.6691740492170029</c:v>
                </c:pt>
                <c:pt idx="3">
                  <c:v>5.3828024038461546</c:v>
                </c:pt>
                <c:pt idx="4">
                  <c:v>4.362499999999999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1.32</c:v>
                </c:pt>
                <c:pt idx="1">
                  <c:v>Av Price/Unit 11.54</c:v>
                </c:pt>
                <c:pt idx="2">
                  <c:v>Av Price/Unit 13.96</c:v>
                </c:pt>
                <c:pt idx="3">
                  <c:v>Av Price/Unit 13.39</c:v>
                </c:pt>
                <c:pt idx="4">
                  <c:v>Av Price/Unit 10.35</c:v>
                </c:pt>
              </c:strCache>
            </c:strRef>
          </c:cat>
          <c:val>
            <c:numRef>
              <c:f>Sheet1!$C$2:$C$6</c:f>
              <c:numCache>
                <c:formatCode>General</c:formatCode>
                <c:ptCount val="5"/>
                <c:pt idx="0">
                  <c:v>4.4584836045810734</c:v>
                </c:pt>
                <c:pt idx="1">
                  <c:v>4.4926205073995771</c:v>
                </c:pt>
                <c:pt idx="2">
                  <c:v>5.267217225950783</c:v>
                </c:pt>
                <c:pt idx="3">
                  <c:v>5.324469230769231</c:v>
                </c:pt>
                <c:pt idx="4">
                  <c:v>4.137500000000000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1.32</c:v>
                </c:pt>
                <c:pt idx="1">
                  <c:v>Av Price/Unit 11.54</c:v>
                </c:pt>
                <c:pt idx="2">
                  <c:v>Av Price/Unit 13.96</c:v>
                </c:pt>
                <c:pt idx="3">
                  <c:v>Av Price/Unit 13.39</c:v>
                </c:pt>
                <c:pt idx="4">
                  <c:v>Av Price/Unit 10.35</c:v>
                </c:pt>
              </c:strCache>
            </c:strRef>
          </c:cat>
          <c:val>
            <c:numRef>
              <c:f>Sheet1!$D$2:$D$6</c:f>
              <c:numCache>
                <c:formatCode>General</c:formatCode>
                <c:ptCount val="5"/>
                <c:pt idx="0">
                  <c:v>0.31028310227044642</c:v>
                </c:pt>
                <c:pt idx="1">
                  <c:v>0.34270885600188095</c:v>
                </c:pt>
                <c:pt idx="2">
                  <c:v>0.69298978374347797</c:v>
                </c:pt>
                <c:pt idx="3">
                  <c:v>0.45263461538461947</c:v>
                </c:pt>
                <c:pt idx="4">
                  <c:v>6.6017316017315864E-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1.32</c:v>
                </c:pt>
                <c:pt idx="1">
                  <c:v>Av Price/Unit 11.54</c:v>
                </c:pt>
                <c:pt idx="2">
                  <c:v>Av Price/Unit 13.96</c:v>
                </c:pt>
                <c:pt idx="3">
                  <c:v>Av Price/Unit 13.39</c:v>
                </c:pt>
                <c:pt idx="4">
                  <c:v>Av Price/Unit 10.35</c:v>
                </c:pt>
              </c:strCache>
            </c:strRef>
          </c:cat>
          <c:val>
            <c:numRef>
              <c:f>Sheet1!$E$2:$E$6</c:f>
              <c:numCache>
                <c:formatCode>General</c:formatCode>
                <c:ptCount val="5"/>
                <c:pt idx="0">
                  <c:v>1.8865782599959808</c:v>
                </c:pt>
                <c:pt idx="1">
                  <c:v>1.9234202490016434</c:v>
                </c:pt>
                <c:pt idx="2">
                  <c:v>2.3258762117822509</c:v>
                </c:pt>
                <c:pt idx="3">
                  <c:v>2.2319711538461515</c:v>
                </c:pt>
                <c:pt idx="4">
                  <c:v>1.713203463203462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1.37</c:v>
                </c:pt>
                <c:pt idx="1">
                  <c:v>Av Price/Unit 11.26</c:v>
                </c:pt>
                <c:pt idx="2">
                  <c:v>Av Price/Unit 13.42</c:v>
                </c:pt>
                <c:pt idx="3">
                  <c:v>Av Price/Unit 13.90</c:v>
                </c:pt>
                <c:pt idx="4">
                  <c:v>Av Price/Unit 10.20</c:v>
                </c:pt>
              </c:strCache>
            </c:strRef>
          </c:cat>
          <c:val>
            <c:numRef>
              <c:f>Sheet1!$B$2:$B$6</c:f>
              <c:numCache>
                <c:formatCode>General</c:formatCode>
                <c:ptCount val="5"/>
                <c:pt idx="0">
                  <c:v>4.7536651849084794</c:v>
                </c:pt>
                <c:pt idx="1">
                  <c:v>4.6453867308721248</c:v>
                </c:pt>
                <c:pt idx="2">
                  <c:v>5.3975340909090912</c:v>
                </c:pt>
                <c:pt idx="3">
                  <c:v>5.6488645333333345</c:v>
                </c:pt>
                <c:pt idx="4">
                  <c:v>4.362499999999999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1.37</c:v>
                </c:pt>
                <c:pt idx="1">
                  <c:v>Av Price/Unit 11.26</c:v>
                </c:pt>
                <c:pt idx="2">
                  <c:v>Av Price/Unit 13.42</c:v>
                </c:pt>
                <c:pt idx="3">
                  <c:v>Av Price/Unit 13.90</c:v>
                </c:pt>
                <c:pt idx="4">
                  <c:v>Av Price/Unit 10.20</c:v>
                </c:pt>
              </c:strCache>
            </c:strRef>
          </c:cat>
          <c:val>
            <c:numRef>
              <c:f>Sheet1!$C$2:$C$6</c:f>
              <c:numCache>
                <c:formatCode>General</c:formatCode>
                <c:ptCount val="5"/>
                <c:pt idx="0">
                  <c:v>4.4646139335076578</c:v>
                </c:pt>
                <c:pt idx="1">
                  <c:v>4.4567130551096845</c:v>
                </c:pt>
                <c:pt idx="2">
                  <c:v>5.3306909090909098</c:v>
                </c:pt>
                <c:pt idx="3">
                  <c:v>5.3274370666666675</c:v>
                </c:pt>
                <c:pt idx="4">
                  <c:v>4.137500000000000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1.37</c:v>
                </c:pt>
                <c:pt idx="1">
                  <c:v>Av Price/Unit 11.26</c:v>
                </c:pt>
                <c:pt idx="2">
                  <c:v>Av Price/Unit 13.42</c:v>
                </c:pt>
                <c:pt idx="3">
                  <c:v>Av Price/Unit 13.90</c:v>
                </c:pt>
                <c:pt idx="4">
                  <c:v>Av Price/Unit 10.20</c:v>
                </c:pt>
              </c:strCache>
            </c:strRef>
          </c:cat>
          <c:val>
            <c:numRef>
              <c:f>Sheet1!$D$2:$D$6</c:f>
              <c:numCache>
                <c:formatCode>General</c:formatCode>
                <c:ptCount val="5"/>
                <c:pt idx="0">
                  <c:v>0.25345541028514873</c:v>
                </c:pt>
                <c:pt idx="1">
                  <c:v>0.28086119136793464</c:v>
                </c:pt>
                <c:pt idx="2">
                  <c:v>0.45494753787878928</c:v>
                </c:pt>
                <c:pt idx="3">
                  <c:v>0.60888358518518793</c:v>
                </c:pt>
                <c:pt idx="4">
                  <c:v>-3.1446540880503804E-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1.37</c:v>
                </c:pt>
                <c:pt idx="1">
                  <c:v>Av Price/Unit 11.26</c:v>
                </c:pt>
                <c:pt idx="2">
                  <c:v>Av Price/Unit 13.42</c:v>
                </c:pt>
                <c:pt idx="3">
                  <c:v>Av Price/Unit 13.90</c:v>
                </c:pt>
                <c:pt idx="4">
                  <c:v>Av Price/Unit 10.20</c:v>
                </c:pt>
              </c:strCache>
            </c:strRef>
          </c:cat>
          <c:val>
            <c:numRef>
              <c:f>Sheet1!$E$2:$E$6</c:f>
              <c:numCache>
                <c:formatCode>General</c:formatCode>
                <c:ptCount val="5"/>
                <c:pt idx="0">
                  <c:v>1.8943469057402542</c:v>
                </c:pt>
                <c:pt idx="1">
                  <c:v>1.8765828428749751</c:v>
                </c:pt>
                <c:pt idx="2">
                  <c:v>2.2366240530303028</c:v>
                </c:pt>
                <c:pt idx="3">
                  <c:v>2.3170370370370348</c:v>
                </c:pt>
                <c:pt idx="4">
                  <c:v>1.6937106918239</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1.40</c:v>
                </c:pt>
                <c:pt idx="1">
                  <c:v>Av Price/Unit 11.20</c:v>
                </c:pt>
                <c:pt idx="2">
                  <c:v>Av Price/Unit 13.53</c:v>
                </c:pt>
                <c:pt idx="3">
                  <c:v>Av Price/Unit 13.81</c:v>
                </c:pt>
                <c:pt idx="4">
                  <c:v>Av Price/Unit 9.63</c:v>
                </c:pt>
                <c:pt idx="5">
                  <c:v>Av Price/Unit 10.13</c:v>
                </c:pt>
                <c:pt idx="6">
                  <c:v>Av Price/Unit 10.67</c:v>
                </c:pt>
                <c:pt idx="7">
                  <c:v>Av Price/Unit 10.59</c:v>
                </c:pt>
                <c:pt idx="8">
                  <c:v>Av Price/Unit 10.45</c:v>
                </c:pt>
                <c:pt idx="9">
                  <c:v>Av Price/Unit 24.18</c:v>
                </c:pt>
                <c:pt idx="10">
                  <c:v>Av Price/Unit 24.89</c:v>
                </c:pt>
                <c:pt idx="11">
                  <c:v>Av Price/Unit 9.71</c:v>
                </c:pt>
              </c:strCache>
            </c:strRef>
          </c:cat>
          <c:val>
            <c:numRef>
              <c:f>Sheet1!$B$2:$B$13</c:f>
              <c:numCache>
                <c:formatCode>General</c:formatCode>
                <c:ptCount val="12"/>
                <c:pt idx="0">
                  <c:v>4.7570874003309775</c:v>
                </c:pt>
                <c:pt idx="1">
                  <c:v>4.6485549141832463</c:v>
                </c:pt>
                <c:pt idx="2">
                  <c:v>5.4113504695546819</c:v>
                </c:pt>
                <c:pt idx="3">
                  <c:v>5.6572593785524825</c:v>
                </c:pt>
                <c:pt idx="4">
                  <c:v>2.8762372968580716</c:v>
                </c:pt>
                <c:pt idx="5">
                  <c:v>4.3624999999999989</c:v>
                </c:pt>
                <c:pt idx="6">
                  <c:v>3.1256136842105264</c:v>
                </c:pt>
                <c:pt idx="7">
                  <c:v>3.5545856031128404</c:v>
                </c:pt>
                <c:pt idx="8">
                  <c:v>3.0667</c:v>
                </c:pt>
                <c:pt idx="9">
                  <c:v>9.2020038277511951</c:v>
                </c:pt>
                <c:pt idx="10">
                  <c:v>9.3887079096045198</c:v>
                </c:pt>
                <c:pt idx="11">
                  <c:v>2.868322811671087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1.40</c:v>
                </c:pt>
                <c:pt idx="1">
                  <c:v>Av Price/Unit 11.20</c:v>
                </c:pt>
                <c:pt idx="2">
                  <c:v>Av Price/Unit 13.53</c:v>
                </c:pt>
                <c:pt idx="3">
                  <c:v>Av Price/Unit 13.81</c:v>
                </c:pt>
                <c:pt idx="4">
                  <c:v>Av Price/Unit 9.63</c:v>
                </c:pt>
                <c:pt idx="5">
                  <c:v>Av Price/Unit 10.13</c:v>
                </c:pt>
                <c:pt idx="6">
                  <c:v>Av Price/Unit 10.67</c:v>
                </c:pt>
                <c:pt idx="7">
                  <c:v>Av Price/Unit 10.59</c:v>
                </c:pt>
                <c:pt idx="8">
                  <c:v>Av Price/Unit 10.45</c:v>
                </c:pt>
                <c:pt idx="9">
                  <c:v>Av Price/Unit 24.18</c:v>
                </c:pt>
                <c:pt idx="10">
                  <c:v>Av Price/Unit 24.89</c:v>
                </c:pt>
                <c:pt idx="11">
                  <c:v>Av Price/Unit 9.71</c:v>
                </c:pt>
              </c:strCache>
            </c:strRef>
          </c:cat>
          <c:val>
            <c:numRef>
              <c:f>Sheet1!$C$2:$C$13</c:f>
              <c:numCache>
                <c:formatCode>General</c:formatCode>
                <c:ptCount val="12"/>
                <c:pt idx="0">
                  <c:v>4.4680239581766212</c:v>
                </c:pt>
                <c:pt idx="1">
                  <c:v>4.457011570318504</c:v>
                </c:pt>
                <c:pt idx="2">
                  <c:v>5.3365260224174493</c:v>
                </c:pt>
                <c:pt idx="3">
                  <c:v>5.3025454717696094</c:v>
                </c:pt>
                <c:pt idx="4">
                  <c:v>5.189328277356446</c:v>
                </c:pt>
                <c:pt idx="5">
                  <c:v>4.1375000000000011</c:v>
                </c:pt>
                <c:pt idx="6">
                  <c:v>5.7515789473684205</c:v>
                </c:pt>
                <c:pt idx="7">
                  <c:v>5.1954143968871591</c:v>
                </c:pt>
                <c:pt idx="8">
                  <c:v>5.6</c:v>
                </c:pt>
                <c:pt idx="9">
                  <c:v>9.7497320574162671</c:v>
                </c:pt>
                <c:pt idx="10">
                  <c:v>10.409929378531073</c:v>
                </c:pt>
                <c:pt idx="11">
                  <c:v>5.177453580901856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1.40</c:v>
                </c:pt>
                <c:pt idx="1">
                  <c:v>Av Price/Unit 11.20</c:v>
                </c:pt>
                <c:pt idx="2">
                  <c:v>Av Price/Unit 13.53</c:v>
                </c:pt>
                <c:pt idx="3">
                  <c:v>Av Price/Unit 13.81</c:v>
                </c:pt>
                <c:pt idx="4">
                  <c:v>Av Price/Unit 9.63</c:v>
                </c:pt>
                <c:pt idx="5">
                  <c:v>Av Price/Unit 10.13</c:v>
                </c:pt>
                <c:pt idx="6">
                  <c:v>Av Price/Unit 10.67</c:v>
                </c:pt>
                <c:pt idx="7">
                  <c:v>Av Price/Unit 10.59</c:v>
                </c:pt>
                <c:pt idx="8">
                  <c:v>Av Price/Unit 10.45</c:v>
                </c:pt>
                <c:pt idx="9">
                  <c:v>Av Price/Unit 24.18</c:v>
                </c:pt>
                <c:pt idx="10">
                  <c:v>Av Price/Unit 24.89</c:v>
                </c:pt>
                <c:pt idx="11">
                  <c:v>Av Price/Unit 9.71</c:v>
                </c:pt>
              </c:strCache>
            </c:strRef>
          </c:cat>
          <c:val>
            <c:numRef>
              <c:f>Sheet1!$D$2:$D$13</c:f>
              <c:numCache>
                <c:formatCode>General</c:formatCode>
                <c:ptCount val="12"/>
                <c:pt idx="0">
                  <c:v>0.27340927736823772</c:v>
                </c:pt>
                <c:pt idx="1">
                  <c:v>0.22488298465829892</c:v>
                </c:pt>
                <c:pt idx="2">
                  <c:v>0.52742233666565852</c:v>
                </c:pt>
                <c:pt idx="3">
                  <c:v>0.54550018946570766</c:v>
                </c:pt>
                <c:pt idx="4">
                  <c:v>-3.6945133622246829E-2</c:v>
                </c:pt>
                <c:pt idx="5">
                  <c:v>-5.60775102759834E-2</c:v>
                </c:pt>
                <c:pt idx="6">
                  <c:v>1.4035438596494032E-2</c:v>
                </c:pt>
                <c:pt idx="7">
                  <c:v>7.4578469520103496E-2</c:v>
                </c:pt>
                <c:pt idx="8">
                  <c:v>2.4539316239316378E-2</c:v>
                </c:pt>
                <c:pt idx="9">
                  <c:v>1.1997792663476865</c:v>
                </c:pt>
                <c:pt idx="10">
                  <c:v>0.94053408662900395</c:v>
                </c:pt>
                <c:pt idx="11">
                  <c:v>4.2198850574711955E-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1.40</c:v>
                </c:pt>
                <c:pt idx="1">
                  <c:v>Av Price/Unit 11.20</c:v>
                </c:pt>
                <c:pt idx="2">
                  <c:v>Av Price/Unit 13.53</c:v>
                </c:pt>
                <c:pt idx="3">
                  <c:v>Av Price/Unit 13.81</c:v>
                </c:pt>
                <c:pt idx="4">
                  <c:v>Av Price/Unit 9.63</c:v>
                </c:pt>
                <c:pt idx="5">
                  <c:v>Av Price/Unit 10.13</c:v>
                </c:pt>
                <c:pt idx="6">
                  <c:v>Av Price/Unit 10.67</c:v>
                </c:pt>
                <c:pt idx="7">
                  <c:v>Av Price/Unit 10.59</c:v>
                </c:pt>
                <c:pt idx="8">
                  <c:v>Av Price/Unit 10.45</c:v>
                </c:pt>
                <c:pt idx="9">
                  <c:v>Av Price/Unit 24.18</c:v>
                </c:pt>
                <c:pt idx="10">
                  <c:v>Av Price/Unit 24.89</c:v>
                </c:pt>
                <c:pt idx="11">
                  <c:v>Av Price/Unit 9.71</c:v>
                </c:pt>
              </c:strCache>
            </c:strRef>
          </c:cat>
          <c:val>
            <c:numRef>
              <c:f>Sheet1!$E$2:$E$13</c:f>
              <c:numCache>
                <c:formatCode>General</c:formatCode>
                <c:ptCount val="12"/>
                <c:pt idx="0">
                  <c:v>1.899704127175166</c:v>
                </c:pt>
                <c:pt idx="1">
                  <c:v>1.8660803233427254</c:v>
                </c:pt>
                <c:pt idx="2">
                  <c:v>2.2550489750580627</c:v>
                </c:pt>
                <c:pt idx="3">
                  <c:v>2.3010610079575597</c:v>
                </c:pt>
                <c:pt idx="4">
                  <c:v>1.6057240881184549</c:v>
                </c:pt>
                <c:pt idx="5">
                  <c:v>1.6887844979448032</c:v>
                </c:pt>
                <c:pt idx="6">
                  <c:v>1.7782456140350864</c:v>
                </c:pt>
                <c:pt idx="7">
                  <c:v>1.7649156939040214</c:v>
                </c:pt>
                <c:pt idx="8">
                  <c:v>1.7382478632478633</c:v>
                </c:pt>
                <c:pt idx="9">
                  <c:v>4.0303030303030285</c:v>
                </c:pt>
                <c:pt idx="10">
                  <c:v>4.147834274952916</c:v>
                </c:pt>
                <c:pt idx="11">
                  <c:v>1.6175950486295319</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11.15</c:v>
                </c:pt>
                <c:pt idx="1">
                  <c:v>Av Price/Unit 11.57</c:v>
                </c:pt>
                <c:pt idx="2">
                  <c:v>Av Price/Unit 13.45</c:v>
                </c:pt>
                <c:pt idx="3">
                  <c:v>Av Price/Unit 9.73</c:v>
                </c:pt>
                <c:pt idx="4">
                  <c:v>Av Price/Unit 14.10</c:v>
                </c:pt>
                <c:pt idx="5">
                  <c:v>Av Price/Unit 12.78</c:v>
                </c:pt>
              </c:strCache>
            </c:strRef>
          </c:cat>
          <c:val>
            <c:numRef>
              <c:f>Sheet1!$B$2:$B$7</c:f>
              <c:numCache>
                <c:formatCode>General</c:formatCode>
                <c:ptCount val="6"/>
                <c:pt idx="0">
                  <c:v>4.6194262243285946</c:v>
                </c:pt>
                <c:pt idx="1">
                  <c:v>4.7427183844011145</c:v>
                </c:pt>
                <c:pt idx="2">
                  <c:v>5.2699393162393173</c:v>
                </c:pt>
                <c:pt idx="3">
                  <c:v>2.8753873893805313</c:v>
                </c:pt>
                <c:pt idx="4">
                  <c:v>5.6502967741935484</c:v>
                </c:pt>
                <c:pt idx="5">
                  <c:v>4.526700000000000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11.15</c:v>
                </c:pt>
                <c:pt idx="1">
                  <c:v>Av Price/Unit 11.57</c:v>
                </c:pt>
                <c:pt idx="2">
                  <c:v>Av Price/Unit 13.45</c:v>
                </c:pt>
                <c:pt idx="3">
                  <c:v>Av Price/Unit 9.73</c:v>
                </c:pt>
                <c:pt idx="4">
                  <c:v>Av Price/Unit 14.10</c:v>
                </c:pt>
                <c:pt idx="5">
                  <c:v>Av Price/Unit 12.78</c:v>
                </c:pt>
              </c:strCache>
            </c:strRef>
          </c:cat>
          <c:val>
            <c:numRef>
              <c:f>Sheet1!$C$2:$C$7</c:f>
              <c:numCache>
                <c:formatCode>General</c:formatCode>
                <c:ptCount val="6"/>
                <c:pt idx="0">
                  <c:v>4.4542669826224328</c:v>
                </c:pt>
                <c:pt idx="1">
                  <c:v>4.4537061281337049</c:v>
                </c:pt>
                <c:pt idx="2">
                  <c:v>5.2768034188034196</c:v>
                </c:pt>
                <c:pt idx="3">
                  <c:v>5.1880530973451329</c:v>
                </c:pt>
                <c:pt idx="4">
                  <c:v>5.3231903225806452</c:v>
                </c:pt>
                <c:pt idx="5">
                  <c:v>5.890000000000000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11.15</c:v>
                </c:pt>
                <c:pt idx="1">
                  <c:v>Av Price/Unit 11.57</c:v>
                </c:pt>
                <c:pt idx="2">
                  <c:v>Av Price/Unit 13.45</c:v>
                </c:pt>
                <c:pt idx="3">
                  <c:v>Av Price/Unit 9.73</c:v>
                </c:pt>
                <c:pt idx="4">
                  <c:v>Av Price/Unit 14.10</c:v>
                </c:pt>
                <c:pt idx="5">
                  <c:v>Av Price/Unit 12.78</c:v>
                </c:pt>
              </c:strCache>
            </c:strRef>
          </c:cat>
          <c:val>
            <c:numRef>
              <c:f>Sheet1!$D$2:$D$7</c:f>
              <c:numCache>
                <c:formatCode>General</c:formatCode>
                <c:ptCount val="6"/>
                <c:pt idx="0">
                  <c:v>0.21873536071616684</c:v>
                </c:pt>
                <c:pt idx="1">
                  <c:v>0.44145849582172936</c:v>
                </c:pt>
                <c:pt idx="2">
                  <c:v>0.65937188983855677</c:v>
                </c:pt>
                <c:pt idx="3">
                  <c:v>4.1279277286134786E-2</c:v>
                </c:pt>
                <c:pt idx="4">
                  <c:v>0.77382473118279371</c:v>
                </c:pt>
                <c:pt idx="5">
                  <c:v>0.2340936507936497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11.15</c:v>
                </c:pt>
                <c:pt idx="1">
                  <c:v>Av Price/Unit 11.57</c:v>
                </c:pt>
                <c:pt idx="2">
                  <c:v>Av Price/Unit 13.45</c:v>
                </c:pt>
                <c:pt idx="3">
                  <c:v>Av Price/Unit 9.73</c:v>
                </c:pt>
                <c:pt idx="4">
                  <c:v>Av Price/Unit 14.10</c:v>
                </c:pt>
                <c:pt idx="5">
                  <c:v>Av Price/Unit 12.78</c:v>
                </c:pt>
              </c:strCache>
            </c:strRef>
          </c:cat>
          <c:val>
            <c:numRef>
              <c:f>Sheet1!$E$2:$E$7</c:f>
              <c:numCache>
                <c:formatCode>General</c:formatCode>
                <c:ptCount val="6"/>
                <c:pt idx="0">
                  <c:v>1.8584781463928375</c:v>
                </c:pt>
                <c:pt idx="1">
                  <c:v>1.9275766016713092</c:v>
                </c:pt>
                <c:pt idx="2">
                  <c:v>2.2412155745489089</c:v>
                </c:pt>
                <c:pt idx="3">
                  <c:v>1.6209439528023606</c:v>
                </c:pt>
                <c:pt idx="4">
                  <c:v>2.3494623655913984</c:v>
                </c:pt>
                <c:pt idx="5">
                  <c:v>2.13015873015873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11.40</c:v>
                </c:pt>
                <c:pt idx="1">
                  <c:v>Av Price/Unit 11.22</c:v>
                </c:pt>
                <c:pt idx="2">
                  <c:v>Av Price/Unit 13.45</c:v>
                </c:pt>
                <c:pt idx="3">
                  <c:v>Av Price/Unit 13.80</c:v>
                </c:pt>
                <c:pt idx="4">
                  <c:v>Av Price/Unit 10.14</c:v>
                </c:pt>
                <c:pt idx="5">
                  <c:v>Av Price/Unit 24.14</c:v>
                </c:pt>
                <c:pt idx="6">
                  <c:v>Av Price/Unit 24.76</c:v>
                </c:pt>
                <c:pt idx="7">
                  <c:v>Av Price/Unit 24.92</c:v>
                </c:pt>
                <c:pt idx="8">
                  <c:v>Av Price/Unit 10.11</c:v>
                </c:pt>
              </c:strCache>
            </c:strRef>
          </c:cat>
          <c:val>
            <c:numRef>
              <c:f>Sheet1!$B$2:$B$10</c:f>
              <c:numCache>
                <c:formatCode>General</c:formatCode>
                <c:ptCount val="9"/>
                <c:pt idx="0">
                  <c:v>4.7596838390501324</c:v>
                </c:pt>
                <c:pt idx="1">
                  <c:v>4.6508969874575081</c:v>
                </c:pt>
                <c:pt idx="2">
                  <c:v>5.4029870289219986</c:v>
                </c:pt>
                <c:pt idx="3">
                  <c:v>5.6566354934678573</c:v>
                </c:pt>
                <c:pt idx="4">
                  <c:v>4.3624999999999998</c:v>
                </c:pt>
                <c:pt idx="5">
                  <c:v>9.2013967741935474</c:v>
                </c:pt>
                <c:pt idx="6">
                  <c:v>9.3903388429752077</c:v>
                </c:pt>
                <c:pt idx="7">
                  <c:v>9.0424600000000002</c:v>
                </c:pt>
                <c:pt idx="8">
                  <c:v>4.349999999999998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11.40</c:v>
                </c:pt>
                <c:pt idx="1">
                  <c:v>Av Price/Unit 11.22</c:v>
                </c:pt>
                <c:pt idx="2">
                  <c:v>Av Price/Unit 13.45</c:v>
                </c:pt>
                <c:pt idx="3">
                  <c:v>Av Price/Unit 13.80</c:v>
                </c:pt>
                <c:pt idx="4">
                  <c:v>Av Price/Unit 10.14</c:v>
                </c:pt>
                <c:pt idx="5">
                  <c:v>Av Price/Unit 24.14</c:v>
                </c:pt>
                <c:pt idx="6">
                  <c:v>Av Price/Unit 24.76</c:v>
                </c:pt>
                <c:pt idx="7">
                  <c:v>Av Price/Unit 24.92</c:v>
                </c:pt>
                <c:pt idx="8">
                  <c:v>Av Price/Unit 10.11</c:v>
                </c:pt>
              </c:strCache>
            </c:strRef>
          </c:cat>
          <c:val>
            <c:numRef>
              <c:f>Sheet1!$C$2:$C$10</c:f>
              <c:numCache>
                <c:formatCode>General</c:formatCode>
                <c:ptCount val="9"/>
                <c:pt idx="0">
                  <c:v>4.4706111477572561</c:v>
                </c:pt>
                <c:pt idx="1">
                  <c:v>4.4572322470988173</c:v>
                </c:pt>
                <c:pt idx="2">
                  <c:v>5.3329938650306747</c:v>
                </c:pt>
                <c:pt idx="3">
                  <c:v>5.3043953563575208</c:v>
                </c:pt>
                <c:pt idx="4">
                  <c:v>4.1375000000000002</c:v>
                </c:pt>
                <c:pt idx="5">
                  <c:v>9.7548874551971334</c:v>
                </c:pt>
                <c:pt idx="6">
                  <c:v>10.412173553719009</c:v>
                </c:pt>
                <c:pt idx="7">
                  <c:v>9.9865600000000008</c:v>
                </c:pt>
                <c:pt idx="8">
                  <c:v>4.150000000000000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11.40</c:v>
                </c:pt>
                <c:pt idx="1">
                  <c:v>Av Price/Unit 11.22</c:v>
                </c:pt>
                <c:pt idx="2">
                  <c:v>Av Price/Unit 13.45</c:v>
                </c:pt>
                <c:pt idx="3">
                  <c:v>Av Price/Unit 13.80</c:v>
                </c:pt>
                <c:pt idx="4">
                  <c:v>Av Price/Unit 10.14</c:v>
                </c:pt>
                <c:pt idx="5">
                  <c:v>Av Price/Unit 24.14</c:v>
                </c:pt>
                <c:pt idx="6">
                  <c:v>Av Price/Unit 24.76</c:v>
                </c:pt>
                <c:pt idx="7">
                  <c:v>Av Price/Unit 24.92</c:v>
                </c:pt>
                <c:pt idx="8">
                  <c:v>Av Price/Unit 10.11</c:v>
                </c:pt>
              </c:strCache>
            </c:strRef>
          </c:cat>
          <c:val>
            <c:numRef>
              <c:f>Sheet1!$D$2:$D$10</c:f>
              <c:numCache>
                <c:formatCode>General</c:formatCode>
                <c:ptCount val="9"/>
                <c:pt idx="0">
                  <c:v>0.26614469927609896</c:v>
                </c:pt>
                <c:pt idx="1">
                  <c:v>0.23954377368811564</c:v>
                </c:pt>
                <c:pt idx="2">
                  <c:v>0.47335483494010866</c:v>
                </c:pt>
                <c:pt idx="3">
                  <c:v>0.53597255637476948</c:v>
                </c:pt>
                <c:pt idx="4">
                  <c:v>-5.0946465542738295E-2</c:v>
                </c:pt>
                <c:pt idx="5">
                  <c:v>1.1572163679808831</c:v>
                </c:pt>
                <c:pt idx="6">
                  <c:v>0.82765289256198571</c:v>
                </c:pt>
                <c:pt idx="7">
                  <c:v>1.7359372649572649</c:v>
                </c:pt>
                <c:pt idx="8">
                  <c:v>-8.356417359187418E-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11.40</c:v>
                </c:pt>
                <c:pt idx="1">
                  <c:v>Av Price/Unit 11.22</c:v>
                </c:pt>
                <c:pt idx="2">
                  <c:v>Av Price/Unit 13.45</c:v>
                </c:pt>
                <c:pt idx="3">
                  <c:v>Av Price/Unit 13.80</c:v>
                </c:pt>
                <c:pt idx="4">
                  <c:v>Av Price/Unit 10.14</c:v>
                </c:pt>
                <c:pt idx="5">
                  <c:v>Av Price/Unit 24.14</c:v>
                </c:pt>
                <c:pt idx="6">
                  <c:v>Av Price/Unit 24.76</c:v>
                </c:pt>
                <c:pt idx="7">
                  <c:v>Av Price/Unit 24.92</c:v>
                </c:pt>
                <c:pt idx="8">
                  <c:v>Av Price/Unit 10.11</c:v>
                </c:pt>
              </c:strCache>
            </c:strRef>
          </c:cat>
          <c:val>
            <c:numRef>
              <c:f>Sheet1!$E$2:$E$10</c:f>
              <c:numCache>
                <c:formatCode>General</c:formatCode>
                <c:ptCount val="9"/>
                <c:pt idx="0">
                  <c:v>1.8992879372166966</c:v>
                </c:pt>
                <c:pt idx="1">
                  <c:v>1.8695248700816636</c:v>
                </c:pt>
                <c:pt idx="2">
                  <c:v>2.2418565585743506</c:v>
                </c:pt>
                <c:pt idx="3">
                  <c:v>2.2994006812400283</c:v>
                </c:pt>
                <c:pt idx="4">
                  <c:v>1.6898107068914516</c:v>
                </c:pt>
                <c:pt idx="5">
                  <c:v>4.0227001194743117</c:v>
                </c:pt>
                <c:pt idx="6">
                  <c:v>4.1260330578512399</c:v>
                </c:pt>
                <c:pt idx="7">
                  <c:v>4.1529914529914516</c:v>
                </c:pt>
                <c:pt idx="8">
                  <c:v>1.683287165281624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7ECAC4"/>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D86D9EEE-E366-42CB-9F75-A350F79CF2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C6BBCA5B-07E9-49A7-9966-FA3E2FD105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1EF51B12-DE92-43E3-8BA9-6E2A420026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E8856EC0-9EB2-4849-887B-6D30E8CD87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1F04F8F8-0D93-43F8-BB48-5531594BEA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6145D4E3-B7F0-4A3B-82CE-E57D2FED7E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E4F4DC2F-58F6-4D9E-9E1D-1052C0FCCE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BA4BBB01-B931-4FDA-A452-72C860317E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9.6289999999999996</c:v>
                </c:pt>
                <c:pt idx="1">
                  <c:v>9.6655999999999995</c:v>
                </c:pt>
                <c:pt idx="2">
                  <c:v>8.9261999999999997</c:v>
                </c:pt>
                <c:pt idx="3">
                  <c:v>9.2417999999999996</c:v>
                </c:pt>
                <c:pt idx="4">
                  <c:v>9.2459000000000007</c:v>
                </c:pt>
              </c:numCache>
            </c:numRef>
          </c:xVal>
          <c:yVal>
            <c:numRef>
              <c:f>Sheet1!$B$2:$B$6</c:f>
              <c:numCache>
                <c:formatCode>General</c:formatCode>
                <c:ptCount val="5"/>
                <c:pt idx="0">
                  <c:v>0.54410000000000003</c:v>
                </c:pt>
                <c:pt idx="1">
                  <c:v>0.54279999999999995</c:v>
                </c:pt>
                <c:pt idx="2">
                  <c:v>0.55159999999999998</c:v>
                </c:pt>
                <c:pt idx="3">
                  <c:v>0.53039999999999998</c:v>
                </c:pt>
                <c:pt idx="4">
                  <c:v>0.5474</c:v>
                </c:pt>
              </c:numCache>
            </c:numRef>
          </c:yVal>
          <c:bubbleSize>
            <c:numRef>
              <c:f>Sheet1!$C$2:$C$6</c:f>
              <c:numCache>
                <c:formatCode>General</c:formatCode>
                <c:ptCount val="5"/>
                <c:pt idx="0">
                  <c:v>937471.01619999984</c:v>
                </c:pt>
                <c:pt idx="1">
                  <c:v>156409.34919999991</c:v>
                </c:pt>
                <c:pt idx="2">
                  <c:v>13790.920099999999</c:v>
                </c:pt>
                <c:pt idx="3">
                  <c:v>103859.7988</c:v>
                </c:pt>
                <c:pt idx="4">
                  <c:v>33414.6103</c:v>
                </c:pt>
              </c:numCache>
            </c:numRef>
          </c:bubbleSize>
          <c:bubble3D val="0"/>
          <c:extLst>
            <c:ext xmlns:c15="http://schemas.microsoft.com/office/drawing/2012/chart" uri="{02D57815-91ED-43cb-92C2-25804820EDAC}">
              <c15:datalabelsRange>
                <c15:f>Sheet1!$E$2:$E$29</c15:f>
                <c15:dlblRangeCache>
                  <c:ptCount val="28"/>
                  <c:pt idx="0">
                    <c:v>NICOLAS IDF</c:v>
                  </c:pt>
                  <c:pt idx="1">
                    <c:v>NICOLAS PAC</c:v>
                  </c:pt>
                  <c:pt idx="2">
                    <c:v>NICOLAS EST</c:v>
                  </c:pt>
                  <c:pt idx="3">
                    <c:v>NICOLAS RHO</c:v>
                  </c:pt>
                  <c:pt idx="4">
                    <c:v>NICOLAS AQU</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1.598719999999998"/>
          <c:min val="7.1409599999999998"/>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5429654032951744"/>
        <c:crossBetween val="midCat"/>
      </c:valAx>
      <c:valAx>
        <c:axId val="1011451359"/>
        <c:scaling>
          <c:orientation val="minMax"/>
          <c:max val="1.0219199999999999"/>
          <c:min val="0.18432000000000001"/>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9.583228262313756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1.20</c:v>
                </c:pt>
                <c:pt idx="1">
                  <c:v>Av Price/Unit 11.44</c:v>
                </c:pt>
                <c:pt idx="2">
                  <c:v>Av Price/Unit 13.55</c:v>
                </c:pt>
                <c:pt idx="3">
                  <c:v>Av Price/Unit 14.19</c:v>
                </c:pt>
                <c:pt idx="4">
                  <c:v>Av Price/Unit 10.20</c:v>
                </c:pt>
              </c:strCache>
            </c:strRef>
          </c:cat>
          <c:val>
            <c:numRef>
              <c:f>Sheet1!$B$2:$B$6</c:f>
              <c:numCache>
                <c:formatCode>General</c:formatCode>
                <c:ptCount val="5"/>
                <c:pt idx="0">
                  <c:v>4.632890410958904</c:v>
                </c:pt>
                <c:pt idx="1">
                  <c:v>4.7378941232227492</c:v>
                </c:pt>
                <c:pt idx="2">
                  <c:v>5.4099705047318611</c:v>
                </c:pt>
                <c:pt idx="3">
                  <c:v>5.644982130584193</c:v>
                </c:pt>
                <c:pt idx="4">
                  <c:v>4.362499999999999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1.20</c:v>
                </c:pt>
                <c:pt idx="1">
                  <c:v>Av Price/Unit 11.44</c:v>
                </c:pt>
                <c:pt idx="2">
                  <c:v>Av Price/Unit 13.55</c:v>
                </c:pt>
                <c:pt idx="3">
                  <c:v>Av Price/Unit 14.19</c:v>
                </c:pt>
                <c:pt idx="4">
                  <c:v>Av Price/Unit 10.20</c:v>
                </c:pt>
              </c:strCache>
            </c:strRef>
          </c:cat>
          <c:val>
            <c:numRef>
              <c:f>Sheet1!$C$2:$C$6</c:f>
              <c:numCache>
                <c:formatCode>General</c:formatCode>
                <c:ptCount val="5"/>
                <c:pt idx="0">
                  <c:v>4.4555356164383566</c:v>
                </c:pt>
                <c:pt idx="1">
                  <c:v>4.4488990521327016</c:v>
                </c:pt>
                <c:pt idx="2">
                  <c:v>5.3359432176656165</c:v>
                </c:pt>
                <c:pt idx="3">
                  <c:v>5.3389487972508594</c:v>
                </c:pt>
                <c:pt idx="4">
                  <c:v>4.137500000000000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1.20</c:v>
                </c:pt>
                <c:pt idx="1">
                  <c:v>Av Price/Unit 11.44</c:v>
                </c:pt>
                <c:pt idx="2">
                  <c:v>Av Price/Unit 13.55</c:v>
                </c:pt>
                <c:pt idx="3">
                  <c:v>Av Price/Unit 14.19</c:v>
                </c:pt>
                <c:pt idx="4">
                  <c:v>Av Price/Unit 10.20</c:v>
                </c:pt>
              </c:strCache>
            </c:strRef>
          </c:cat>
          <c:val>
            <c:numRef>
              <c:f>Sheet1!$D$2:$D$6</c:f>
              <c:numCache>
                <c:formatCode>General</c:formatCode>
                <c:ptCount val="5"/>
                <c:pt idx="0">
                  <c:v>0.24888178589548637</c:v>
                </c:pt>
                <c:pt idx="1">
                  <c:v>0.34875184834123552</c:v>
                </c:pt>
                <c:pt idx="2">
                  <c:v>0.54357223974763613</c:v>
                </c:pt>
                <c:pt idx="3">
                  <c:v>0.83737491408934872</c:v>
                </c:pt>
                <c:pt idx="4">
                  <c:v>-2.8490028490022468E-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1.20</c:v>
                </c:pt>
                <c:pt idx="1">
                  <c:v>Av Price/Unit 11.44</c:v>
                </c:pt>
                <c:pt idx="2">
                  <c:v>Av Price/Unit 13.55</c:v>
                </c:pt>
                <c:pt idx="3">
                  <c:v>Av Price/Unit 14.19</c:v>
                </c:pt>
                <c:pt idx="4">
                  <c:v>Av Price/Unit 10.20</c:v>
                </c:pt>
              </c:strCache>
            </c:strRef>
          </c:cat>
          <c:val>
            <c:numRef>
              <c:f>Sheet1!$E$2:$E$6</c:f>
              <c:numCache>
                <c:formatCode>General</c:formatCode>
                <c:ptCount val="5"/>
                <c:pt idx="0">
                  <c:v>1.8674530695078631</c:v>
                </c:pt>
                <c:pt idx="1">
                  <c:v>1.9071090047393349</c:v>
                </c:pt>
                <c:pt idx="2">
                  <c:v>2.2578864353312289</c:v>
                </c:pt>
                <c:pt idx="3">
                  <c:v>2.3642611683848798</c:v>
                </c:pt>
                <c:pt idx="4">
                  <c:v>1.699430199430198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11.37</c:v>
                </c:pt>
                <c:pt idx="1">
                  <c:v>Av Price/Unit 10.99</c:v>
                </c:pt>
                <c:pt idx="2">
                  <c:v>Av Price/Unit 13.27</c:v>
                </c:pt>
                <c:pt idx="3">
                  <c:v>Av Price/Unit 14.18</c:v>
                </c:pt>
              </c:strCache>
            </c:strRef>
          </c:cat>
          <c:val>
            <c:numRef>
              <c:f>Sheet1!$B$2:$B$5</c:f>
              <c:numCache>
                <c:formatCode>General</c:formatCode>
                <c:ptCount val="4"/>
                <c:pt idx="0">
                  <c:v>4.7260462845010611</c:v>
                </c:pt>
                <c:pt idx="1">
                  <c:v>4.6166194244604322</c:v>
                </c:pt>
                <c:pt idx="2">
                  <c:v>5.3130108225108232</c:v>
                </c:pt>
                <c:pt idx="3">
                  <c:v>5.646503448275861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11.37</c:v>
                </c:pt>
                <c:pt idx="1">
                  <c:v>Av Price/Unit 10.99</c:v>
                </c:pt>
                <c:pt idx="2">
                  <c:v>Av Price/Unit 13.27</c:v>
                </c:pt>
                <c:pt idx="3">
                  <c:v>Av Price/Unit 14.18</c:v>
                </c:pt>
              </c:strCache>
            </c:strRef>
          </c:cat>
          <c:val>
            <c:numRef>
              <c:f>Sheet1!$C$2:$C$5</c:f>
              <c:numCache>
                <c:formatCode>General</c:formatCode>
                <c:ptCount val="4"/>
                <c:pt idx="0">
                  <c:v>4.4370934182590229</c:v>
                </c:pt>
                <c:pt idx="1">
                  <c:v>4.4540025179856118</c:v>
                </c:pt>
                <c:pt idx="2">
                  <c:v>5.2949939393939403</c:v>
                </c:pt>
                <c:pt idx="3">
                  <c:v>5.334437931034482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11.37</c:v>
                </c:pt>
                <c:pt idx="1">
                  <c:v>Av Price/Unit 10.99</c:v>
                </c:pt>
                <c:pt idx="2">
                  <c:v>Av Price/Unit 13.27</c:v>
                </c:pt>
                <c:pt idx="3">
                  <c:v>Av Price/Unit 14.18</c:v>
                </c:pt>
              </c:strCache>
            </c:strRef>
          </c:cat>
          <c:val>
            <c:numRef>
              <c:f>Sheet1!$D$2:$D$5</c:f>
              <c:numCache>
                <c:formatCode>General</c:formatCode>
                <c:ptCount val="4"/>
                <c:pt idx="0">
                  <c:v>0.30872866242038377</c:v>
                </c:pt>
                <c:pt idx="1">
                  <c:v>8.7088788968825881E-2</c:v>
                </c:pt>
                <c:pt idx="2">
                  <c:v>0.45444704184704143</c:v>
                </c:pt>
                <c:pt idx="3">
                  <c:v>0.8329954022988488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11.37</c:v>
                </c:pt>
                <c:pt idx="1">
                  <c:v>Av Price/Unit 10.99</c:v>
                </c:pt>
                <c:pt idx="2">
                  <c:v>Av Price/Unit 13.27</c:v>
                </c:pt>
                <c:pt idx="3">
                  <c:v>Av Price/Unit 14.18</c:v>
                </c:pt>
              </c:strCache>
            </c:strRef>
          </c:cat>
          <c:val>
            <c:numRef>
              <c:f>Sheet1!$E$2:$E$5</c:f>
              <c:numCache>
                <c:formatCode>General</c:formatCode>
                <c:ptCount val="4"/>
                <c:pt idx="0">
                  <c:v>1.8943736730360934</c:v>
                </c:pt>
                <c:pt idx="1">
                  <c:v>1.8315347721822537</c:v>
                </c:pt>
                <c:pt idx="2">
                  <c:v>2.2124819624819612</c:v>
                </c:pt>
                <c:pt idx="3">
                  <c:v>2.362787356321840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11.06</c:v>
                </c:pt>
                <c:pt idx="1">
                  <c:v>Av Price/Unit 9.70</c:v>
                </c:pt>
                <c:pt idx="2">
                  <c:v>Av Price/Unit 11.53</c:v>
                </c:pt>
                <c:pt idx="3">
                  <c:v>Av Price/Unit 14.08</c:v>
                </c:pt>
                <c:pt idx="4">
                  <c:v>Av Price/Unit 10.79</c:v>
                </c:pt>
                <c:pt idx="5">
                  <c:v>Av Price/Unit 13.98</c:v>
                </c:pt>
              </c:strCache>
            </c:strRef>
          </c:cat>
          <c:val>
            <c:numRef>
              <c:f>Sheet1!$B$2:$B$7</c:f>
              <c:numCache>
                <c:formatCode>General</c:formatCode>
                <c:ptCount val="6"/>
                <c:pt idx="0">
                  <c:v>4.6158901408450701</c:v>
                </c:pt>
                <c:pt idx="1">
                  <c:v>2.8755597402597401</c:v>
                </c:pt>
                <c:pt idx="2">
                  <c:v>4.7088937254901957</c:v>
                </c:pt>
                <c:pt idx="3">
                  <c:v>5.6476023411371239</c:v>
                </c:pt>
                <c:pt idx="4">
                  <c:v>3.1413818181818183</c:v>
                </c:pt>
                <c:pt idx="5">
                  <c:v>5.443752631578947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11.06</c:v>
                </c:pt>
                <c:pt idx="1">
                  <c:v>Av Price/Unit 9.70</c:v>
                </c:pt>
                <c:pt idx="2">
                  <c:v>Av Price/Unit 11.53</c:v>
                </c:pt>
                <c:pt idx="3">
                  <c:v>Av Price/Unit 14.08</c:v>
                </c:pt>
                <c:pt idx="4">
                  <c:v>Av Price/Unit 10.79</c:v>
                </c:pt>
                <c:pt idx="5">
                  <c:v>Av Price/Unit 13.98</c:v>
                </c:pt>
              </c:strCache>
            </c:strRef>
          </c:cat>
          <c:val>
            <c:numRef>
              <c:f>Sheet1!$C$2:$C$7</c:f>
              <c:numCache>
                <c:formatCode>General</c:formatCode>
                <c:ptCount val="6"/>
                <c:pt idx="0">
                  <c:v>4.453933802816902</c:v>
                </c:pt>
                <c:pt idx="1">
                  <c:v>5.1883116883116873</c:v>
                </c:pt>
                <c:pt idx="2">
                  <c:v>4.4200019607843135</c:v>
                </c:pt>
                <c:pt idx="3">
                  <c:v>5.3311795986622075</c:v>
                </c:pt>
                <c:pt idx="4">
                  <c:v>5.7921487603305781</c:v>
                </c:pt>
                <c:pt idx="5">
                  <c:v>5.350210526315789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11.06</c:v>
                </c:pt>
                <c:pt idx="1">
                  <c:v>Av Price/Unit 9.70</c:v>
                </c:pt>
                <c:pt idx="2">
                  <c:v>Av Price/Unit 11.53</c:v>
                </c:pt>
                <c:pt idx="3">
                  <c:v>Av Price/Unit 14.08</c:v>
                </c:pt>
                <c:pt idx="4">
                  <c:v>Av Price/Unit 10.79</c:v>
                </c:pt>
                <c:pt idx="5">
                  <c:v>Av Price/Unit 13.98</c:v>
                </c:pt>
              </c:strCache>
            </c:strRef>
          </c:cat>
          <c:val>
            <c:numRef>
              <c:f>Sheet1!$D$2:$D$7</c:f>
              <c:numCache>
                <c:formatCode>General</c:formatCode>
                <c:ptCount val="6"/>
                <c:pt idx="0">
                  <c:v>0.14563340556157556</c:v>
                </c:pt>
                <c:pt idx="1">
                  <c:v>1.6215151515151405E-2</c:v>
                </c:pt>
                <c:pt idx="2">
                  <c:v>0.47567947712418501</c:v>
                </c:pt>
                <c:pt idx="3">
                  <c:v>0.75756142697881934</c:v>
                </c:pt>
                <c:pt idx="4">
                  <c:v>6.0959779614329079E-2</c:v>
                </c:pt>
                <c:pt idx="5">
                  <c:v>0.8563140350877187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11.06</c:v>
                </c:pt>
                <c:pt idx="1">
                  <c:v>Av Price/Unit 9.70</c:v>
                </c:pt>
                <c:pt idx="2">
                  <c:v>Av Price/Unit 11.53</c:v>
                </c:pt>
                <c:pt idx="3">
                  <c:v>Av Price/Unit 14.08</c:v>
                </c:pt>
                <c:pt idx="4">
                  <c:v>Av Price/Unit 10.79</c:v>
                </c:pt>
                <c:pt idx="5">
                  <c:v>Av Price/Unit 13.98</c:v>
                </c:pt>
              </c:strCache>
            </c:strRef>
          </c:cat>
          <c:val>
            <c:numRef>
              <c:f>Sheet1!$E$2:$E$7</c:f>
              <c:numCache>
                <c:formatCode>General</c:formatCode>
                <c:ptCount val="6"/>
                <c:pt idx="0">
                  <c:v>1.8430841459010467</c:v>
                </c:pt>
                <c:pt idx="1">
                  <c:v>1.6160173160173168</c:v>
                </c:pt>
                <c:pt idx="2">
                  <c:v>1.9209150326797373</c:v>
                </c:pt>
                <c:pt idx="3">
                  <c:v>2.3472686733556287</c:v>
                </c:pt>
                <c:pt idx="4">
                  <c:v>1.7988980716253431</c:v>
                </c:pt>
                <c:pt idx="5">
                  <c:v>2.330043859649123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1.70</c:v>
                </c:pt>
                <c:pt idx="1">
                  <c:v>Av Price/Unit 11.59</c:v>
                </c:pt>
                <c:pt idx="2">
                  <c:v>Av Price/Unit 13.95</c:v>
                </c:pt>
              </c:strCache>
            </c:strRef>
          </c:cat>
          <c:val>
            <c:numRef>
              <c:f>Sheet1!$B$2:$B$4</c:f>
              <c:numCache>
                <c:formatCode>General</c:formatCode>
                <c:ptCount val="3"/>
                <c:pt idx="0">
                  <c:v>4.7470839572192514</c:v>
                </c:pt>
                <c:pt idx="1">
                  <c:v>4.6238131147540997</c:v>
                </c:pt>
                <c:pt idx="2">
                  <c:v>5.391059405940595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1.70</c:v>
                </c:pt>
                <c:pt idx="1">
                  <c:v>Av Price/Unit 11.59</c:v>
                </c:pt>
                <c:pt idx="2">
                  <c:v>Av Price/Unit 13.95</c:v>
                </c:pt>
              </c:strCache>
            </c:strRef>
          </c:cat>
          <c:val>
            <c:numRef>
              <c:f>Sheet1!$C$2:$C$4</c:f>
              <c:numCache>
                <c:formatCode>General</c:formatCode>
                <c:ptCount val="3"/>
                <c:pt idx="0">
                  <c:v>4.458056149732621</c:v>
                </c:pt>
                <c:pt idx="1">
                  <c:v>4.4546803278688527</c:v>
                </c:pt>
                <c:pt idx="2">
                  <c:v>5.32795643564356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1.70</c:v>
                </c:pt>
                <c:pt idx="1">
                  <c:v>Av Price/Unit 11.59</c:v>
                </c:pt>
                <c:pt idx="2">
                  <c:v>Av Price/Unit 13.95</c:v>
                </c:pt>
              </c:strCache>
            </c:strRef>
          </c:cat>
          <c:val>
            <c:numRef>
              <c:f>Sheet1!$D$2:$D$4</c:f>
              <c:numCache>
                <c:formatCode>General</c:formatCode>
                <c:ptCount val="3"/>
                <c:pt idx="0">
                  <c:v>0.54530552584670211</c:v>
                </c:pt>
                <c:pt idx="1">
                  <c:v>0.58001584699453446</c:v>
                </c:pt>
                <c:pt idx="2">
                  <c:v>0.9064481848184833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1.70</c:v>
                </c:pt>
                <c:pt idx="1">
                  <c:v>Av Price/Unit 11.59</c:v>
                </c:pt>
                <c:pt idx="2">
                  <c:v>Av Price/Unit 13.95</c:v>
                </c:pt>
              </c:strCache>
            </c:strRef>
          </c:cat>
          <c:val>
            <c:numRef>
              <c:f>Sheet1!$E$2:$E$4</c:f>
              <c:numCache>
                <c:formatCode>General</c:formatCode>
                <c:ptCount val="3"/>
                <c:pt idx="0">
                  <c:v>1.9500891265597151</c:v>
                </c:pt>
                <c:pt idx="1">
                  <c:v>1.931693989071039</c:v>
                </c:pt>
                <c:pt idx="2">
                  <c:v>2.325082508250824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11.31</c:v>
                </c:pt>
                <c:pt idx="1">
                  <c:v>Av Price/Unit 11.17</c:v>
                </c:pt>
                <c:pt idx="2">
                  <c:v>Av Price/Unit 13.27</c:v>
                </c:pt>
                <c:pt idx="3">
                  <c:v>Av Price/Unit 13.82</c:v>
                </c:pt>
                <c:pt idx="4">
                  <c:v>Av Price/Unit 10.18</c:v>
                </c:pt>
                <c:pt idx="5">
                  <c:v>Av Price/Unit 24.65</c:v>
                </c:pt>
                <c:pt idx="6">
                  <c:v>Av Price/Unit 24.23</c:v>
                </c:pt>
                <c:pt idx="7">
                  <c:v>Av Price/Unit 25.10</c:v>
                </c:pt>
              </c:strCache>
            </c:strRef>
          </c:cat>
          <c:val>
            <c:numRef>
              <c:f>Sheet1!$B$2:$B$9</c:f>
              <c:numCache>
                <c:formatCode>General</c:formatCode>
                <c:ptCount val="8"/>
                <c:pt idx="0">
                  <c:v>4.7515923867595813</c:v>
                </c:pt>
                <c:pt idx="1">
                  <c:v>4.6454500577589526</c:v>
                </c:pt>
                <c:pt idx="2">
                  <c:v>5.3890029640084691</c:v>
                </c:pt>
                <c:pt idx="3">
                  <c:v>5.6570683060109301</c:v>
                </c:pt>
                <c:pt idx="4">
                  <c:v>4.3624999999999989</c:v>
                </c:pt>
                <c:pt idx="5">
                  <c:v>9.3496771739130438</c:v>
                </c:pt>
                <c:pt idx="6">
                  <c:v>9.1980053191489368</c:v>
                </c:pt>
                <c:pt idx="7">
                  <c:v>9.061642622950818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11.31</c:v>
                </c:pt>
                <c:pt idx="1">
                  <c:v>Av Price/Unit 11.17</c:v>
                </c:pt>
                <c:pt idx="2">
                  <c:v>Av Price/Unit 13.27</c:v>
                </c:pt>
                <c:pt idx="3">
                  <c:v>Av Price/Unit 13.82</c:v>
                </c:pt>
                <c:pt idx="4">
                  <c:v>Av Price/Unit 10.18</c:v>
                </c:pt>
                <c:pt idx="5">
                  <c:v>Av Price/Unit 24.65</c:v>
                </c:pt>
                <c:pt idx="6">
                  <c:v>Av Price/Unit 24.23</c:v>
                </c:pt>
                <c:pt idx="7">
                  <c:v>Av Price/Unit 25.10</c:v>
                </c:pt>
              </c:strCache>
            </c:strRef>
          </c:cat>
          <c:val>
            <c:numRef>
              <c:f>Sheet1!$C$2:$C$9</c:f>
              <c:numCache>
                <c:formatCode>General</c:formatCode>
                <c:ptCount val="8"/>
                <c:pt idx="0">
                  <c:v>4.4625485191637626</c:v>
                </c:pt>
                <c:pt idx="1">
                  <c:v>4.4567190219484027</c:v>
                </c:pt>
                <c:pt idx="2">
                  <c:v>5.327087932251235</c:v>
                </c:pt>
                <c:pt idx="3">
                  <c:v>5.3031120218579222</c:v>
                </c:pt>
                <c:pt idx="4">
                  <c:v>4.1375000000000002</c:v>
                </c:pt>
                <c:pt idx="5">
                  <c:v>10.356222826086956</c:v>
                </c:pt>
                <c:pt idx="6">
                  <c:v>9.7836893617021286</c:v>
                </c:pt>
                <c:pt idx="7">
                  <c:v>10.01145573770491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11.31</c:v>
                </c:pt>
                <c:pt idx="1">
                  <c:v>Av Price/Unit 11.17</c:v>
                </c:pt>
                <c:pt idx="2">
                  <c:v>Av Price/Unit 13.27</c:v>
                </c:pt>
                <c:pt idx="3">
                  <c:v>Av Price/Unit 13.82</c:v>
                </c:pt>
                <c:pt idx="4">
                  <c:v>Av Price/Unit 10.18</c:v>
                </c:pt>
                <c:pt idx="5">
                  <c:v>Av Price/Unit 24.65</c:v>
                </c:pt>
                <c:pt idx="6">
                  <c:v>Av Price/Unit 24.23</c:v>
                </c:pt>
                <c:pt idx="7">
                  <c:v>Av Price/Unit 25.10</c:v>
                </c:pt>
              </c:strCache>
            </c:strRef>
          </c:cat>
          <c:val>
            <c:numRef>
              <c:f>Sheet1!$D$2:$D$9</c:f>
              <c:numCache>
                <c:formatCode>General</c:formatCode>
                <c:ptCount val="8"/>
                <c:pt idx="0">
                  <c:v>0.21152692218350921</c:v>
                </c:pt>
                <c:pt idx="1">
                  <c:v>0.20557248106789849</c:v>
                </c:pt>
                <c:pt idx="2">
                  <c:v>0.3393002587626448</c:v>
                </c:pt>
                <c:pt idx="3">
                  <c:v>0.56006627434496181</c:v>
                </c:pt>
                <c:pt idx="4">
                  <c:v>-3.0874785591766596E-2</c:v>
                </c:pt>
                <c:pt idx="5">
                  <c:v>0.837578260869563</c:v>
                </c:pt>
                <c:pt idx="6">
                  <c:v>1.2133407801418414</c:v>
                </c:pt>
                <c:pt idx="7">
                  <c:v>1.842202185792352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11.31</c:v>
                </c:pt>
                <c:pt idx="1">
                  <c:v>Av Price/Unit 11.17</c:v>
                </c:pt>
                <c:pt idx="2">
                  <c:v>Av Price/Unit 13.27</c:v>
                </c:pt>
                <c:pt idx="3">
                  <c:v>Av Price/Unit 13.82</c:v>
                </c:pt>
                <c:pt idx="4">
                  <c:v>Av Price/Unit 10.18</c:v>
                </c:pt>
                <c:pt idx="5">
                  <c:v>Av Price/Unit 24.65</c:v>
                </c:pt>
                <c:pt idx="6">
                  <c:v>Av Price/Unit 24.23</c:v>
                </c:pt>
                <c:pt idx="7">
                  <c:v>Av Price/Unit 25.10</c:v>
                </c:pt>
              </c:strCache>
            </c:strRef>
          </c:cat>
          <c:val>
            <c:numRef>
              <c:f>Sheet1!$E$2:$E$9</c:f>
              <c:numCache>
                <c:formatCode>General</c:formatCode>
                <c:ptCount val="8"/>
                <c:pt idx="0">
                  <c:v>1.8851335656213688</c:v>
                </c:pt>
                <c:pt idx="1">
                  <c:v>1.8615389552047239</c:v>
                </c:pt>
                <c:pt idx="2">
                  <c:v>2.2110679840037628</c:v>
                </c:pt>
                <c:pt idx="3">
                  <c:v>2.3040493204427626</c:v>
                </c:pt>
                <c:pt idx="4">
                  <c:v>1.6938250428816466</c:v>
                </c:pt>
                <c:pt idx="5">
                  <c:v>4.1086956521739104</c:v>
                </c:pt>
                <c:pt idx="6">
                  <c:v>4.0390070921985801</c:v>
                </c:pt>
                <c:pt idx="7">
                  <c:v>4.1830601092896149</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11.17</c:v>
                </c:pt>
                <c:pt idx="1">
                  <c:v>Av Price/Unit 11.38</c:v>
                </c:pt>
                <c:pt idx="2">
                  <c:v>Av Price/Unit 13.57</c:v>
                </c:pt>
                <c:pt idx="3">
                  <c:v>Av Price/Unit 9.67</c:v>
                </c:pt>
                <c:pt idx="4">
                  <c:v>Av Price/Unit 13.77</c:v>
                </c:pt>
                <c:pt idx="5">
                  <c:v>Av Price/Unit 12.57</c:v>
                </c:pt>
                <c:pt idx="6">
                  <c:v>Av Price/Unit 10.17</c:v>
                </c:pt>
                <c:pt idx="7">
                  <c:v>Av Price/Unit 10.80</c:v>
                </c:pt>
                <c:pt idx="8">
                  <c:v>Av Price/Unit 10.75</c:v>
                </c:pt>
                <c:pt idx="9">
                  <c:v>Av Price/Unit 25.02</c:v>
                </c:pt>
              </c:strCache>
            </c:strRef>
          </c:cat>
          <c:val>
            <c:numRef>
              <c:f>Sheet1!$B$2:$B$11</c:f>
              <c:numCache>
                <c:formatCode>General</c:formatCode>
                <c:ptCount val="10"/>
                <c:pt idx="0">
                  <c:v>4.6457298095238109</c:v>
                </c:pt>
                <c:pt idx="1">
                  <c:v>4.7604145098039208</c:v>
                </c:pt>
                <c:pt idx="2">
                  <c:v>5.4058991186839016</c:v>
                </c:pt>
                <c:pt idx="3">
                  <c:v>2.8750830674215133</c:v>
                </c:pt>
                <c:pt idx="4">
                  <c:v>5.6595567901234567</c:v>
                </c:pt>
                <c:pt idx="5">
                  <c:v>4.5266999999999999</c:v>
                </c:pt>
                <c:pt idx="6">
                  <c:v>4.3624999999999998</c:v>
                </c:pt>
                <c:pt idx="7">
                  <c:v>3.1414760869565215</c:v>
                </c:pt>
                <c:pt idx="8">
                  <c:v>3.5545396226415091</c:v>
                </c:pt>
                <c:pt idx="9">
                  <c:v>9.198949999999998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11.17</c:v>
                </c:pt>
                <c:pt idx="1">
                  <c:v>Av Price/Unit 11.38</c:v>
                </c:pt>
                <c:pt idx="2">
                  <c:v>Av Price/Unit 13.57</c:v>
                </c:pt>
                <c:pt idx="3">
                  <c:v>Av Price/Unit 9.67</c:v>
                </c:pt>
                <c:pt idx="4">
                  <c:v>Av Price/Unit 13.77</c:v>
                </c:pt>
                <c:pt idx="5">
                  <c:v>Av Price/Unit 12.57</c:v>
                </c:pt>
                <c:pt idx="6">
                  <c:v>Av Price/Unit 10.17</c:v>
                </c:pt>
                <c:pt idx="7">
                  <c:v>Av Price/Unit 10.80</c:v>
                </c:pt>
                <c:pt idx="8">
                  <c:v>Av Price/Unit 10.75</c:v>
                </c:pt>
                <c:pt idx="9">
                  <c:v>Av Price/Unit 25.02</c:v>
                </c:pt>
              </c:strCache>
            </c:strRef>
          </c:cat>
          <c:val>
            <c:numRef>
              <c:f>Sheet1!$C$2:$C$11</c:f>
              <c:numCache>
                <c:formatCode>General</c:formatCode>
                <c:ptCount val="10"/>
                <c:pt idx="0">
                  <c:v>4.4567453809523823</c:v>
                </c:pt>
                <c:pt idx="1">
                  <c:v>4.4713392156862737</c:v>
                </c:pt>
                <c:pt idx="2">
                  <c:v>5.3342237367802587</c:v>
                </c:pt>
                <c:pt idx="3">
                  <c:v>5.1875965002573343</c:v>
                </c:pt>
                <c:pt idx="4">
                  <c:v>5.2957334059549757</c:v>
                </c:pt>
                <c:pt idx="5">
                  <c:v>5.89</c:v>
                </c:pt>
                <c:pt idx="6">
                  <c:v>4.1375000000000002</c:v>
                </c:pt>
                <c:pt idx="7">
                  <c:v>5.7923913043478263</c:v>
                </c:pt>
                <c:pt idx="8">
                  <c:v>5.1954603773584918</c:v>
                </c:pt>
                <c:pt idx="9">
                  <c:v>9.775666666666667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11.17</c:v>
                </c:pt>
                <c:pt idx="1">
                  <c:v>Av Price/Unit 11.38</c:v>
                </c:pt>
                <c:pt idx="2">
                  <c:v>Av Price/Unit 13.57</c:v>
                </c:pt>
                <c:pt idx="3">
                  <c:v>Av Price/Unit 9.67</c:v>
                </c:pt>
                <c:pt idx="4">
                  <c:v>Av Price/Unit 13.77</c:v>
                </c:pt>
                <c:pt idx="5">
                  <c:v>Av Price/Unit 12.57</c:v>
                </c:pt>
                <c:pt idx="6">
                  <c:v>Av Price/Unit 10.17</c:v>
                </c:pt>
                <c:pt idx="7">
                  <c:v>Av Price/Unit 10.80</c:v>
                </c:pt>
                <c:pt idx="8">
                  <c:v>Av Price/Unit 10.75</c:v>
                </c:pt>
                <c:pt idx="9">
                  <c:v>Av Price/Unit 25.02</c:v>
                </c:pt>
              </c:strCache>
            </c:strRef>
          </c:cat>
          <c:val>
            <c:numRef>
              <c:f>Sheet1!$D$2:$D$11</c:f>
              <c:numCache>
                <c:formatCode>General</c:formatCode>
                <c:ptCount val="10"/>
                <c:pt idx="0">
                  <c:v>0.20233359523809469</c:v>
                </c:pt>
                <c:pt idx="1">
                  <c:v>0.251470675381265</c:v>
                </c:pt>
                <c:pt idx="2">
                  <c:v>0.56427826086956578</c:v>
                </c:pt>
                <c:pt idx="3">
                  <c:v>-7.69586550008583E-3</c:v>
                </c:pt>
                <c:pt idx="4">
                  <c:v>0.52256020334059805</c:v>
                </c:pt>
                <c:pt idx="5">
                  <c:v>5.4554836926479666E-2</c:v>
                </c:pt>
                <c:pt idx="6">
                  <c:v>-4.2917324907847387E-2</c:v>
                </c:pt>
                <c:pt idx="7">
                  <c:v>6.9755797101450412E-2</c:v>
                </c:pt>
                <c:pt idx="8">
                  <c:v>0.20911949685534559</c:v>
                </c:pt>
                <c:pt idx="9">
                  <c:v>1.872605555555555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11.17</c:v>
                </c:pt>
                <c:pt idx="1">
                  <c:v>Av Price/Unit 11.38</c:v>
                </c:pt>
                <c:pt idx="2">
                  <c:v>Av Price/Unit 13.57</c:v>
                </c:pt>
                <c:pt idx="3">
                  <c:v>Av Price/Unit 9.67</c:v>
                </c:pt>
                <c:pt idx="4">
                  <c:v>Av Price/Unit 13.77</c:v>
                </c:pt>
                <c:pt idx="5">
                  <c:v>Av Price/Unit 12.57</c:v>
                </c:pt>
                <c:pt idx="6">
                  <c:v>Av Price/Unit 10.17</c:v>
                </c:pt>
                <c:pt idx="7">
                  <c:v>Av Price/Unit 10.80</c:v>
                </c:pt>
                <c:pt idx="8">
                  <c:v>Av Price/Unit 10.75</c:v>
                </c:pt>
                <c:pt idx="9">
                  <c:v>Av Price/Unit 25.02</c:v>
                </c:pt>
              </c:strCache>
            </c:strRef>
          </c:cat>
          <c:val>
            <c:numRef>
              <c:f>Sheet1!$E$2:$E$11</c:f>
              <c:numCache>
                <c:formatCode>General</c:formatCode>
                <c:ptCount val="10"/>
                <c:pt idx="0">
                  <c:v>1.8609523809523809</c:v>
                </c:pt>
                <c:pt idx="1">
                  <c:v>1.8966448801742912</c:v>
                </c:pt>
                <c:pt idx="2">
                  <c:v>2.2608695652173911</c:v>
                </c:pt>
                <c:pt idx="3">
                  <c:v>1.6109967404357519</c:v>
                </c:pt>
                <c:pt idx="4">
                  <c:v>2.2955700798838055</c:v>
                </c:pt>
                <c:pt idx="5">
                  <c:v>2.0942509673852951</c:v>
                </c:pt>
                <c:pt idx="6">
                  <c:v>1.6914165350184311</c:v>
                </c:pt>
                <c:pt idx="7">
                  <c:v>1.8007246376811579</c:v>
                </c:pt>
                <c:pt idx="8">
                  <c:v>1.7918238993710698</c:v>
                </c:pt>
                <c:pt idx="9">
                  <c:v>4.169444444444441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1.41</c:v>
                </c:pt>
                <c:pt idx="1">
                  <c:v>Av Price/Unit 11.26</c:v>
                </c:pt>
                <c:pt idx="2">
                  <c:v>Av Price/Unit 13.51</c:v>
                </c:pt>
                <c:pt idx="3">
                  <c:v>Av Price/Unit 13.82</c:v>
                </c:pt>
                <c:pt idx="4">
                  <c:v>Av Price/Unit 9.64</c:v>
                </c:pt>
                <c:pt idx="5">
                  <c:v>Av Price/Unit 10.15</c:v>
                </c:pt>
                <c:pt idx="6">
                  <c:v>Av Price/Unit 10.66</c:v>
                </c:pt>
                <c:pt idx="7">
                  <c:v>Av Price/Unit 24.83</c:v>
                </c:pt>
                <c:pt idx="8">
                  <c:v>Av Price/Unit 10.59</c:v>
                </c:pt>
                <c:pt idx="9">
                  <c:v>Av Price/Unit 12.48</c:v>
                </c:pt>
                <c:pt idx="10">
                  <c:v>Av Price/Unit 9.90</c:v>
                </c:pt>
                <c:pt idx="11">
                  <c:v>Av Price/Unit 12.90</c:v>
                </c:pt>
              </c:strCache>
            </c:strRef>
          </c:cat>
          <c:val>
            <c:numRef>
              <c:f>Sheet1!$B$2:$B$13</c:f>
              <c:numCache>
                <c:formatCode>General</c:formatCode>
                <c:ptCount val="12"/>
                <c:pt idx="0">
                  <c:v>4.7612739194020159</c:v>
                </c:pt>
                <c:pt idx="1">
                  <c:v>4.6530143441951859</c:v>
                </c:pt>
                <c:pt idx="2">
                  <c:v>5.4100457589285718</c:v>
                </c:pt>
                <c:pt idx="3">
                  <c:v>5.6520716771387152</c:v>
                </c:pt>
                <c:pt idx="4">
                  <c:v>2.8719050505050512</c:v>
                </c:pt>
                <c:pt idx="5">
                  <c:v>4.3624999999999989</c:v>
                </c:pt>
                <c:pt idx="6">
                  <c:v>3.1164717026378899</c:v>
                </c:pt>
                <c:pt idx="7">
                  <c:v>9.2035999999999998</c:v>
                </c:pt>
                <c:pt idx="8">
                  <c:v>3.0667000000000004</c:v>
                </c:pt>
                <c:pt idx="9">
                  <c:v>3.6833</c:v>
                </c:pt>
                <c:pt idx="10">
                  <c:v>2.8686964539007098</c:v>
                </c:pt>
                <c:pt idx="11">
                  <c:v>4.526699999999999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1.41</c:v>
                </c:pt>
                <c:pt idx="1">
                  <c:v>Av Price/Unit 11.26</c:v>
                </c:pt>
                <c:pt idx="2">
                  <c:v>Av Price/Unit 13.51</c:v>
                </c:pt>
                <c:pt idx="3">
                  <c:v>Av Price/Unit 13.82</c:v>
                </c:pt>
                <c:pt idx="4">
                  <c:v>Av Price/Unit 9.64</c:v>
                </c:pt>
                <c:pt idx="5">
                  <c:v>Av Price/Unit 10.15</c:v>
                </c:pt>
                <c:pt idx="6">
                  <c:v>Av Price/Unit 10.66</c:v>
                </c:pt>
                <c:pt idx="7">
                  <c:v>Av Price/Unit 24.83</c:v>
                </c:pt>
                <c:pt idx="8">
                  <c:v>Av Price/Unit 10.59</c:v>
                </c:pt>
                <c:pt idx="9">
                  <c:v>Av Price/Unit 12.48</c:v>
                </c:pt>
                <c:pt idx="10">
                  <c:v>Av Price/Unit 9.90</c:v>
                </c:pt>
                <c:pt idx="11">
                  <c:v>Av Price/Unit 12.90</c:v>
                </c:pt>
              </c:strCache>
            </c:strRef>
          </c:cat>
          <c:val>
            <c:numRef>
              <c:f>Sheet1!$C$2:$C$13</c:f>
              <c:numCache>
                <c:formatCode>General</c:formatCode>
                <c:ptCount val="12"/>
                <c:pt idx="0">
                  <c:v>4.472195563860903</c:v>
                </c:pt>
                <c:pt idx="1">
                  <c:v>4.4574317504503034</c:v>
                </c:pt>
                <c:pt idx="2">
                  <c:v>5.3359750000000004</c:v>
                </c:pt>
                <c:pt idx="3">
                  <c:v>5.3179275495408405</c:v>
                </c:pt>
                <c:pt idx="4">
                  <c:v>5.1828282828282832</c:v>
                </c:pt>
                <c:pt idx="5">
                  <c:v>4.1375000000000011</c:v>
                </c:pt>
                <c:pt idx="6">
                  <c:v>5.7280575539568357</c:v>
                </c:pt>
                <c:pt idx="7">
                  <c:v>9.7361765765765789</c:v>
                </c:pt>
                <c:pt idx="8">
                  <c:v>5.6</c:v>
                </c:pt>
                <c:pt idx="9">
                  <c:v>6.4</c:v>
                </c:pt>
                <c:pt idx="10">
                  <c:v>5.1780141843971634</c:v>
                </c:pt>
                <c:pt idx="11">
                  <c:v>5.889999999999998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1.41</c:v>
                </c:pt>
                <c:pt idx="1">
                  <c:v>Av Price/Unit 11.26</c:v>
                </c:pt>
                <c:pt idx="2">
                  <c:v>Av Price/Unit 13.51</c:v>
                </c:pt>
                <c:pt idx="3">
                  <c:v>Av Price/Unit 13.82</c:v>
                </c:pt>
                <c:pt idx="4">
                  <c:v>Av Price/Unit 9.64</c:v>
                </c:pt>
                <c:pt idx="5">
                  <c:v>Av Price/Unit 10.15</c:v>
                </c:pt>
                <c:pt idx="6">
                  <c:v>Av Price/Unit 10.66</c:v>
                </c:pt>
                <c:pt idx="7">
                  <c:v>Av Price/Unit 24.83</c:v>
                </c:pt>
                <c:pt idx="8">
                  <c:v>Av Price/Unit 10.59</c:v>
                </c:pt>
                <c:pt idx="9">
                  <c:v>Av Price/Unit 12.48</c:v>
                </c:pt>
                <c:pt idx="10">
                  <c:v>Av Price/Unit 9.90</c:v>
                </c:pt>
                <c:pt idx="11">
                  <c:v>Av Price/Unit 12.90</c:v>
                </c:pt>
              </c:strCache>
            </c:strRef>
          </c:cat>
          <c:val>
            <c:numRef>
              <c:f>Sheet1!$D$2:$D$13</c:f>
              <c:numCache>
                <c:formatCode>General</c:formatCode>
                <c:ptCount val="12"/>
                <c:pt idx="0">
                  <c:v>0.27728233127505142</c:v>
                </c:pt>
                <c:pt idx="1">
                  <c:v>0.27023207794334425</c:v>
                </c:pt>
                <c:pt idx="2">
                  <c:v>0.50908193027210835</c:v>
                </c:pt>
                <c:pt idx="3">
                  <c:v>0.54482274850974832</c:v>
                </c:pt>
                <c:pt idx="4">
                  <c:v>-2.2025300625298172E-2</c:v>
                </c:pt>
                <c:pt idx="5">
                  <c:v>-4.4205495818399498E-2</c:v>
                </c:pt>
                <c:pt idx="6">
                  <c:v>4.0362829736212191E-2</c:v>
                </c:pt>
                <c:pt idx="7">
                  <c:v>1.7509141141141171</c:v>
                </c:pt>
                <c:pt idx="8">
                  <c:v>0.11682490421456215</c:v>
                </c:pt>
                <c:pt idx="9">
                  <c:v>0.31352539682539771</c:v>
                </c:pt>
                <c:pt idx="10">
                  <c:v>0.2038803782505898</c:v>
                </c:pt>
                <c:pt idx="11">
                  <c:v>0.3324582491582468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1.41</c:v>
                </c:pt>
                <c:pt idx="1">
                  <c:v>Av Price/Unit 11.26</c:v>
                </c:pt>
                <c:pt idx="2">
                  <c:v>Av Price/Unit 13.51</c:v>
                </c:pt>
                <c:pt idx="3">
                  <c:v>Av Price/Unit 13.82</c:v>
                </c:pt>
                <c:pt idx="4">
                  <c:v>Av Price/Unit 9.64</c:v>
                </c:pt>
                <c:pt idx="5">
                  <c:v>Av Price/Unit 10.15</c:v>
                </c:pt>
                <c:pt idx="6">
                  <c:v>Av Price/Unit 10.66</c:v>
                </c:pt>
                <c:pt idx="7">
                  <c:v>Av Price/Unit 24.83</c:v>
                </c:pt>
                <c:pt idx="8">
                  <c:v>Av Price/Unit 10.59</c:v>
                </c:pt>
                <c:pt idx="9">
                  <c:v>Av Price/Unit 12.48</c:v>
                </c:pt>
                <c:pt idx="10">
                  <c:v>Av Price/Unit 9.90</c:v>
                </c:pt>
                <c:pt idx="11">
                  <c:v>Av Price/Unit 12.90</c:v>
                </c:pt>
              </c:strCache>
            </c:strRef>
          </c:cat>
          <c:val>
            <c:numRef>
              <c:f>Sheet1!$E$2:$E$13</c:f>
              <c:numCache>
                <c:formatCode>General</c:formatCode>
                <c:ptCount val="12"/>
                <c:pt idx="0">
                  <c:v>1.9021503629075931</c:v>
                </c:pt>
                <c:pt idx="1">
                  <c:v>1.8761257573276555</c:v>
                </c:pt>
                <c:pt idx="2">
                  <c:v>2.251009778911564</c:v>
                </c:pt>
                <c:pt idx="3">
                  <c:v>2.30296439503786</c:v>
                </c:pt>
                <c:pt idx="4">
                  <c:v>1.6065416065416047</c:v>
                </c:pt>
                <c:pt idx="5">
                  <c:v>1.6911589008363201</c:v>
                </c:pt>
                <c:pt idx="6">
                  <c:v>1.7769784172661871</c:v>
                </c:pt>
                <c:pt idx="7">
                  <c:v>4.1381381381381352</c:v>
                </c:pt>
                <c:pt idx="8">
                  <c:v>1.7567049808429109</c:v>
                </c:pt>
                <c:pt idx="9">
                  <c:v>2.07936507936508</c:v>
                </c:pt>
                <c:pt idx="10">
                  <c:v>1.6501182033096933</c:v>
                </c:pt>
                <c:pt idx="11">
                  <c:v>2.14983164983165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11.43</c:v>
                </c:pt>
                <c:pt idx="1">
                  <c:v>Av Price/Unit 11.18</c:v>
                </c:pt>
                <c:pt idx="2">
                  <c:v>Av Price/Unit 13.46</c:v>
                </c:pt>
                <c:pt idx="3">
                  <c:v>Av Price/Unit 13.86</c:v>
                </c:pt>
                <c:pt idx="4">
                  <c:v>Av Price/Unit 9.65</c:v>
                </c:pt>
                <c:pt idx="5">
                  <c:v>Av Price/Unit 10.55</c:v>
                </c:pt>
                <c:pt idx="6">
                  <c:v>Av Price/Unit 10.16</c:v>
                </c:pt>
                <c:pt idx="7">
                  <c:v>Av Price/Unit 12.67</c:v>
                </c:pt>
                <c:pt idx="8">
                  <c:v>Av Price/Unit 25.15</c:v>
                </c:pt>
                <c:pt idx="9">
                  <c:v>Av Price/Unit 25.76</c:v>
                </c:pt>
              </c:strCache>
            </c:strRef>
          </c:cat>
          <c:val>
            <c:numRef>
              <c:f>Sheet1!$B$2:$B$11</c:f>
              <c:numCache>
                <c:formatCode>General</c:formatCode>
                <c:ptCount val="10"/>
                <c:pt idx="0">
                  <c:v>4.7433165127764649</c:v>
                </c:pt>
                <c:pt idx="1">
                  <c:v>4.6354265575261486</c:v>
                </c:pt>
                <c:pt idx="2">
                  <c:v>5.3705098550724637</c:v>
                </c:pt>
                <c:pt idx="3">
                  <c:v>5.6543565739225317</c:v>
                </c:pt>
                <c:pt idx="4">
                  <c:v>2.874483258594918</c:v>
                </c:pt>
                <c:pt idx="5">
                  <c:v>3.5545333333333331</c:v>
                </c:pt>
                <c:pt idx="6">
                  <c:v>4.3624999999999998</c:v>
                </c:pt>
                <c:pt idx="7">
                  <c:v>4.5266999999999999</c:v>
                </c:pt>
                <c:pt idx="8">
                  <c:v>9.201972277227723</c:v>
                </c:pt>
                <c:pt idx="9">
                  <c:v>9.423427631578945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11.43</c:v>
                </c:pt>
                <c:pt idx="1">
                  <c:v>Av Price/Unit 11.18</c:v>
                </c:pt>
                <c:pt idx="2">
                  <c:v>Av Price/Unit 13.46</c:v>
                </c:pt>
                <c:pt idx="3">
                  <c:v>Av Price/Unit 13.86</c:v>
                </c:pt>
                <c:pt idx="4">
                  <c:v>Av Price/Unit 9.65</c:v>
                </c:pt>
                <c:pt idx="5">
                  <c:v>Av Price/Unit 10.55</c:v>
                </c:pt>
                <c:pt idx="6">
                  <c:v>Av Price/Unit 10.16</c:v>
                </c:pt>
                <c:pt idx="7">
                  <c:v>Av Price/Unit 12.67</c:v>
                </c:pt>
                <c:pt idx="8">
                  <c:v>Av Price/Unit 25.15</c:v>
                </c:pt>
                <c:pt idx="9">
                  <c:v>Av Price/Unit 25.76</c:v>
                </c:pt>
              </c:strCache>
            </c:strRef>
          </c:cat>
          <c:val>
            <c:numRef>
              <c:f>Sheet1!$C$2:$C$11</c:f>
              <c:numCache>
                <c:formatCode>General</c:formatCode>
                <c:ptCount val="10"/>
                <c:pt idx="0">
                  <c:v>4.4543021258320801</c:v>
                </c:pt>
                <c:pt idx="1">
                  <c:v>4.4557745793542525</c:v>
                </c:pt>
                <c:pt idx="2">
                  <c:v>5.31927768115942</c:v>
                </c:pt>
                <c:pt idx="3">
                  <c:v>5.3111525913802504</c:v>
                </c:pt>
                <c:pt idx="4">
                  <c:v>5.1866965620328846</c:v>
                </c:pt>
                <c:pt idx="5">
                  <c:v>5.1954666666666665</c:v>
                </c:pt>
                <c:pt idx="6">
                  <c:v>4.1375000000000002</c:v>
                </c:pt>
                <c:pt idx="7">
                  <c:v>5.8899999999999988</c:v>
                </c:pt>
                <c:pt idx="8">
                  <c:v>9.7500000000000018</c:v>
                </c:pt>
                <c:pt idx="9">
                  <c:v>10.45770394736842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11.43</c:v>
                </c:pt>
                <c:pt idx="1">
                  <c:v>Av Price/Unit 11.18</c:v>
                </c:pt>
                <c:pt idx="2">
                  <c:v>Av Price/Unit 13.46</c:v>
                </c:pt>
                <c:pt idx="3">
                  <c:v>Av Price/Unit 13.86</c:v>
                </c:pt>
                <c:pt idx="4">
                  <c:v>Av Price/Unit 9.65</c:v>
                </c:pt>
                <c:pt idx="5">
                  <c:v>Av Price/Unit 10.55</c:v>
                </c:pt>
                <c:pt idx="6">
                  <c:v>Av Price/Unit 10.16</c:v>
                </c:pt>
                <c:pt idx="7">
                  <c:v>Av Price/Unit 12.67</c:v>
                </c:pt>
                <c:pt idx="8">
                  <c:v>Av Price/Unit 25.15</c:v>
                </c:pt>
                <c:pt idx="9">
                  <c:v>Av Price/Unit 25.76</c:v>
                </c:pt>
              </c:strCache>
            </c:strRef>
          </c:cat>
          <c:val>
            <c:numRef>
              <c:f>Sheet1!$D$2:$D$11</c:f>
              <c:numCache>
                <c:formatCode>General</c:formatCode>
                <c:ptCount val="10"/>
                <c:pt idx="0">
                  <c:v>0.32567962207429879</c:v>
                </c:pt>
                <c:pt idx="1">
                  <c:v>0.22879824162498075</c:v>
                </c:pt>
                <c:pt idx="2">
                  <c:v>0.53047078904991984</c:v>
                </c:pt>
                <c:pt idx="3">
                  <c:v>0.58659121658483393</c:v>
                </c:pt>
                <c:pt idx="4">
                  <c:v>-2.1194768310913048E-2</c:v>
                </c:pt>
                <c:pt idx="5">
                  <c:v>4.1666666666666075E-2</c:v>
                </c:pt>
                <c:pt idx="6">
                  <c:v>-4.4756179024714626E-2</c:v>
                </c:pt>
                <c:pt idx="7">
                  <c:v>0.14133571428571301</c:v>
                </c:pt>
                <c:pt idx="8">
                  <c:v>2.0051234323432325</c:v>
                </c:pt>
                <c:pt idx="9">
                  <c:v>1.588166666666669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11.43</c:v>
                </c:pt>
                <c:pt idx="1">
                  <c:v>Av Price/Unit 11.18</c:v>
                </c:pt>
                <c:pt idx="2">
                  <c:v>Av Price/Unit 13.46</c:v>
                </c:pt>
                <c:pt idx="3">
                  <c:v>Av Price/Unit 13.86</c:v>
                </c:pt>
                <c:pt idx="4">
                  <c:v>Av Price/Unit 9.65</c:v>
                </c:pt>
                <c:pt idx="5">
                  <c:v>Av Price/Unit 10.55</c:v>
                </c:pt>
                <c:pt idx="6">
                  <c:v>Av Price/Unit 10.16</c:v>
                </c:pt>
                <c:pt idx="7">
                  <c:v>Av Price/Unit 12.67</c:v>
                </c:pt>
                <c:pt idx="8">
                  <c:v>Av Price/Unit 25.15</c:v>
                </c:pt>
                <c:pt idx="9">
                  <c:v>Av Price/Unit 25.76</c:v>
                </c:pt>
              </c:strCache>
            </c:strRef>
          </c:cat>
          <c:val>
            <c:numRef>
              <c:f>Sheet1!$E$2:$E$11</c:f>
              <c:numCache>
                <c:formatCode>General</c:formatCode>
                <c:ptCount val="10"/>
                <c:pt idx="0">
                  <c:v>1.9046596521365671</c:v>
                </c:pt>
                <c:pt idx="1">
                  <c:v>1.8639912081249057</c:v>
                </c:pt>
                <c:pt idx="2">
                  <c:v>2.2440418679549103</c:v>
                </c:pt>
                <c:pt idx="3">
                  <c:v>2.3104200763775231</c:v>
                </c:pt>
                <c:pt idx="4">
                  <c:v>1.6079970104633783</c:v>
                </c:pt>
                <c:pt idx="5">
                  <c:v>1.7583333333333333</c:v>
                </c:pt>
                <c:pt idx="6">
                  <c:v>1.6910487641950562</c:v>
                </c:pt>
                <c:pt idx="7">
                  <c:v>2.1116071428571428</c:v>
                </c:pt>
                <c:pt idx="8">
                  <c:v>4.1914191419141931</c:v>
                </c:pt>
                <c:pt idx="9">
                  <c:v>4.2938596491228029</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1.10</c:v>
                </c:pt>
                <c:pt idx="1">
                  <c:v>Av Price/Unit 11.45</c:v>
                </c:pt>
                <c:pt idx="2">
                  <c:v>Av Price/Unit 9.64</c:v>
                </c:pt>
                <c:pt idx="3">
                  <c:v>Av Price/Unit 13.46</c:v>
                </c:pt>
                <c:pt idx="4">
                  <c:v>Av Price/Unit 13.87</c:v>
                </c:pt>
                <c:pt idx="5">
                  <c:v>Av Price/Unit 10.55</c:v>
                </c:pt>
                <c:pt idx="6">
                  <c:v>Av Price/Unit 12.53</c:v>
                </c:pt>
                <c:pt idx="7">
                  <c:v>Av Price/Unit 10.15</c:v>
                </c:pt>
                <c:pt idx="8">
                  <c:v>Av Price/Unit 10.70</c:v>
                </c:pt>
                <c:pt idx="9">
                  <c:v>Av Price/Unit 10.45</c:v>
                </c:pt>
                <c:pt idx="10">
                  <c:v>Av Price/Unit 9.73</c:v>
                </c:pt>
                <c:pt idx="11">
                  <c:v>Av Price/Unit 12.41</c:v>
                </c:pt>
              </c:strCache>
            </c:strRef>
          </c:cat>
          <c:val>
            <c:numRef>
              <c:f>Sheet1!$B$2:$B$13</c:f>
              <c:numCache>
                <c:formatCode>General</c:formatCode>
                <c:ptCount val="12"/>
                <c:pt idx="0">
                  <c:v>4.627658666666667</c:v>
                </c:pt>
                <c:pt idx="1">
                  <c:v>4.7500028552005444</c:v>
                </c:pt>
                <c:pt idx="2">
                  <c:v>2.8762188118811873</c:v>
                </c:pt>
                <c:pt idx="3">
                  <c:v>5.3617229166666682</c:v>
                </c:pt>
                <c:pt idx="4">
                  <c:v>5.6543345528455289</c:v>
                </c:pt>
                <c:pt idx="5">
                  <c:v>3.5546163967611335</c:v>
                </c:pt>
                <c:pt idx="6">
                  <c:v>4.5266999999999999</c:v>
                </c:pt>
                <c:pt idx="7">
                  <c:v>4.3624999999999998</c:v>
                </c:pt>
                <c:pt idx="8">
                  <c:v>3.1235257471264366</c:v>
                </c:pt>
                <c:pt idx="9">
                  <c:v>3.0666999999999995</c:v>
                </c:pt>
                <c:pt idx="10">
                  <c:v>2.8674518348623854</c:v>
                </c:pt>
                <c:pt idx="11">
                  <c:v>3.683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1.10</c:v>
                </c:pt>
                <c:pt idx="1">
                  <c:v>Av Price/Unit 11.45</c:v>
                </c:pt>
                <c:pt idx="2">
                  <c:v>Av Price/Unit 9.64</c:v>
                </c:pt>
                <c:pt idx="3">
                  <c:v>Av Price/Unit 13.46</c:v>
                </c:pt>
                <c:pt idx="4">
                  <c:v>Av Price/Unit 13.87</c:v>
                </c:pt>
                <c:pt idx="5">
                  <c:v>Av Price/Unit 10.55</c:v>
                </c:pt>
                <c:pt idx="6">
                  <c:v>Av Price/Unit 12.53</c:v>
                </c:pt>
                <c:pt idx="7">
                  <c:v>Av Price/Unit 10.15</c:v>
                </c:pt>
                <c:pt idx="8">
                  <c:v>Av Price/Unit 10.70</c:v>
                </c:pt>
                <c:pt idx="9">
                  <c:v>Av Price/Unit 10.45</c:v>
                </c:pt>
                <c:pt idx="10">
                  <c:v>Av Price/Unit 9.73</c:v>
                </c:pt>
                <c:pt idx="11">
                  <c:v>Av Price/Unit 12.41</c:v>
                </c:pt>
              </c:strCache>
            </c:strRef>
          </c:cat>
          <c:val>
            <c:numRef>
              <c:f>Sheet1!$C$2:$C$13</c:f>
              <c:numCache>
                <c:formatCode>General</c:formatCode>
                <c:ptCount val="12"/>
                <c:pt idx="0">
                  <c:v>4.4550426666666665</c:v>
                </c:pt>
                <c:pt idx="1">
                  <c:v>4.4609646498980284</c:v>
                </c:pt>
                <c:pt idx="2">
                  <c:v>5.1893005429575219</c:v>
                </c:pt>
                <c:pt idx="3">
                  <c:v>5.3155666666666672</c:v>
                </c:pt>
                <c:pt idx="4">
                  <c:v>5.3112178861788619</c:v>
                </c:pt>
                <c:pt idx="5">
                  <c:v>5.1953836032388665</c:v>
                </c:pt>
                <c:pt idx="6">
                  <c:v>5.8899999999999988</c:v>
                </c:pt>
                <c:pt idx="7">
                  <c:v>4.1375000000000002</c:v>
                </c:pt>
                <c:pt idx="8">
                  <c:v>5.7462068965517243</c:v>
                </c:pt>
                <c:pt idx="9">
                  <c:v>5.6</c:v>
                </c:pt>
                <c:pt idx="10">
                  <c:v>5.1761467889908248</c:v>
                </c:pt>
                <c:pt idx="11">
                  <c:v>6.399999999999998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1.10</c:v>
                </c:pt>
                <c:pt idx="1">
                  <c:v>Av Price/Unit 11.45</c:v>
                </c:pt>
                <c:pt idx="2">
                  <c:v>Av Price/Unit 9.64</c:v>
                </c:pt>
                <c:pt idx="3">
                  <c:v>Av Price/Unit 13.46</c:v>
                </c:pt>
                <c:pt idx="4">
                  <c:v>Av Price/Unit 13.87</c:v>
                </c:pt>
                <c:pt idx="5">
                  <c:v>Av Price/Unit 10.55</c:v>
                </c:pt>
                <c:pt idx="6">
                  <c:v>Av Price/Unit 12.53</c:v>
                </c:pt>
                <c:pt idx="7">
                  <c:v>Av Price/Unit 10.15</c:v>
                </c:pt>
                <c:pt idx="8">
                  <c:v>Av Price/Unit 10.70</c:v>
                </c:pt>
                <c:pt idx="9">
                  <c:v>Av Price/Unit 10.45</c:v>
                </c:pt>
                <c:pt idx="10">
                  <c:v>Av Price/Unit 9.73</c:v>
                </c:pt>
                <c:pt idx="11">
                  <c:v>Av Price/Unit 12.41</c:v>
                </c:pt>
              </c:strCache>
            </c:strRef>
          </c:cat>
          <c:val>
            <c:numRef>
              <c:f>Sheet1!$D$2:$D$13</c:f>
              <c:numCache>
                <c:formatCode>General</c:formatCode>
                <c:ptCount val="12"/>
                <c:pt idx="0">
                  <c:v>0.16456155555555441</c:v>
                </c:pt>
                <c:pt idx="1">
                  <c:v>0.33204933907394896</c:v>
                </c:pt>
                <c:pt idx="2">
                  <c:v>-2.9481880123494619E-2</c:v>
                </c:pt>
                <c:pt idx="3">
                  <c:v>0.54258306878307039</c:v>
                </c:pt>
                <c:pt idx="4">
                  <c:v>0.58932560975609682</c:v>
                </c:pt>
                <c:pt idx="5">
                  <c:v>4.4703103913631637E-2</c:v>
                </c:pt>
                <c:pt idx="6">
                  <c:v>2.2781268011529576E-2</c:v>
                </c:pt>
                <c:pt idx="7">
                  <c:v>-5.120481927710685E-2</c:v>
                </c:pt>
                <c:pt idx="8">
                  <c:v>4.4060459770113525E-2</c:v>
                </c:pt>
                <c:pt idx="9">
                  <c:v>2.6345563549162065E-2</c:v>
                </c:pt>
                <c:pt idx="10">
                  <c:v>6.6110856269114393E-2</c:v>
                </c:pt>
                <c:pt idx="11">
                  <c:v>0.2550838383838396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1.10</c:v>
                </c:pt>
                <c:pt idx="1">
                  <c:v>Av Price/Unit 11.45</c:v>
                </c:pt>
                <c:pt idx="2">
                  <c:v>Av Price/Unit 9.64</c:v>
                </c:pt>
                <c:pt idx="3">
                  <c:v>Av Price/Unit 13.46</c:v>
                </c:pt>
                <c:pt idx="4">
                  <c:v>Av Price/Unit 13.87</c:v>
                </c:pt>
                <c:pt idx="5">
                  <c:v>Av Price/Unit 10.55</c:v>
                </c:pt>
                <c:pt idx="6">
                  <c:v>Av Price/Unit 12.53</c:v>
                </c:pt>
                <c:pt idx="7">
                  <c:v>Av Price/Unit 10.15</c:v>
                </c:pt>
                <c:pt idx="8">
                  <c:v>Av Price/Unit 10.70</c:v>
                </c:pt>
                <c:pt idx="9">
                  <c:v>Av Price/Unit 10.45</c:v>
                </c:pt>
                <c:pt idx="10">
                  <c:v>Av Price/Unit 9.73</c:v>
                </c:pt>
                <c:pt idx="11">
                  <c:v>Av Price/Unit 12.41</c:v>
                </c:pt>
              </c:strCache>
            </c:strRef>
          </c:cat>
          <c:val>
            <c:numRef>
              <c:f>Sheet1!$E$2:$E$13</c:f>
              <c:numCache>
                <c:formatCode>General</c:formatCode>
                <c:ptCount val="12"/>
                <c:pt idx="0">
                  <c:v>1.8494444444444433</c:v>
                </c:pt>
                <c:pt idx="1">
                  <c:v>1.9086033688345052</c:v>
                </c:pt>
                <c:pt idx="2">
                  <c:v>1.6072074949430419</c:v>
                </c:pt>
                <c:pt idx="3">
                  <c:v>2.2439649470899465</c:v>
                </c:pt>
                <c:pt idx="4">
                  <c:v>2.3109756097560976</c:v>
                </c:pt>
                <c:pt idx="5">
                  <c:v>1.7589406207827247</c:v>
                </c:pt>
                <c:pt idx="6">
                  <c:v>2.0878962536023029</c:v>
                </c:pt>
                <c:pt idx="7">
                  <c:v>1.6897590361445769</c:v>
                </c:pt>
                <c:pt idx="8">
                  <c:v>1.7827586206896562</c:v>
                </c:pt>
                <c:pt idx="9">
                  <c:v>1.7386091127098311</c:v>
                </c:pt>
                <c:pt idx="10">
                  <c:v>1.6219418960244645</c:v>
                </c:pt>
                <c:pt idx="11">
                  <c:v>2.067676767676765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17.41</c:v>
                </c:pt>
                <c:pt idx="1">
                  <c:v>Av Price/Unit 9.25</c:v>
                </c:pt>
                <c:pt idx="2">
                  <c:v>Av Price/Unit 10.56</c:v>
                </c:pt>
                <c:pt idx="3">
                  <c:v>Av Price/Unit 24.57</c:v>
                </c:pt>
                <c:pt idx="4">
                  <c:v>Av Price/Unit 12.28</c:v>
                </c:pt>
                <c:pt idx="5">
                  <c:v>Av Price/Unit 13.85</c:v>
                </c:pt>
                <c:pt idx="6">
                  <c:v>Av Price/Unit 9.09</c:v>
                </c:pt>
                <c:pt idx="7">
                  <c:v>Av Price/Unit 10.53</c:v>
                </c:pt>
                <c:pt idx="8">
                  <c:v>Av Price/Unit 21.29</c:v>
                </c:pt>
              </c:strCache>
            </c:strRef>
          </c:cat>
          <c:val>
            <c:numRef>
              <c:f>Sheet1!$B$2:$B$10</c:f>
              <c:numCache>
                <c:formatCode>General</c:formatCode>
                <c:ptCount val="9"/>
                <c:pt idx="0">
                  <c:v>6.4766898572501859</c:v>
                </c:pt>
                <c:pt idx="1">
                  <c:v>2.6535168078392282</c:v>
                </c:pt>
                <c:pt idx="2">
                  <c:v>3.0344125683060104</c:v>
                </c:pt>
                <c:pt idx="3">
                  <c:v>6.9413218750000043</c:v>
                </c:pt>
                <c:pt idx="4">
                  <c:v>3.4000000000000008</c:v>
                </c:pt>
                <c:pt idx="5">
                  <c:v>4.4777999999999993</c:v>
                </c:pt>
                <c:pt idx="6">
                  <c:v>2.6827000000000005</c:v>
                </c:pt>
                <c:pt idx="7">
                  <c:v>3.0515833333333324</c:v>
                </c:pt>
                <c:pt idx="8">
                  <c:v>5.89273224299065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17.41</c:v>
                </c:pt>
                <c:pt idx="1">
                  <c:v>Av Price/Unit 9.25</c:v>
                </c:pt>
                <c:pt idx="2">
                  <c:v>Av Price/Unit 10.56</c:v>
                </c:pt>
                <c:pt idx="3">
                  <c:v>Av Price/Unit 24.57</c:v>
                </c:pt>
                <c:pt idx="4">
                  <c:v>Av Price/Unit 12.28</c:v>
                </c:pt>
                <c:pt idx="5">
                  <c:v>Av Price/Unit 13.85</c:v>
                </c:pt>
                <c:pt idx="6">
                  <c:v>Av Price/Unit 9.09</c:v>
                </c:pt>
                <c:pt idx="7">
                  <c:v>Av Price/Unit 10.53</c:v>
                </c:pt>
                <c:pt idx="8">
                  <c:v>Av Price/Unit 21.29</c:v>
                </c:pt>
              </c:strCache>
            </c:strRef>
          </c:cat>
          <c:val>
            <c:numRef>
              <c:f>Sheet1!$C$2:$C$10</c:f>
              <c:numCache>
                <c:formatCode>General</c:formatCode>
                <c:ptCount val="9"/>
                <c:pt idx="0">
                  <c:v>7.6266133734034556</c:v>
                </c:pt>
                <c:pt idx="1">
                  <c:v>4.9564191994685274</c:v>
                </c:pt>
                <c:pt idx="2">
                  <c:v>5.4893989071038245</c:v>
                </c:pt>
                <c:pt idx="3">
                  <c:v>12.716464843750007</c:v>
                </c:pt>
                <c:pt idx="4">
                  <c:v>6.6</c:v>
                </c:pt>
                <c:pt idx="5">
                  <c:v>6.6333000000000011</c:v>
                </c:pt>
                <c:pt idx="6">
                  <c:v>4.4340000000000011</c:v>
                </c:pt>
                <c:pt idx="7">
                  <c:v>5.3890909090909087</c:v>
                </c:pt>
                <c:pt idx="8">
                  <c:v>10.96407710280373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17.41</c:v>
                </c:pt>
                <c:pt idx="1">
                  <c:v>Av Price/Unit 9.25</c:v>
                </c:pt>
                <c:pt idx="2">
                  <c:v>Av Price/Unit 10.56</c:v>
                </c:pt>
                <c:pt idx="3">
                  <c:v>Av Price/Unit 24.57</c:v>
                </c:pt>
                <c:pt idx="4">
                  <c:v>Av Price/Unit 12.28</c:v>
                </c:pt>
                <c:pt idx="5">
                  <c:v>Av Price/Unit 13.85</c:v>
                </c:pt>
                <c:pt idx="6">
                  <c:v>Av Price/Unit 9.09</c:v>
                </c:pt>
                <c:pt idx="7">
                  <c:v>Av Price/Unit 10.53</c:v>
                </c:pt>
                <c:pt idx="8">
                  <c:v>Av Price/Unit 21.29</c:v>
                </c:pt>
              </c:strCache>
            </c:strRef>
          </c:cat>
          <c:val>
            <c:numRef>
              <c:f>Sheet1!$D$2:$D$10</c:f>
              <c:numCache>
                <c:formatCode>General</c:formatCode>
                <c:ptCount val="9"/>
                <c:pt idx="0">
                  <c:v>0.40572037315302012</c:v>
                </c:pt>
                <c:pt idx="1">
                  <c:v>9.6009848862317781E-2</c:v>
                </c:pt>
                <c:pt idx="2">
                  <c:v>0.27270166536559337</c:v>
                </c:pt>
                <c:pt idx="3">
                  <c:v>0.81747369791666458</c:v>
                </c:pt>
                <c:pt idx="4">
                  <c:v>0.17892156862745345</c:v>
                </c:pt>
                <c:pt idx="5">
                  <c:v>0.40778341543514074</c:v>
                </c:pt>
                <c:pt idx="6">
                  <c:v>0.39837675438596243</c:v>
                </c:pt>
                <c:pt idx="7">
                  <c:v>0.33638203463203276</c:v>
                </c:pt>
                <c:pt idx="8">
                  <c:v>0.8807295950155662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17.41</c:v>
                </c:pt>
                <c:pt idx="1">
                  <c:v>Av Price/Unit 9.25</c:v>
                </c:pt>
                <c:pt idx="2">
                  <c:v>Av Price/Unit 10.56</c:v>
                </c:pt>
                <c:pt idx="3">
                  <c:v>Av Price/Unit 24.57</c:v>
                </c:pt>
                <c:pt idx="4">
                  <c:v>Av Price/Unit 12.28</c:v>
                </c:pt>
                <c:pt idx="5">
                  <c:v>Av Price/Unit 13.85</c:v>
                </c:pt>
                <c:pt idx="6">
                  <c:v>Av Price/Unit 9.09</c:v>
                </c:pt>
                <c:pt idx="7">
                  <c:v>Av Price/Unit 10.53</c:v>
                </c:pt>
                <c:pt idx="8">
                  <c:v>Av Price/Unit 21.29</c:v>
                </c:pt>
              </c:strCache>
            </c:strRef>
          </c:cat>
          <c:val>
            <c:numRef>
              <c:f>Sheet1!$E$2:$E$10</c:f>
              <c:numCache>
                <c:formatCode>General</c:formatCode>
                <c:ptCount val="9"/>
                <c:pt idx="0">
                  <c:v>2.9018047207613313</c:v>
                </c:pt>
                <c:pt idx="1">
                  <c:v>1.5411891712340131</c:v>
                </c:pt>
                <c:pt idx="2">
                  <c:v>1.759302628155091</c:v>
                </c:pt>
                <c:pt idx="3">
                  <c:v>4.0950520833333357</c:v>
                </c:pt>
                <c:pt idx="4">
                  <c:v>2.0357843137254883</c:v>
                </c:pt>
                <c:pt idx="5">
                  <c:v>2.3037766830870248</c:v>
                </c:pt>
                <c:pt idx="6">
                  <c:v>1.503015350877194</c:v>
                </c:pt>
                <c:pt idx="7">
                  <c:v>1.7554112554112553</c:v>
                </c:pt>
                <c:pt idx="8">
                  <c:v>3.547507788161999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006C6D"/>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A4A0E208-2CF5-4B79-AD11-135A670F96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D68CFDC5-D1FF-4479-B070-0D00B31B7A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602E7B9-48B5-45A4-B7F6-50AE141467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9F098FC7-B4E2-4D28-87D3-026EC39816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74084F6C-CEBE-4944-A17C-D765C0E5AB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AD266E26-CC94-4FA5-A892-2EC10880DB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8F82EF20-208E-401F-A766-BE18C6DEAF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EA01119E-3C59-4E0A-942F-F49FAF1E75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8.828099999999999</c:v>
                </c:pt>
                <c:pt idx="1">
                  <c:v>18.767900000000001</c:v>
                </c:pt>
                <c:pt idx="2">
                  <c:v>13.389799999999999</c:v>
                </c:pt>
                <c:pt idx="3">
                  <c:v>18.630199999999999</c:v>
                </c:pt>
                <c:pt idx="4">
                  <c:v>18.8506</c:v>
                </c:pt>
              </c:numCache>
            </c:numRef>
          </c:xVal>
          <c:yVal>
            <c:numRef>
              <c:f>Sheet1!$B$2:$B$6</c:f>
              <c:numCache>
                <c:formatCode>General</c:formatCode>
                <c:ptCount val="5"/>
                <c:pt idx="0">
                  <c:v>0.4587</c:v>
                </c:pt>
                <c:pt idx="1">
                  <c:v>0.46</c:v>
                </c:pt>
                <c:pt idx="2">
                  <c:v>0.38740000000000002</c:v>
                </c:pt>
                <c:pt idx="3">
                  <c:v>0.46050000000000002</c:v>
                </c:pt>
                <c:pt idx="4">
                  <c:v>0.45979999999999999</c:v>
                </c:pt>
              </c:numCache>
            </c:numRef>
          </c:yVal>
          <c:bubbleSize>
            <c:numRef>
              <c:f>Sheet1!$C$2:$C$6</c:f>
              <c:numCache>
                <c:formatCode>General</c:formatCode>
                <c:ptCount val="5"/>
                <c:pt idx="0">
                  <c:v>193138.84959999999</c:v>
                </c:pt>
                <c:pt idx="1">
                  <c:v>17829.537</c:v>
                </c:pt>
                <c:pt idx="2">
                  <c:v>132157.54399999999</c:v>
                </c:pt>
                <c:pt idx="3">
                  <c:v>11215.4048</c:v>
                </c:pt>
                <c:pt idx="4">
                  <c:v>7747.6084000000001</c:v>
                </c:pt>
              </c:numCache>
            </c:numRef>
          </c:bubbleSize>
          <c:bubble3D val="0"/>
          <c:extLst>
            <c:ext xmlns:c15="http://schemas.microsoft.com/office/drawing/2012/chart" uri="{02D57815-91ED-43cb-92C2-25804820EDAC}">
              <c15:datalabelsRange>
                <c15:f>Sheet1!$E$2:$E$29</c15:f>
                <c15:dlblRangeCache>
                  <c:ptCount val="28"/>
                  <c:pt idx="0">
                    <c:v>NICOLAS IDF</c:v>
                  </c:pt>
                  <c:pt idx="1">
                    <c:v>NICOLAS PAC</c:v>
                  </c:pt>
                  <c:pt idx="2">
                    <c:v>NICOLAS EST</c:v>
                  </c:pt>
                  <c:pt idx="3">
                    <c:v>NICOLAS RHO</c:v>
                  </c:pt>
                  <c:pt idx="4">
                    <c:v>NICOLAS AQU</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2.620719999999999"/>
          <c:min val="10.71184"/>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281977208451838"/>
        <c:crossBetween val="midCat"/>
      </c:valAx>
      <c:valAx>
        <c:axId val="1011451359"/>
        <c:scaling>
          <c:orientation val="minMax"/>
          <c:max val="0.91259999999999986"/>
          <c:min val="6.9920000000000024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6.83458175139469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7.41</c:v>
                </c:pt>
              </c:strCache>
            </c:strRef>
          </c:cat>
          <c:val>
            <c:numRef>
              <c:f>Sheet1!$B$2:$B$2</c:f>
              <c:numCache>
                <c:formatCode>General</c:formatCode>
                <c:ptCount val="1"/>
                <c:pt idx="0">
                  <c:v>6.477318119536971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7.41</c:v>
                </c:pt>
              </c:strCache>
            </c:strRef>
          </c:cat>
          <c:val>
            <c:numRef>
              <c:f>Sheet1!$C$2:$C$2</c:f>
              <c:numCache>
                <c:formatCode>General</c:formatCode>
                <c:ptCount val="1"/>
                <c:pt idx="0">
                  <c:v>7.619035010630757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7.41</c:v>
                </c:pt>
              </c:strCache>
            </c:strRef>
          </c:cat>
          <c:val>
            <c:numRef>
              <c:f>Sheet1!$D$2:$D$2</c:f>
              <c:numCache>
                <c:formatCode>General</c:formatCode>
                <c:ptCount val="1"/>
                <c:pt idx="0">
                  <c:v>0.4132539255059501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7.41</c:v>
                </c:pt>
              </c:strCache>
            </c:strRef>
          </c:cat>
          <c:val>
            <c:numRef>
              <c:f>Sheet1!$E$2:$E$2</c:f>
              <c:numCache>
                <c:formatCode>General</c:formatCode>
                <c:ptCount val="1"/>
                <c:pt idx="0">
                  <c:v>2.90192141113473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17.39</c:v>
                </c:pt>
                <c:pt idx="1">
                  <c:v>Av Price/Unit 9.24</c:v>
                </c:pt>
                <c:pt idx="2">
                  <c:v>Av Price/Unit 24.02</c:v>
                </c:pt>
                <c:pt idx="3">
                  <c:v>Av Price/Unit 10.40</c:v>
                </c:pt>
                <c:pt idx="4">
                  <c:v>Av Price/Unit 12.12</c:v>
                </c:pt>
                <c:pt idx="5">
                  <c:v>Av Price/Unit 13.74</c:v>
                </c:pt>
                <c:pt idx="6">
                  <c:v>Av Price/Unit 10.42</c:v>
                </c:pt>
                <c:pt idx="7">
                  <c:v>Av Price/Unit 21.62</c:v>
                </c:pt>
              </c:strCache>
            </c:strRef>
          </c:cat>
          <c:val>
            <c:numRef>
              <c:f>Sheet1!$B$2:$B$9</c:f>
              <c:numCache>
                <c:formatCode>General</c:formatCode>
                <c:ptCount val="8"/>
                <c:pt idx="0">
                  <c:v>6.4753900556881465</c:v>
                </c:pt>
                <c:pt idx="1">
                  <c:v>2.6524196428571427</c:v>
                </c:pt>
                <c:pt idx="2">
                  <c:v>6.9413455284552823</c:v>
                </c:pt>
                <c:pt idx="3">
                  <c:v>3.0324610972568573</c:v>
                </c:pt>
                <c:pt idx="4">
                  <c:v>3.3999999999999995</c:v>
                </c:pt>
                <c:pt idx="5">
                  <c:v>4.4778000000000011</c:v>
                </c:pt>
                <c:pt idx="6">
                  <c:v>3.0678810975609752</c:v>
                </c:pt>
                <c:pt idx="7">
                  <c:v>5.894530379746835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17.39</c:v>
                </c:pt>
                <c:pt idx="1">
                  <c:v>Av Price/Unit 9.24</c:v>
                </c:pt>
                <c:pt idx="2">
                  <c:v>Av Price/Unit 24.02</c:v>
                </c:pt>
                <c:pt idx="3">
                  <c:v>Av Price/Unit 10.40</c:v>
                </c:pt>
                <c:pt idx="4">
                  <c:v>Av Price/Unit 12.12</c:v>
                </c:pt>
                <c:pt idx="5">
                  <c:v>Av Price/Unit 13.74</c:v>
                </c:pt>
                <c:pt idx="6">
                  <c:v>Av Price/Unit 10.42</c:v>
                </c:pt>
                <c:pt idx="7">
                  <c:v>Av Price/Unit 21.62</c:v>
                </c:pt>
              </c:strCache>
            </c:strRef>
          </c:cat>
          <c:val>
            <c:numRef>
              <c:f>Sheet1!$C$2:$C$9</c:f>
              <c:numCache>
                <c:formatCode>General</c:formatCode>
                <c:ptCount val="8"/>
                <c:pt idx="0">
                  <c:v>7.642292124105011</c:v>
                </c:pt>
                <c:pt idx="1">
                  <c:v>4.952792207792208</c:v>
                </c:pt>
                <c:pt idx="2">
                  <c:v>12.716504065040649</c:v>
                </c:pt>
                <c:pt idx="3">
                  <c:v>5.4873316708229432</c:v>
                </c:pt>
                <c:pt idx="4">
                  <c:v>6.6</c:v>
                </c:pt>
                <c:pt idx="5">
                  <c:v>6.6333000000000011</c:v>
                </c:pt>
                <c:pt idx="6">
                  <c:v>5.4153658536585363</c:v>
                </c:pt>
                <c:pt idx="7">
                  <c:v>10.96677215189873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17.39</c:v>
                </c:pt>
                <c:pt idx="1">
                  <c:v>Av Price/Unit 9.24</c:v>
                </c:pt>
                <c:pt idx="2">
                  <c:v>Av Price/Unit 24.02</c:v>
                </c:pt>
                <c:pt idx="3">
                  <c:v>Av Price/Unit 10.40</c:v>
                </c:pt>
                <c:pt idx="4">
                  <c:v>Av Price/Unit 12.12</c:v>
                </c:pt>
                <c:pt idx="5">
                  <c:v>Av Price/Unit 13.74</c:v>
                </c:pt>
                <c:pt idx="6">
                  <c:v>Av Price/Unit 10.42</c:v>
                </c:pt>
                <c:pt idx="7">
                  <c:v>Av Price/Unit 21.62</c:v>
                </c:pt>
              </c:strCache>
            </c:strRef>
          </c:cat>
          <c:val>
            <c:numRef>
              <c:f>Sheet1!$D$2:$D$9</c:f>
              <c:numCache>
                <c:formatCode>General</c:formatCode>
                <c:ptCount val="8"/>
                <c:pt idx="0">
                  <c:v>0.37250609917793653</c:v>
                </c:pt>
                <c:pt idx="1">
                  <c:v>9.2975378787880203E-2</c:v>
                </c:pt>
                <c:pt idx="2">
                  <c:v>0.35570054200542245</c:v>
                </c:pt>
                <c:pt idx="3">
                  <c:v>0.14396450540315797</c:v>
                </c:pt>
                <c:pt idx="4">
                  <c:v>7.3800738007381739E-2</c:v>
                </c:pt>
                <c:pt idx="5">
                  <c:v>0.33210297951582923</c:v>
                </c:pt>
                <c:pt idx="6">
                  <c:v>0.20069613821138255</c:v>
                </c:pt>
                <c:pt idx="7">
                  <c:v>1.155575105485233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17.39</c:v>
                </c:pt>
                <c:pt idx="1">
                  <c:v>Av Price/Unit 9.24</c:v>
                </c:pt>
                <c:pt idx="2">
                  <c:v>Av Price/Unit 24.02</c:v>
                </c:pt>
                <c:pt idx="3">
                  <c:v>Av Price/Unit 10.40</c:v>
                </c:pt>
                <c:pt idx="4">
                  <c:v>Av Price/Unit 12.12</c:v>
                </c:pt>
                <c:pt idx="5">
                  <c:v>Av Price/Unit 13.74</c:v>
                </c:pt>
                <c:pt idx="6">
                  <c:v>Av Price/Unit 10.42</c:v>
                </c:pt>
                <c:pt idx="7">
                  <c:v>Av Price/Unit 21.62</c:v>
                </c:pt>
              </c:strCache>
            </c:strRef>
          </c:cat>
          <c:val>
            <c:numRef>
              <c:f>Sheet1!$E$2:$E$9</c:f>
              <c:numCache>
                <c:formatCode>General</c:formatCode>
                <c:ptCount val="8"/>
                <c:pt idx="0">
                  <c:v>2.898037655794218</c:v>
                </c:pt>
                <c:pt idx="1">
                  <c:v>1.5396374458874449</c:v>
                </c:pt>
                <c:pt idx="2">
                  <c:v>4.0027100271002682</c:v>
                </c:pt>
                <c:pt idx="3">
                  <c:v>1.7327514546965912</c:v>
                </c:pt>
                <c:pt idx="4">
                  <c:v>2.0147601476014745</c:v>
                </c:pt>
                <c:pt idx="5">
                  <c:v>2.288640595903165</c:v>
                </c:pt>
                <c:pt idx="6">
                  <c:v>1.7367886178861771</c:v>
                </c:pt>
                <c:pt idx="7">
                  <c:v>3.603375527426161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17.38</c:v>
                </c:pt>
                <c:pt idx="1">
                  <c:v>Av Price/Unit 9.21</c:v>
                </c:pt>
                <c:pt idx="2">
                  <c:v>Av Price/Unit 10.43</c:v>
                </c:pt>
                <c:pt idx="3">
                  <c:v>Av Price/Unit 24.45</c:v>
                </c:pt>
                <c:pt idx="4">
                  <c:v>Av Price/Unit 13.76</c:v>
                </c:pt>
                <c:pt idx="5">
                  <c:v>Av Price/Unit 10.44</c:v>
                </c:pt>
                <c:pt idx="6">
                  <c:v>Av Price/Unit 21.03</c:v>
                </c:pt>
              </c:strCache>
            </c:strRef>
          </c:cat>
          <c:val>
            <c:numRef>
              <c:f>Sheet1!$B$2:$B$8</c:f>
              <c:numCache>
                <c:formatCode>General</c:formatCode>
                <c:ptCount val="7"/>
                <c:pt idx="0">
                  <c:v>6.4760469245339465</c:v>
                </c:pt>
                <c:pt idx="1">
                  <c:v>2.6530716323961396</c:v>
                </c:pt>
                <c:pt idx="2">
                  <c:v>3.0341470588235286</c:v>
                </c:pt>
                <c:pt idx="3">
                  <c:v>6.9439782608695646</c:v>
                </c:pt>
                <c:pt idx="4">
                  <c:v>4.4778000000000002</c:v>
                </c:pt>
                <c:pt idx="5">
                  <c:v>3.0503749999999998</c:v>
                </c:pt>
                <c:pt idx="6">
                  <c:v>5.896706849315068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17.38</c:v>
                </c:pt>
                <c:pt idx="1">
                  <c:v>Av Price/Unit 9.21</c:v>
                </c:pt>
                <c:pt idx="2">
                  <c:v>Av Price/Unit 10.43</c:v>
                </c:pt>
                <c:pt idx="3">
                  <c:v>Av Price/Unit 24.45</c:v>
                </c:pt>
                <c:pt idx="4">
                  <c:v>Av Price/Unit 13.76</c:v>
                </c:pt>
                <c:pt idx="5">
                  <c:v>Av Price/Unit 10.44</c:v>
                </c:pt>
                <c:pt idx="6">
                  <c:v>Av Price/Unit 21.03</c:v>
                </c:pt>
              </c:strCache>
            </c:strRef>
          </c:cat>
          <c:val>
            <c:numRef>
              <c:f>Sheet1!$C$2:$C$8</c:f>
              <c:numCache>
                <c:formatCode>General</c:formatCode>
                <c:ptCount val="7"/>
                <c:pt idx="0">
                  <c:v>7.6343686970391786</c:v>
                </c:pt>
                <c:pt idx="1">
                  <c:v>4.9549475451112039</c:v>
                </c:pt>
                <c:pt idx="2">
                  <c:v>5.4891176470588228</c:v>
                </c:pt>
                <c:pt idx="3">
                  <c:v>12.720869565217395</c:v>
                </c:pt>
                <c:pt idx="4">
                  <c:v>6.6333000000000002</c:v>
                </c:pt>
                <c:pt idx="5">
                  <c:v>5.387142857142857</c:v>
                </c:pt>
                <c:pt idx="6">
                  <c:v>10.97003424657534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17.38</c:v>
                </c:pt>
                <c:pt idx="1">
                  <c:v>Av Price/Unit 9.21</c:v>
                </c:pt>
                <c:pt idx="2">
                  <c:v>Av Price/Unit 10.43</c:v>
                </c:pt>
                <c:pt idx="3">
                  <c:v>Av Price/Unit 24.45</c:v>
                </c:pt>
                <c:pt idx="4">
                  <c:v>Av Price/Unit 13.76</c:v>
                </c:pt>
                <c:pt idx="5">
                  <c:v>Av Price/Unit 10.44</c:v>
                </c:pt>
                <c:pt idx="6">
                  <c:v>Av Price/Unit 21.03</c:v>
                </c:pt>
              </c:strCache>
            </c:strRef>
          </c:cat>
          <c:val>
            <c:numRef>
              <c:f>Sheet1!$D$2:$D$8</c:f>
              <c:numCache>
                <c:formatCode>General</c:formatCode>
                <c:ptCount val="7"/>
                <c:pt idx="0">
                  <c:v>0.37609286877347081</c:v>
                </c:pt>
                <c:pt idx="1">
                  <c:v>6.7529850328717167E-2</c:v>
                </c:pt>
                <c:pt idx="2">
                  <c:v>0.1643467023172871</c:v>
                </c:pt>
                <c:pt idx="3">
                  <c:v>0.70954830917873934</c:v>
                </c:pt>
                <c:pt idx="4">
                  <c:v>0.35948823529411733</c:v>
                </c:pt>
                <c:pt idx="5">
                  <c:v>0.26287896825396828</c:v>
                </c:pt>
                <c:pt idx="6">
                  <c:v>0.6560899543379008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17.38</c:v>
                </c:pt>
                <c:pt idx="1">
                  <c:v>Av Price/Unit 9.21</c:v>
                </c:pt>
                <c:pt idx="2">
                  <c:v>Av Price/Unit 10.43</c:v>
                </c:pt>
                <c:pt idx="3">
                  <c:v>Av Price/Unit 24.45</c:v>
                </c:pt>
                <c:pt idx="4">
                  <c:v>Av Price/Unit 13.76</c:v>
                </c:pt>
                <c:pt idx="5">
                  <c:v>Av Price/Unit 10.44</c:v>
                </c:pt>
                <c:pt idx="6">
                  <c:v>Av Price/Unit 21.03</c:v>
                </c:pt>
              </c:strCache>
            </c:strRef>
          </c:cat>
          <c:val>
            <c:numRef>
              <c:f>Sheet1!$E$2:$E$8</c:f>
              <c:numCache>
                <c:formatCode>General</c:formatCode>
                <c:ptCount val="7"/>
                <c:pt idx="0">
                  <c:v>2.8973016980693167</c:v>
                </c:pt>
                <c:pt idx="1">
                  <c:v>1.5351098055672128</c:v>
                </c:pt>
                <c:pt idx="2">
                  <c:v>1.7375222816399292</c:v>
                </c:pt>
                <c:pt idx="3">
                  <c:v>4.0748792270531409</c:v>
                </c:pt>
                <c:pt idx="4">
                  <c:v>2.2941176470588234</c:v>
                </c:pt>
                <c:pt idx="5">
                  <c:v>1.7400793650793647</c:v>
                </c:pt>
                <c:pt idx="6">
                  <c:v>3.5045662100456609</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7.45</c:v>
                </c:pt>
              </c:strCache>
            </c:strRef>
          </c:cat>
          <c:val>
            <c:numRef>
              <c:f>Sheet1!$B$2:$B$2</c:f>
              <c:numCache>
                <c:formatCode>General</c:formatCode>
                <c:ptCount val="1"/>
                <c:pt idx="0">
                  <c:v>6.47377786970010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7.45</c:v>
                </c:pt>
              </c:strCache>
            </c:strRef>
          </c:cat>
          <c:val>
            <c:numRef>
              <c:f>Sheet1!$C$2:$C$2</c:f>
              <c:numCache>
                <c:formatCode>General</c:formatCode>
                <c:ptCount val="1"/>
                <c:pt idx="0">
                  <c:v>7.661738986556360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7.45</c:v>
                </c:pt>
              </c:strCache>
            </c:strRef>
          </c:cat>
          <c:val>
            <c:numRef>
              <c:f>Sheet1!$D$2:$D$2</c:f>
              <c:numCache>
                <c:formatCode>General</c:formatCode>
                <c:ptCount val="1"/>
                <c:pt idx="0">
                  <c:v>0.4094676318510863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7.45</c:v>
                </c:pt>
              </c:strCache>
            </c:strRef>
          </c:cat>
          <c:val>
            <c:numRef>
              <c:f>Sheet1!$E$2:$E$2</c:f>
              <c:numCache>
                <c:formatCode>General</c:formatCode>
                <c:ptCount val="1"/>
                <c:pt idx="0">
                  <c:v>2.908996897621509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7.47</c:v>
                </c:pt>
                <c:pt idx="1">
                  <c:v>Av Price/Unit 9.25</c:v>
                </c:pt>
                <c:pt idx="2">
                  <c:v>Av Price/Unit 8.98</c:v>
                </c:pt>
                <c:pt idx="3">
                  <c:v>Av Price/Unit 25.28</c:v>
                </c:pt>
                <c:pt idx="4">
                  <c:v>Av Price/Unit 10.75</c:v>
                </c:pt>
              </c:strCache>
            </c:strRef>
          </c:cat>
          <c:val>
            <c:numRef>
              <c:f>Sheet1!$B$2:$B$6</c:f>
              <c:numCache>
                <c:formatCode>General</c:formatCode>
                <c:ptCount val="5"/>
                <c:pt idx="0">
                  <c:v>6.4833870796460173</c:v>
                </c:pt>
                <c:pt idx="1">
                  <c:v>2.6537701327433627</c:v>
                </c:pt>
                <c:pt idx="2">
                  <c:v>2.6827000000000001</c:v>
                </c:pt>
                <c:pt idx="3">
                  <c:v>6.9398353846153844</c:v>
                </c:pt>
                <c:pt idx="4">
                  <c:v>3.037884615384614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7.47</c:v>
                </c:pt>
                <c:pt idx="1">
                  <c:v>Av Price/Unit 9.25</c:v>
                </c:pt>
                <c:pt idx="2">
                  <c:v>Av Price/Unit 8.98</c:v>
                </c:pt>
                <c:pt idx="3">
                  <c:v>Av Price/Unit 25.28</c:v>
                </c:pt>
                <c:pt idx="4">
                  <c:v>Av Price/Unit 10.75</c:v>
                </c:pt>
              </c:strCache>
            </c:strRef>
          </c:cat>
          <c:val>
            <c:numRef>
              <c:f>Sheet1!$C$2:$C$6</c:f>
              <c:numCache>
                <c:formatCode>General</c:formatCode>
                <c:ptCount val="5"/>
                <c:pt idx="0">
                  <c:v>7.5458286725663708</c:v>
                </c:pt>
                <c:pt idx="1">
                  <c:v>4.9572566371681424</c:v>
                </c:pt>
                <c:pt idx="2">
                  <c:v>4.4340000000000002</c:v>
                </c:pt>
                <c:pt idx="3">
                  <c:v>12.713999999999999</c:v>
                </c:pt>
                <c:pt idx="4">
                  <c:v>5.493076923076922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7.47</c:v>
                </c:pt>
                <c:pt idx="1">
                  <c:v>Av Price/Unit 9.25</c:v>
                </c:pt>
                <c:pt idx="2">
                  <c:v>Av Price/Unit 8.98</c:v>
                </c:pt>
                <c:pt idx="3">
                  <c:v>Av Price/Unit 25.28</c:v>
                </c:pt>
                <c:pt idx="4">
                  <c:v>Av Price/Unit 10.75</c:v>
                </c:pt>
              </c:strCache>
            </c:strRef>
          </c:cat>
          <c:val>
            <c:numRef>
              <c:f>Sheet1!$D$2:$D$6</c:f>
              <c:numCache>
                <c:formatCode>General</c:formatCode>
                <c:ptCount val="5"/>
                <c:pt idx="0">
                  <c:v>0.5319936873156319</c:v>
                </c:pt>
                <c:pt idx="1">
                  <c:v>9.8228392330383052E-2</c:v>
                </c:pt>
                <c:pt idx="2">
                  <c:v>0.25333058103975592</c:v>
                </c:pt>
                <c:pt idx="3">
                  <c:v>1.4102671794871853</c:v>
                </c:pt>
                <c:pt idx="4">
                  <c:v>0.4241666666666681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7.47</c:v>
                </c:pt>
                <c:pt idx="1">
                  <c:v>Av Price/Unit 9.25</c:v>
                </c:pt>
                <c:pt idx="2">
                  <c:v>Av Price/Unit 8.98</c:v>
                </c:pt>
                <c:pt idx="3">
                  <c:v>Av Price/Unit 25.28</c:v>
                </c:pt>
                <c:pt idx="4">
                  <c:v>Av Price/Unit 10.75</c:v>
                </c:pt>
              </c:strCache>
            </c:strRef>
          </c:cat>
          <c:val>
            <c:numRef>
              <c:f>Sheet1!$E$2:$E$6</c:f>
              <c:numCache>
                <c:formatCode>General</c:formatCode>
                <c:ptCount val="5"/>
                <c:pt idx="0">
                  <c:v>2.9122418879056067</c:v>
                </c:pt>
                <c:pt idx="1">
                  <c:v>1.5418510324483772</c:v>
                </c:pt>
                <c:pt idx="2">
                  <c:v>1.4740061162079507</c:v>
                </c:pt>
                <c:pt idx="3">
                  <c:v>4.2128205128205085</c:v>
                </c:pt>
                <c:pt idx="4">
                  <c:v>1.791025641025640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7.52</c:v>
                </c:pt>
              </c:strCache>
            </c:strRef>
          </c:cat>
          <c:val>
            <c:numRef>
              <c:f>Sheet1!$B$2:$B$2</c:f>
              <c:numCache>
                <c:formatCode>General</c:formatCode>
                <c:ptCount val="1"/>
                <c:pt idx="0">
                  <c:v>6.478492417061612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7.52</c:v>
                </c:pt>
              </c:strCache>
            </c:strRef>
          </c:cat>
          <c:val>
            <c:numRef>
              <c:f>Sheet1!$C$2:$C$2</c:f>
              <c:numCache>
                <c:formatCode>General</c:formatCode>
                <c:ptCount val="1"/>
                <c:pt idx="0">
                  <c:v>7.604870142180095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7.52</c:v>
                </c:pt>
              </c:strCache>
            </c:strRef>
          </c:cat>
          <c:val>
            <c:numRef>
              <c:f>Sheet1!$D$2:$D$2</c:f>
              <c:numCache>
                <c:formatCode>General</c:formatCode>
                <c:ptCount val="1"/>
                <c:pt idx="0">
                  <c:v>0.5157685624012664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7.52</c:v>
                </c:pt>
              </c:strCache>
            </c:strRef>
          </c:cat>
          <c:val>
            <c:numRef>
              <c:f>Sheet1!$E$2:$E$2</c:f>
              <c:numCache>
                <c:formatCode>General</c:formatCode>
                <c:ptCount val="1"/>
                <c:pt idx="0">
                  <c:v>2.91982622432859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7.39</c:v>
                </c:pt>
              </c:strCache>
            </c:strRef>
          </c:cat>
          <c:val>
            <c:numRef>
              <c:f>Sheet1!$B$2:$B$2</c:f>
              <c:numCache>
                <c:formatCode>General</c:formatCode>
                <c:ptCount val="1"/>
                <c:pt idx="0">
                  <c:v>6.475415116959063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7.39</c:v>
                </c:pt>
              </c:strCache>
            </c:strRef>
          </c:cat>
          <c:val>
            <c:numRef>
              <c:f>Sheet1!$C$2:$C$2</c:f>
              <c:numCache>
                <c:formatCode>General</c:formatCode>
                <c:ptCount val="1"/>
                <c:pt idx="0">
                  <c:v>7.641989824561403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7.39</c:v>
                </c:pt>
              </c:strCache>
            </c:strRef>
          </c:cat>
          <c:val>
            <c:numRef>
              <c:f>Sheet1!$D$2:$D$2</c:f>
              <c:numCache>
                <c:formatCode>General</c:formatCode>
                <c:ptCount val="1"/>
                <c:pt idx="0">
                  <c:v>0.3741886257309960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7.39</c:v>
                </c:pt>
              </c:strCache>
            </c:strRef>
          </c:cat>
          <c:val>
            <c:numRef>
              <c:f>Sheet1!$E$2:$E$2</c:f>
              <c:numCache>
                <c:formatCode>General</c:formatCode>
                <c:ptCount val="1"/>
                <c:pt idx="0">
                  <c:v>2.898318713450290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7.56</c:v>
                </c:pt>
              </c:strCache>
            </c:strRef>
          </c:cat>
          <c:val>
            <c:numRef>
              <c:f>Sheet1!$B$2:$B$2</c:f>
              <c:numCache>
                <c:formatCode>General</c:formatCode>
                <c:ptCount val="1"/>
                <c:pt idx="0">
                  <c:v>6.479517189460477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7.56</c:v>
                </c:pt>
              </c:strCache>
            </c:strRef>
          </c:cat>
          <c:val>
            <c:numRef>
              <c:f>Sheet1!$C$2:$C$2</c:f>
              <c:numCache>
                <c:formatCode>General</c:formatCode>
                <c:ptCount val="1"/>
                <c:pt idx="0">
                  <c:v>7.592508908406526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7.56</c:v>
                </c:pt>
              </c:strCache>
            </c:strRef>
          </c:cat>
          <c:val>
            <c:numRef>
              <c:f>Sheet1!$D$2:$D$2</c:f>
              <c:numCache>
                <c:formatCode>General</c:formatCode>
                <c:ptCount val="1"/>
                <c:pt idx="0">
                  <c:v>0.5630638226683419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7.56</c:v>
                </c:pt>
              </c:strCache>
            </c:strRef>
          </c:cat>
          <c:val>
            <c:numRef>
              <c:f>Sheet1!$E$2:$E$2</c:f>
              <c:numCache>
                <c:formatCode>General</c:formatCode>
                <c:ptCount val="1"/>
                <c:pt idx="0">
                  <c:v>2.927017984107066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7.49</c:v>
                </c:pt>
              </c:strCache>
            </c:strRef>
          </c:cat>
          <c:val>
            <c:numRef>
              <c:f>Sheet1!$B$2:$B$2</c:f>
              <c:numCache>
                <c:formatCode>General</c:formatCode>
                <c:ptCount val="1"/>
                <c:pt idx="0">
                  <c:v>6.477983242258651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7.49</c:v>
                </c:pt>
              </c:strCache>
            </c:strRef>
          </c:cat>
          <c:val>
            <c:numRef>
              <c:f>Sheet1!$C$2:$C$2</c:f>
              <c:numCache>
                <c:formatCode>General</c:formatCode>
                <c:ptCount val="1"/>
                <c:pt idx="0">
                  <c:v>7.611012021857923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7.49</c:v>
                </c:pt>
              </c:strCache>
            </c:strRef>
          </c:cat>
          <c:val>
            <c:numRef>
              <c:f>Sheet1!$D$2:$D$2</c:f>
              <c:numCache>
                <c:formatCode>General</c:formatCode>
                <c:ptCount val="1"/>
                <c:pt idx="0">
                  <c:v>0.4829537340619296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7.49</c:v>
                </c:pt>
              </c:strCache>
            </c:strRef>
          </c:cat>
          <c:val>
            <c:numRef>
              <c:f>Sheet1!$E$2:$E$2</c:f>
              <c:numCache>
                <c:formatCode>General</c:formatCode>
                <c:ptCount val="1"/>
                <c:pt idx="0">
                  <c:v>2.914389799635701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7.38</c:v>
                </c:pt>
              </c:strCache>
            </c:strRef>
          </c:cat>
          <c:val>
            <c:numRef>
              <c:f>Sheet1!$B$2:$B$2</c:f>
              <c:numCache>
                <c:formatCode>General</c:formatCode>
                <c:ptCount val="1"/>
                <c:pt idx="0">
                  <c:v>6.476158388667552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7.38</c:v>
                </c:pt>
              </c:strCache>
            </c:strRef>
          </c:cat>
          <c:val>
            <c:numRef>
              <c:f>Sheet1!$C$2:$C$2</c:f>
              <c:numCache>
                <c:formatCode>General</c:formatCode>
                <c:ptCount val="1"/>
                <c:pt idx="0">
                  <c:v>7.633024169986717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7.38</c:v>
                </c:pt>
              </c:strCache>
            </c:strRef>
          </c:cat>
          <c:val>
            <c:numRef>
              <c:f>Sheet1!$D$2:$D$2</c:f>
              <c:numCache>
                <c:formatCode>General</c:formatCode>
                <c:ptCount val="1"/>
                <c:pt idx="0">
                  <c:v>0.3721513649107279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7.38</c:v>
                </c:pt>
              </c:strCache>
            </c:strRef>
          </c:cat>
          <c:val>
            <c:numRef>
              <c:f>Sheet1!$E$2:$E$2</c:f>
              <c:numCache>
                <c:formatCode>General</c:formatCode>
                <c:ptCount val="1"/>
                <c:pt idx="0">
                  <c:v>2.896266784712998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337504C0-6D6B-422B-843C-531EC0AB5F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E549F7DD-BE0D-4A15-B1AB-381588EBE5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3CA099A7-AB3E-4E7C-837B-21427FC3D3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0F52AE9D-952C-4B32-B68C-3FD433D230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870E7272-7FC2-4C6D-BC35-ACE3FDE187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C9EFED6-A1EB-499B-9A3F-A18E577337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0FECA008-48E0-4485-931C-03E322840C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41E04025-FE32-46D1-9412-F87C30CFAA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0.982900000000001</c:v>
                </c:pt>
                <c:pt idx="1">
                  <c:v>10.728899999999999</c:v>
                </c:pt>
                <c:pt idx="2">
                  <c:v>9.7886000000000006</c:v>
                </c:pt>
                <c:pt idx="3">
                  <c:v>10.5205</c:v>
                </c:pt>
                <c:pt idx="4">
                  <c:v>12.673299999999999</c:v>
                </c:pt>
              </c:numCache>
            </c:numRef>
          </c:xVal>
          <c:yVal>
            <c:numRef>
              <c:f>Sheet1!$B$2:$B$6</c:f>
              <c:numCache>
                <c:formatCode>General</c:formatCode>
                <c:ptCount val="5"/>
                <c:pt idx="0">
                  <c:v>0.46579999999999999</c:v>
                </c:pt>
                <c:pt idx="1">
                  <c:v>0.46560000000000001</c:v>
                </c:pt>
                <c:pt idx="2">
                  <c:v>0.45779999999999998</c:v>
                </c:pt>
                <c:pt idx="3">
                  <c:v>0.47020000000000001</c:v>
                </c:pt>
                <c:pt idx="4">
                  <c:v>0.47849999999999998</c:v>
                </c:pt>
              </c:numCache>
            </c:numRef>
          </c:yVal>
          <c:bubbleSize>
            <c:numRef>
              <c:f>Sheet1!$C$2:$C$6</c:f>
              <c:numCache>
                <c:formatCode>General</c:formatCode>
                <c:ptCount val="5"/>
                <c:pt idx="0">
                  <c:v>38033.686500000003</c:v>
                </c:pt>
                <c:pt idx="1">
                  <c:v>4280.8201999999983</c:v>
                </c:pt>
                <c:pt idx="2">
                  <c:v>1409.5582999999999</c:v>
                </c:pt>
                <c:pt idx="3">
                  <c:v>2135.6559000000002</c:v>
                </c:pt>
                <c:pt idx="4">
                  <c:v>4194.8500999999987</c:v>
                </c:pt>
              </c:numCache>
            </c:numRef>
          </c:bubbleSize>
          <c:bubble3D val="0"/>
          <c:extLst>
            <c:ext xmlns:c15="http://schemas.microsoft.com/office/drawing/2012/chart" uri="{02D57815-91ED-43cb-92C2-25804820EDAC}">
              <c15:datalabelsRange>
                <c15:f>Sheet1!$E$2:$E$29</c15:f>
                <c15:dlblRangeCache>
                  <c:ptCount val="28"/>
                  <c:pt idx="0">
                    <c:v>NICOLAS IDF</c:v>
                  </c:pt>
                  <c:pt idx="1">
                    <c:v>NICOLAS PAC</c:v>
                  </c:pt>
                  <c:pt idx="2">
                    <c:v>NICOLAS EST</c:v>
                  </c:pt>
                  <c:pt idx="3">
                    <c:v>NICOLAS RHO</c:v>
                  </c:pt>
                  <c:pt idx="4">
                    <c:v>NICOLAS AQU</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5.207959999999998"/>
          <c:min val="7.8308800000000005"/>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668096750562501"/>
        <c:crossBetween val="midCat"/>
      </c:valAx>
      <c:valAx>
        <c:axId val="1011451359"/>
        <c:scaling>
          <c:orientation val="minMax"/>
          <c:max val="0.93419999999999992"/>
          <c:min val="0.12623999999999999"/>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1.04948100241014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17.37</c:v>
                </c:pt>
                <c:pt idx="1">
                  <c:v>Av Price/Unit 9.22</c:v>
                </c:pt>
                <c:pt idx="2">
                  <c:v>Av Price/Unit 10.46</c:v>
                </c:pt>
                <c:pt idx="3">
                  <c:v>Av Price/Unit 24.68</c:v>
                </c:pt>
                <c:pt idx="4">
                  <c:v>Av Price/Unit 12.35</c:v>
                </c:pt>
                <c:pt idx="5">
                  <c:v>Av Price/Unit 21.52</c:v>
                </c:pt>
              </c:strCache>
            </c:strRef>
          </c:cat>
          <c:val>
            <c:numRef>
              <c:f>Sheet1!$B$2:$B$7</c:f>
              <c:numCache>
                <c:formatCode>General</c:formatCode>
                <c:ptCount val="6"/>
                <c:pt idx="0">
                  <c:v>6.4767125709860611</c:v>
                </c:pt>
                <c:pt idx="1">
                  <c:v>2.6533671698113208</c:v>
                </c:pt>
                <c:pt idx="2">
                  <c:v>3.0304392405063294</c:v>
                </c:pt>
                <c:pt idx="3">
                  <c:v>6.9428152941176453</c:v>
                </c:pt>
                <c:pt idx="4">
                  <c:v>3.4</c:v>
                </c:pt>
                <c:pt idx="5">
                  <c:v>5.895177419354838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17.37</c:v>
                </c:pt>
                <c:pt idx="1">
                  <c:v>Av Price/Unit 9.22</c:v>
                </c:pt>
                <c:pt idx="2">
                  <c:v>Av Price/Unit 10.46</c:v>
                </c:pt>
                <c:pt idx="3">
                  <c:v>Av Price/Unit 24.68</c:v>
                </c:pt>
                <c:pt idx="4">
                  <c:v>Av Price/Unit 12.35</c:v>
                </c:pt>
                <c:pt idx="5">
                  <c:v>Av Price/Unit 21.52</c:v>
                </c:pt>
              </c:strCache>
            </c:strRef>
          </c:cat>
          <c:val>
            <c:numRef>
              <c:f>Sheet1!$C$2:$C$7</c:f>
              <c:numCache>
                <c:formatCode>General</c:formatCode>
                <c:ptCount val="6"/>
                <c:pt idx="0">
                  <c:v>7.626339390810533</c:v>
                </c:pt>
                <c:pt idx="1">
                  <c:v>4.9559245283018871</c:v>
                </c:pt>
                <c:pt idx="2">
                  <c:v>5.4851898734177205</c:v>
                </c:pt>
                <c:pt idx="3">
                  <c:v>12.718941176470587</c:v>
                </c:pt>
                <c:pt idx="4">
                  <c:v>6.6</c:v>
                </c:pt>
                <c:pt idx="5">
                  <c:v>10.9677419354838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17.37</c:v>
                </c:pt>
                <c:pt idx="1">
                  <c:v>Av Price/Unit 9.22</c:v>
                </c:pt>
                <c:pt idx="2">
                  <c:v>Av Price/Unit 10.46</c:v>
                </c:pt>
                <c:pt idx="3">
                  <c:v>Av Price/Unit 24.68</c:v>
                </c:pt>
                <c:pt idx="4">
                  <c:v>Av Price/Unit 12.35</c:v>
                </c:pt>
                <c:pt idx="5">
                  <c:v>Av Price/Unit 21.52</c:v>
                </c:pt>
              </c:strCache>
            </c:strRef>
          </c:cat>
          <c:val>
            <c:numRef>
              <c:f>Sheet1!$D$2:$D$7</c:f>
              <c:numCache>
                <c:formatCode>General</c:formatCode>
                <c:ptCount val="6"/>
                <c:pt idx="0">
                  <c:v>0.37165118740320757</c:v>
                </c:pt>
                <c:pt idx="1">
                  <c:v>7.7815220125787121E-2</c:v>
                </c:pt>
                <c:pt idx="2">
                  <c:v>0.200967229254573</c:v>
                </c:pt>
                <c:pt idx="3">
                  <c:v>0.90687098039215641</c:v>
                </c:pt>
                <c:pt idx="4">
                  <c:v>0.23809523809523725</c:v>
                </c:pt>
                <c:pt idx="5">
                  <c:v>1.067188172043010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17.37</c:v>
                </c:pt>
                <c:pt idx="1">
                  <c:v>Av Price/Unit 9.22</c:v>
                </c:pt>
                <c:pt idx="2">
                  <c:v>Av Price/Unit 10.46</c:v>
                </c:pt>
                <c:pt idx="3">
                  <c:v>Av Price/Unit 24.68</c:v>
                </c:pt>
                <c:pt idx="4">
                  <c:v>Av Price/Unit 12.35</c:v>
                </c:pt>
                <c:pt idx="5">
                  <c:v>Av Price/Unit 21.52</c:v>
                </c:pt>
              </c:strCache>
            </c:strRef>
          </c:cat>
          <c:val>
            <c:numRef>
              <c:f>Sheet1!$E$2:$E$7</c:f>
              <c:numCache>
                <c:formatCode>General</c:formatCode>
                <c:ptCount val="6"/>
                <c:pt idx="0">
                  <c:v>2.8949406298399549</c:v>
                </c:pt>
                <c:pt idx="1">
                  <c:v>1.5374213836477981</c:v>
                </c:pt>
                <c:pt idx="2">
                  <c:v>1.7433192686357237</c:v>
                </c:pt>
                <c:pt idx="3">
                  <c:v>4.1137254901960789</c:v>
                </c:pt>
                <c:pt idx="4">
                  <c:v>2.0476190476190474</c:v>
                </c:pt>
                <c:pt idx="5">
                  <c:v>3.586021505376342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9.20</c:v>
                </c:pt>
                <c:pt idx="1">
                  <c:v>Av Price/Unit 17.34</c:v>
                </c:pt>
                <c:pt idx="2">
                  <c:v>Av Price/Unit 10.34</c:v>
                </c:pt>
                <c:pt idx="3">
                  <c:v>Av Price/Unit 23.81</c:v>
                </c:pt>
                <c:pt idx="4">
                  <c:v>Av Price/Unit 12.06</c:v>
                </c:pt>
                <c:pt idx="5">
                  <c:v>Av Price/Unit 13.61</c:v>
                </c:pt>
                <c:pt idx="6">
                  <c:v>Av Price/Unit 8.90</c:v>
                </c:pt>
                <c:pt idx="7">
                  <c:v>Av Price/Unit 10.16</c:v>
                </c:pt>
                <c:pt idx="8">
                  <c:v>Av Price/Unit 20.66</c:v>
                </c:pt>
              </c:strCache>
            </c:strRef>
          </c:cat>
          <c:val>
            <c:numRef>
              <c:f>Sheet1!$B$2:$B$10</c:f>
              <c:numCache>
                <c:formatCode>General</c:formatCode>
                <c:ptCount val="9"/>
                <c:pt idx="0">
                  <c:v>2.6535080733944953</c:v>
                </c:pt>
                <c:pt idx="1">
                  <c:v>6.4793720163209807</c:v>
                </c:pt>
                <c:pt idx="2">
                  <c:v>3.034594842186296</c:v>
                </c:pt>
                <c:pt idx="3">
                  <c:v>6.9416069943289225</c:v>
                </c:pt>
                <c:pt idx="4">
                  <c:v>3.3999999999999995</c:v>
                </c:pt>
                <c:pt idx="5">
                  <c:v>4.4778000000000002</c:v>
                </c:pt>
                <c:pt idx="6">
                  <c:v>2.6827000000000001</c:v>
                </c:pt>
                <c:pt idx="7">
                  <c:v>3.0520827442827443</c:v>
                </c:pt>
                <c:pt idx="8">
                  <c:v>5.893006818181818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9.20</c:v>
                </c:pt>
                <c:pt idx="1">
                  <c:v>Av Price/Unit 17.34</c:v>
                </c:pt>
                <c:pt idx="2">
                  <c:v>Av Price/Unit 10.34</c:v>
                </c:pt>
                <c:pt idx="3">
                  <c:v>Av Price/Unit 23.81</c:v>
                </c:pt>
                <c:pt idx="4">
                  <c:v>Av Price/Unit 12.06</c:v>
                </c:pt>
                <c:pt idx="5">
                  <c:v>Av Price/Unit 13.61</c:v>
                </c:pt>
                <c:pt idx="6">
                  <c:v>Av Price/Unit 8.90</c:v>
                </c:pt>
                <c:pt idx="7">
                  <c:v>Av Price/Unit 10.16</c:v>
                </c:pt>
                <c:pt idx="8">
                  <c:v>Av Price/Unit 20.66</c:v>
                </c:pt>
              </c:strCache>
            </c:strRef>
          </c:cat>
          <c:val>
            <c:numRef>
              <c:f>Sheet1!$C$2:$C$10</c:f>
              <c:numCache>
                <c:formatCode>General</c:formatCode>
                <c:ptCount val="9"/>
                <c:pt idx="0">
                  <c:v>4.9563903252710588</c:v>
                </c:pt>
                <c:pt idx="1">
                  <c:v>7.5942600476028561</c:v>
                </c:pt>
                <c:pt idx="2">
                  <c:v>5.4895919938414162</c:v>
                </c:pt>
                <c:pt idx="3">
                  <c:v>12.716937618147446</c:v>
                </c:pt>
                <c:pt idx="4">
                  <c:v>6.6000000000000005</c:v>
                </c:pt>
                <c:pt idx="5">
                  <c:v>6.6332999999999993</c:v>
                </c:pt>
                <c:pt idx="6">
                  <c:v>4.4340000000000002</c:v>
                </c:pt>
                <c:pt idx="7">
                  <c:v>5.3898960498960502</c:v>
                </c:pt>
                <c:pt idx="8">
                  <c:v>10.96448863636363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9.20</c:v>
                </c:pt>
                <c:pt idx="1">
                  <c:v>Av Price/Unit 17.34</c:v>
                </c:pt>
                <c:pt idx="2">
                  <c:v>Av Price/Unit 10.34</c:v>
                </c:pt>
                <c:pt idx="3">
                  <c:v>Av Price/Unit 23.81</c:v>
                </c:pt>
                <c:pt idx="4">
                  <c:v>Av Price/Unit 12.06</c:v>
                </c:pt>
                <c:pt idx="5">
                  <c:v>Av Price/Unit 13.61</c:v>
                </c:pt>
                <c:pt idx="6">
                  <c:v>Av Price/Unit 8.90</c:v>
                </c:pt>
                <c:pt idx="7">
                  <c:v>Av Price/Unit 10.16</c:v>
                </c:pt>
                <c:pt idx="8">
                  <c:v>Av Price/Unit 20.66</c:v>
                </c:pt>
              </c:strCache>
            </c:strRef>
          </c:cat>
          <c:val>
            <c:numRef>
              <c:f>Sheet1!$D$2:$D$10</c:f>
              <c:numCache>
                <c:formatCode>General</c:formatCode>
                <c:ptCount val="9"/>
                <c:pt idx="0">
                  <c:v>5.9409357798166695E-2</c:v>
                </c:pt>
                <c:pt idx="1">
                  <c:v>0.37723498809928913</c:v>
                </c:pt>
                <c:pt idx="2">
                  <c:v>9.3339466256093573E-2</c:v>
                </c:pt>
                <c:pt idx="3">
                  <c:v>0.18707605545053951</c:v>
                </c:pt>
                <c:pt idx="4">
                  <c:v>3.3767486734202379E-2</c:v>
                </c:pt>
                <c:pt idx="5">
                  <c:v>0.22869015334947562</c:v>
                </c:pt>
                <c:pt idx="6">
                  <c:v>0.27559940764674362</c:v>
                </c:pt>
                <c:pt idx="7">
                  <c:v>2.1292169092170354E-2</c:v>
                </c:pt>
                <c:pt idx="8">
                  <c:v>0.3622015151515185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9.20</c:v>
                </c:pt>
                <c:pt idx="1">
                  <c:v>Av Price/Unit 17.34</c:v>
                </c:pt>
                <c:pt idx="2">
                  <c:v>Av Price/Unit 10.34</c:v>
                </c:pt>
                <c:pt idx="3">
                  <c:v>Av Price/Unit 23.81</c:v>
                </c:pt>
                <c:pt idx="4">
                  <c:v>Av Price/Unit 12.06</c:v>
                </c:pt>
                <c:pt idx="5">
                  <c:v>Av Price/Unit 13.61</c:v>
                </c:pt>
                <c:pt idx="6">
                  <c:v>Av Price/Unit 8.90</c:v>
                </c:pt>
                <c:pt idx="7">
                  <c:v>Av Price/Unit 10.16</c:v>
                </c:pt>
                <c:pt idx="8">
                  <c:v>Av Price/Unit 20.66</c:v>
                </c:pt>
              </c:strCache>
            </c:strRef>
          </c:cat>
          <c:val>
            <c:numRef>
              <c:f>Sheet1!$E$2:$E$10</c:f>
              <c:numCache>
                <c:formatCode>General</c:formatCode>
                <c:ptCount val="9"/>
                <c:pt idx="0">
                  <c:v>1.5338615512927427</c:v>
                </c:pt>
                <c:pt idx="1">
                  <c:v>2.8901734104046217</c:v>
                </c:pt>
                <c:pt idx="2">
                  <c:v>1.7235052604567607</c:v>
                </c:pt>
                <c:pt idx="3">
                  <c:v>3.96912413358538</c:v>
                </c:pt>
                <c:pt idx="4">
                  <c:v>2.0067534973468395</c:v>
                </c:pt>
                <c:pt idx="5">
                  <c:v>2.2679580306698957</c:v>
                </c:pt>
                <c:pt idx="6">
                  <c:v>1.4784598815293475</c:v>
                </c:pt>
                <c:pt idx="7">
                  <c:v>1.6926541926541914</c:v>
                </c:pt>
                <c:pt idx="8">
                  <c:v>3.443939393939393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7.41</c:v>
                </c:pt>
                <c:pt idx="1">
                  <c:v>Av Price/Unit 9.28</c:v>
                </c:pt>
              </c:strCache>
            </c:strRef>
          </c:cat>
          <c:val>
            <c:numRef>
              <c:f>Sheet1!$B$2:$B$3</c:f>
              <c:numCache>
                <c:formatCode>General</c:formatCode>
                <c:ptCount val="2"/>
                <c:pt idx="0">
                  <c:v>6.4759222528102773</c:v>
                </c:pt>
                <c:pt idx="1">
                  <c:v>2.652918528610354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7.41</c:v>
                </c:pt>
                <c:pt idx="1">
                  <c:v>Av Price/Unit 9.28</c:v>
                </c:pt>
              </c:strCache>
            </c:strRef>
          </c:cat>
          <c:val>
            <c:numRef>
              <c:f>Sheet1!$C$2:$C$3</c:f>
              <c:numCache>
                <c:formatCode>General</c:formatCode>
                <c:ptCount val="2"/>
                <c:pt idx="0">
                  <c:v>7.6358725395732971</c:v>
                </c:pt>
                <c:pt idx="1">
                  <c:v>4.95444141689373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7.41</c:v>
                </c:pt>
                <c:pt idx="1">
                  <c:v>Av Price/Unit 9.28</c:v>
                </c:pt>
              </c:strCache>
            </c:strRef>
          </c:cat>
          <c:val>
            <c:numRef>
              <c:f>Sheet1!$D$2:$D$3</c:f>
              <c:numCache>
                <c:formatCode>General</c:formatCode>
                <c:ptCount val="2"/>
                <c:pt idx="0">
                  <c:v>0.39879632178634417</c:v>
                </c:pt>
                <c:pt idx="1">
                  <c:v>0.1287890099909194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7.41</c:v>
                </c:pt>
                <c:pt idx="1">
                  <c:v>Av Price/Unit 9.28</c:v>
                </c:pt>
              </c:strCache>
            </c:strRef>
          </c:cat>
          <c:val>
            <c:numRef>
              <c:f>Sheet1!$E$2:$E$3</c:f>
              <c:numCache>
                <c:formatCode>General</c:formatCode>
                <c:ptCount val="2"/>
                <c:pt idx="0">
                  <c:v>2.9021182228339839</c:v>
                </c:pt>
                <c:pt idx="1">
                  <c:v>1.5472297910989989</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17.42</c:v>
                </c:pt>
                <c:pt idx="1">
                  <c:v>Av Price/Unit 9.22</c:v>
                </c:pt>
                <c:pt idx="2">
                  <c:v>Av Price/Unit 24.12</c:v>
                </c:pt>
                <c:pt idx="3">
                  <c:v>Av Price/Unit 10.37</c:v>
                </c:pt>
                <c:pt idx="4">
                  <c:v>Av Price/Unit 8.89</c:v>
                </c:pt>
                <c:pt idx="5">
                  <c:v>Av Price/Unit 12.18</c:v>
                </c:pt>
                <c:pt idx="6">
                  <c:v>Av Price/Unit 13.73</c:v>
                </c:pt>
                <c:pt idx="7">
                  <c:v>Av Price/Unit 20.85</c:v>
                </c:pt>
                <c:pt idx="8">
                  <c:v>Av Price/Unit 10.42</c:v>
                </c:pt>
              </c:strCache>
            </c:strRef>
          </c:cat>
          <c:val>
            <c:numRef>
              <c:f>Sheet1!$B$2:$B$10</c:f>
              <c:numCache>
                <c:formatCode>General</c:formatCode>
                <c:ptCount val="9"/>
                <c:pt idx="0">
                  <c:v>6.4778886197977901</c:v>
                </c:pt>
                <c:pt idx="1">
                  <c:v>2.6536329434697854</c:v>
                </c:pt>
                <c:pt idx="2">
                  <c:v>6.9426294964028772</c:v>
                </c:pt>
                <c:pt idx="3">
                  <c:v>3.0343952212389373</c:v>
                </c:pt>
                <c:pt idx="4">
                  <c:v>2.6827000000000001</c:v>
                </c:pt>
                <c:pt idx="5">
                  <c:v>3.3999999999999995</c:v>
                </c:pt>
                <c:pt idx="6">
                  <c:v>4.4778000000000002</c:v>
                </c:pt>
                <c:pt idx="7">
                  <c:v>5.890516279069768</c:v>
                </c:pt>
                <c:pt idx="8">
                  <c:v>3.065579136690646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17.42</c:v>
                </c:pt>
                <c:pt idx="1">
                  <c:v>Av Price/Unit 9.22</c:v>
                </c:pt>
                <c:pt idx="2">
                  <c:v>Av Price/Unit 24.12</c:v>
                </c:pt>
                <c:pt idx="3">
                  <c:v>Av Price/Unit 10.37</c:v>
                </c:pt>
                <c:pt idx="4">
                  <c:v>Av Price/Unit 8.89</c:v>
                </c:pt>
                <c:pt idx="5">
                  <c:v>Av Price/Unit 12.18</c:v>
                </c:pt>
                <c:pt idx="6">
                  <c:v>Av Price/Unit 13.73</c:v>
                </c:pt>
                <c:pt idx="7">
                  <c:v>Av Price/Unit 20.85</c:v>
                </c:pt>
                <c:pt idx="8">
                  <c:v>Av Price/Unit 10.42</c:v>
                </c:pt>
              </c:strCache>
            </c:strRef>
          </c:cat>
          <c:val>
            <c:numRef>
              <c:f>Sheet1!$C$2:$C$10</c:f>
              <c:numCache>
                <c:formatCode>General</c:formatCode>
                <c:ptCount val="9"/>
                <c:pt idx="0">
                  <c:v>7.6121533976016931</c:v>
                </c:pt>
                <c:pt idx="1">
                  <c:v>4.9568031189083825</c:v>
                </c:pt>
                <c:pt idx="2">
                  <c:v>12.718633093525179</c:v>
                </c:pt>
                <c:pt idx="3">
                  <c:v>5.4893805309734516</c:v>
                </c:pt>
                <c:pt idx="4">
                  <c:v>4.4340000000000002</c:v>
                </c:pt>
                <c:pt idx="5">
                  <c:v>6.6</c:v>
                </c:pt>
                <c:pt idx="6">
                  <c:v>6.6333000000000002</c:v>
                </c:pt>
                <c:pt idx="7">
                  <c:v>10.960755813953488</c:v>
                </c:pt>
                <c:pt idx="8">
                  <c:v>5.411654676258993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17.42</c:v>
                </c:pt>
                <c:pt idx="1">
                  <c:v>Av Price/Unit 9.22</c:v>
                </c:pt>
                <c:pt idx="2">
                  <c:v>Av Price/Unit 24.12</c:v>
                </c:pt>
                <c:pt idx="3">
                  <c:v>Av Price/Unit 10.37</c:v>
                </c:pt>
                <c:pt idx="4">
                  <c:v>Av Price/Unit 8.89</c:v>
                </c:pt>
                <c:pt idx="5">
                  <c:v>Av Price/Unit 12.18</c:v>
                </c:pt>
                <c:pt idx="6">
                  <c:v>Av Price/Unit 13.73</c:v>
                </c:pt>
                <c:pt idx="7">
                  <c:v>Av Price/Unit 20.85</c:v>
                </c:pt>
                <c:pt idx="8">
                  <c:v>Av Price/Unit 10.42</c:v>
                </c:pt>
              </c:strCache>
            </c:strRef>
          </c:cat>
          <c:val>
            <c:numRef>
              <c:f>Sheet1!$D$2:$D$10</c:f>
              <c:numCache>
                <c:formatCode>General</c:formatCode>
                <c:ptCount val="9"/>
                <c:pt idx="0">
                  <c:v>0.4273574653186003</c:v>
                </c:pt>
                <c:pt idx="1">
                  <c:v>7.1906367771279456E-2</c:v>
                </c:pt>
                <c:pt idx="2">
                  <c:v>0.43765827338129881</c:v>
                </c:pt>
                <c:pt idx="3">
                  <c:v>0.11781716814159182</c:v>
                </c:pt>
                <c:pt idx="4">
                  <c:v>0.21720607101947476</c:v>
                </c:pt>
                <c:pt idx="5">
                  <c:v>0.13745704467353903</c:v>
                </c:pt>
                <c:pt idx="6">
                  <c:v>0.35231463414634234</c:v>
                </c:pt>
                <c:pt idx="7">
                  <c:v>0.52275891472868707</c:v>
                </c:pt>
                <c:pt idx="8">
                  <c:v>0.2038213429256572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17.42</c:v>
                </c:pt>
                <c:pt idx="1">
                  <c:v>Av Price/Unit 9.22</c:v>
                </c:pt>
                <c:pt idx="2">
                  <c:v>Av Price/Unit 24.12</c:v>
                </c:pt>
                <c:pt idx="3">
                  <c:v>Av Price/Unit 10.37</c:v>
                </c:pt>
                <c:pt idx="4">
                  <c:v>Av Price/Unit 8.89</c:v>
                </c:pt>
                <c:pt idx="5">
                  <c:v>Av Price/Unit 12.18</c:v>
                </c:pt>
                <c:pt idx="6">
                  <c:v>Av Price/Unit 13.73</c:v>
                </c:pt>
                <c:pt idx="7">
                  <c:v>Av Price/Unit 20.85</c:v>
                </c:pt>
                <c:pt idx="8">
                  <c:v>Av Price/Unit 10.42</c:v>
                </c:pt>
              </c:strCache>
            </c:strRef>
          </c:cat>
          <c:val>
            <c:numRef>
              <c:f>Sheet1!$E$2:$E$10</c:f>
              <c:numCache>
                <c:formatCode>General</c:formatCode>
                <c:ptCount val="9"/>
                <c:pt idx="0">
                  <c:v>2.9034798965436162</c:v>
                </c:pt>
                <c:pt idx="1">
                  <c:v>1.5364684860298898</c:v>
                </c:pt>
                <c:pt idx="2">
                  <c:v>4.0197841726618675</c:v>
                </c:pt>
                <c:pt idx="3">
                  <c:v>1.7283185840707964</c:v>
                </c:pt>
                <c:pt idx="4">
                  <c:v>1.4667812142038936</c:v>
                </c:pt>
                <c:pt idx="5">
                  <c:v>2.0274914089347087</c:v>
                </c:pt>
                <c:pt idx="6">
                  <c:v>2.2926829268292668</c:v>
                </c:pt>
                <c:pt idx="7">
                  <c:v>3.4748062015503867</c:v>
                </c:pt>
                <c:pt idx="8">
                  <c:v>1.736211031175061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17.40</c:v>
                </c:pt>
                <c:pt idx="1">
                  <c:v>Av Price/Unit 9.21</c:v>
                </c:pt>
                <c:pt idx="2">
                  <c:v>Av Price/Unit 10.41</c:v>
                </c:pt>
                <c:pt idx="3">
                  <c:v>Av Price/Unit 12.14</c:v>
                </c:pt>
                <c:pt idx="4">
                  <c:v>Av Price/Unit 24.43</c:v>
                </c:pt>
                <c:pt idx="5">
                  <c:v>Av Price/Unit 8.95</c:v>
                </c:pt>
                <c:pt idx="6">
                  <c:v>Av Price/Unit 10.11</c:v>
                </c:pt>
                <c:pt idx="7">
                  <c:v>Av Price/Unit 21.28</c:v>
                </c:pt>
              </c:strCache>
            </c:strRef>
          </c:cat>
          <c:val>
            <c:numRef>
              <c:f>Sheet1!$B$2:$B$9</c:f>
              <c:numCache>
                <c:formatCode>General</c:formatCode>
                <c:ptCount val="8"/>
                <c:pt idx="0">
                  <c:v>6.4768171925754059</c:v>
                </c:pt>
                <c:pt idx="1">
                  <c:v>2.6537051965356433</c:v>
                </c:pt>
                <c:pt idx="2">
                  <c:v>3.0362232142857137</c:v>
                </c:pt>
                <c:pt idx="3">
                  <c:v>3.4</c:v>
                </c:pt>
                <c:pt idx="4">
                  <c:v>6.9375787096774184</c:v>
                </c:pt>
                <c:pt idx="5">
                  <c:v>2.6827000000000001</c:v>
                </c:pt>
                <c:pt idx="6">
                  <c:v>3.042967111111111</c:v>
                </c:pt>
                <c:pt idx="7">
                  <c:v>5.89304925373134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17.40</c:v>
                </c:pt>
                <c:pt idx="1">
                  <c:v>Av Price/Unit 9.21</c:v>
                </c:pt>
                <c:pt idx="2">
                  <c:v>Av Price/Unit 10.41</c:v>
                </c:pt>
                <c:pt idx="3">
                  <c:v>Av Price/Unit 12.14</c:v>
                </c:pt>
                <c:pt idx="4">
                  <c:v>Av Price/Unit 24.43</c:v>
                </c:pt>
                <c:pt idx="5">
                  <c:v>Av Price/Unit 8.95</c:v>
                </c:pt>
                <c:pt idx="6">
                  <c:v>Av Price/Unit 10.11</c:v>
                </c:pt>
                <c:pt idx="7">
                  <c:v>Av Price/Unit 21.28</c:v>
                </c:pt>
              </c:strCache>
            </c:strRef>
          </c:cat>
          <c:val>
            <c:numRef>
              <c:f>Sheet1!$C$2:$C$9</c:f>
              <c:numCache>
                <c:formatCode>General</c:formatCode>
                <c:ptCount val="8"/>
                <c:pt idx="0">
                  <c:v>7.6250774013921108</c:v>
                </c:pt>
                <c:pt idx="1">
                  <c:v>4.9570419720186543</c:v>
                </c:pt>
                <c:pt idx="2">
                  <c:v>5.4913169642857138</c:v>
                </c:pt>
                <c:pt idx="3">
                  <c:v>6.5999999999999979</c:v>
                </c:pt>
                <c:pt idx="4">
                  <c:v>12.710258064516131</c:v>
                </c:pt>
                <c:pt idx="5">
                  <c:v>4.4340000000000002</c:v>
                </c:pt>
                <c:pt idx="6">
                  <c:v>5.3752000000000004</c:v>
                </c:pt>
                <c:pt idx="7">
                  <c:v>10.9645522388059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17.40</c:v>
                </c:pt>
                <c:pt idx="1">
                  <c:v>Av Price/Unit 9.21</c:v>
                </c:pt>
                <c:pt idx="2">
                  <c:v>Av Price/Unit 10.41</c:v>
                </c:pt>
                <c:pt idx="3">
                  <c:v>Av Price/Unit 12.14</c:v>
                </c:pt>
                <c:pt idx="4">
                  <c:v>Av Price/Unit 24.43</c:v>
                </c:pt>
                <c:pt idx="5">
                  <c:v>Av Price/Unit 8.95</c:v>
                </c:pt>
                <c:pt idx="6">
                  <c:v>Av Price/Unit 10.11</c:v>
                </c:pt>
                <c:pt idx="7">
                  <c:v>Av Price/Unit 21.28</c:v>
                </c:pt>
              </c:strCache>
            </c:strRef>
          </c:cat>
          <c:val>
            <c:numRef>
              <c:f>Sheet1!$D$2:$D$9</c:f>
              <c:numCache>
                <c:formatCode>General</c:formatCode>
                <c:ptCount val="8"/>
                <c:pt idx="0">
                  <c:v>0.40100563805104805</c:v>
                </c:pt>
                <c:pt idx="1">
                  <c:v>6.0805129913391376E-2</c:v>
                </c:pt>
                <c:pt idx="2">
                  <c:v>0.14805505952380926</c:v>
                </c:pt>
                <c:pt idx="3">
                  <c:v>0.11248852157943112</c:v>
                </c:pt>
                <c:pt idx="4">
                  <c:v>0.71237827956989008</c:v>
                </c:pt>
                <c:pt idx="5">
                  <c:v>0.34252528032619889</c:v>
                </c:pt>
                <c:pt idx="6">
                  <c:v>4.0551111111089E-3</c:v>
                </c:pt>
                <c:pt idx="7">
                  <c:v>0.8787169154228848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17.40</c:v>
                </c:pt>
                <c:pt idx="1">
                  <c:v>Av Price/Unit 9.21</c:v>
                </c:pt>
                <c:pt idx="2">
                  <c:v>Av Price/Unit 10.41</c:v>
                </c:pt>
                <c:pt idx="3">
                  <c:v>Av Price/Unit 12.14</c:v>
                </c:pt>
                <c:pt idx="4">
                  <c:v>Av Price/Unit 24.43</c:v>
                </c:pt>
                <c:pt idx="5">
                  <c:v>Av Price/Unit 8.95</c:v>
                </c:pt>
                <c:pt idx="6">
                  <c:v>Av Price/Unit 10.11</c:v>
                </c:pt>
                <c:pt idx="7">
                  <c:v>Av Price/Unit 21.28</c:v>
                </c:pt>
              </c:strCache>
            </c:strRef>
          </c:cat>
          <c:val>
            <c:numRef>
              <c:f>Sheet1!$E$2:$E$9</c:f>
              <c:numCache>
                <c:formatCode>General</c:formatCode>
                <c:ptCount val="8"/>
                <c:pt idx="0">
                  <c:v>2.900580046403709</c:v>
                </c:pt>
                <c:pt idx="1">
                  <c:v>1.5343104596935364</c:v>
                </c:pt>
                <c:pt idx="2">
                  <c:v>1.7351190476190479</c:v>
                </c:pt>
                <c:pt idx="3">
                  <c:v>2.0224977043158856</c:v>
                </c:pt>
                <c:pt idx="4">
                  <c:v>4.0720430107526875</c:v>
                </c:pt>
                <c:pt idx="5">
                  <c:v>1.4918450560652385</c:v>
                </c:pt>
                <c:pt idx="6">
                  <c:v>1.6844444444444455</c:v>
                </c:pt>
                <c:pt idx="7">
                  <c:v>3.547263681592044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10.81</c:v>
                </c:pt>
                <c:pt idx="1">
                  <c:v>Av Price/Unit 9.62</c:v>
                </c:pt>
                <c:pt idx="2">
                  <c:v>Av Price/Unit 9.75</c:v>
                </c:pt>
                <c:pt idx="3">
                  <c:v>Av Price/Unit 14.83</c:v>
                </c:pt>
              </c:strCache>
            </c:strRef>
          </c:cat>
          <c:val>
            <c:numRef>
              <c:f>Sheet1!$B$2:$B$5</c:f>
              <c:numCache>
                <c:formatCode>General</c:formatCode>
                <c:ptCount val="4"/>
                <c:pt idx="0">
                  <c:v>3.8938011185278736</c:v>
                </c:pt>
                <c:pt idx="1">
                  <c:v>3.4844132437619901</c:v>
                </c:pt>
                <c:pt idx="2">
                  <c:v>3.5914022421524643</c:v>
                </c:pt>
                <c:pt idx="3">
                  <c:v>5.796699999999999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10.81</c:v>
                </c:pt>
                <c:pt idx="1">
                  <c:v>Av Price/Unit 9.62</c:v>
                </c:pt>
                <c:pt idx="2">
                  <c:v>Av Price/Unit 9.75</c:v>
                </c:pt>
                <c:pt idx="3">
                  <c:v>Av Price/Unit 14.83</c:v>
                </c:pt>
              </c:strCache>
            </c:strRef>
          </c:cat>
          <c:val>
            <c:numRef>
              <c:f>Sheet1!$C$2:$C$5</c:f>
              <c:numCache>
                <c:formatCode>General</c:formatCode>
                <c:ptCount val="4"/>
                <c:pt idx="0">
                  <c:v>4.4464155150640474</c:v>
                </c:pt>
                <c:pt idx="1">
                  <c:v>4.1199999999999939</c:v>
                </c:pt>
                <c:pt idx="2">
                  <c:v>4.156367713004486</c:v>
                </c:pt>
                <c:pt idx="3">
                  <c:v>6.120000000000002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10.81</c:v>
                </c:pt>
                <c:pt idx="1">
                  <c:v>Av Price/Unit 9.62</c:v>
                </c:pt>
                <c:pt idx="2">
                  <c:v>Av Price/Unit 9.75</c:v>
                </c:pt>
                <c:pt idx="3">
                  <c:v>Av Price/Unit 14.83</c:v>
                </c:pt>
              </c:strCache>
            </c:strRef>
          </c:cat>
          <c:val>
            <c:numRef>
              <c:f>Sheet1!$D$2:$D$5</c:f>
              <c:numCache>
                <c:formatCode>General</c:formatCode>
                <c:ptCount val="4"/>
                <c:pt idx="0">
                  <c:v>0.66573682121595112</c:v>
                </c:pt>
                <c:pt idx="1">
                  <c:v>0.41542040946898506</c:v>
                </c:pt>
                <c:pt idx="2">
                  <c:v>0.38003273542600535</c:v>
                </c:pt>
                <c:pt idx="3">
                  <c:v>0.4401507157464266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10.81</c:v>
                </c:pt>
                <c:pt idx="1">
                  <c:v>Av Price/Unit 9.62</c:v>
                </c:pt>
                <c:pt idx="2">
                  <c:v>Av Price/Unit 9.75</c:v>
                </c:pt>
                <c:pt idx="3">
                  <c:v>Av Price/Unit 14.83</c:v>
                </c:pt>
              </c:strCache>
            </c:strRef>
          </c:cat>
          <c:val>
            <c:numRef>
              <c:f>Sheet1!$E$2:$E$5</c:f>
              <c:numCache>
                <c:formatCode>General</c:formatCode>
                <c:ptCount val="4"/>
                <c:pt idx="0">
                  <c:v>1.8011906909615731</c:v>
                </c:pt>
                <c:pt idx="1">
                  <c:v>1.6039667306461902</c:v>
                </c:pt>
                <c:pt idx="2">
                  <c:v>1.625560538116589</c:v>
                </c:pt>
                <c:pt idx="3">
                  <c:v>2.471370143149283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0.73</c:v>
                </c:pt>
                <c:pt idx="1">
                  <c:v>Av Price/Unit 9.38</c:v>
                </c:pt>
                <c:pt idx="2">
                  <c:v>Av Price/Unit 9.93</c:v>
                </c:pt>
              </c:strCache>
            </c:strRef>
          </c:cat>
          <c:val>
            <c:numRef>
              <c:f>Sheet1!$B$2:$B$4</c:f>
              <c:numCache>
                <c:formatCode>General</c:formatCode>
                <c:ptCount val="3"/>
                <c:pt idx="0">
                  <c:v>3.893675825720309</c:v>
                </c:pt>
                <c:pt idx="1">
                  <c:v>3.5159819923371645</c:v>
                </c:pt>
                <c:pt idx="2">
                  <c:v>3.853633333333333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0.73</c:v>
                </c:pt>
                <c:pt idx="1">
                  <c:v>Av Price/Unit 9.38</c:v>
                </c:pt>
                <c:pt idx="2">
                  <c:v>Av Price/Unit 9.93</c:v>
                </c:pt>
              </c:strCache>
            </c:strRef>
          </c:cat>
          <c:val>
            <c:numRef>
              <c:f>Sheet1!$C$2:$C$4</c:f>
              <c:numCache>
                <c:formatCode>General</c:formatCode>
                <c:ptCount val="3"/>
                <c:pt idx="0">
                  <c:v>4.446222628250176</c:v>
                </c:pt>
                <c:pt idx="1">
                  <c:v>4.1199999999999992</c:v>
                </c:pt>
                <c:pt idx="2">
                  <c:v>4.153333333333334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0.73</c:v>
                </c:pt>
                <c:pt idx="1">
                  <c:v>Av Price/Unit 9.38</c:v>
                </c:pt>
                <c:pt idx="2">
                  <c:v>Av Price/Unit 9.93</c:v>
                </c:pt>
              </c:strCache>
            </c:strRef>
          </c:cat>
          <c:val>
            <c:numRef>
              <c:f>Sheet1!$D$2:$D$4</c:f>
              <c:numCache>
                <c:formatCode>General</c:formatCode>
                <c:ptCount val="3"/>
                <c:pt idx="0">
                  <c:v>0.59808468025298822</c:v>
                </c:pt>
                <c:pt idx="1">
                  <c:v>0.18330280970625967</c:v>
                </c:pt>
                <c:pt idx="2">
                  <c:v>0.2718031746031730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0.73</c:v>
                </c:pt>
                <c:pt idx="1">
                  <c:v>Av Price/Unit 9.38</c:v>
                </c:pt>
                <c:pt idx="2">
                  <c:v>Av Price/Unit 9.93</c:v>
                </c:pt>
              </c:strCache>
            </c:strRef>
          </c:cat>
          <c:val>
            <c:numRef>
              <c:f>Sheet1!$E$2:$E$4</c:f>
              <c:numCache>
                <c:formatCode>General</c:formatCode>
                <c:ptCount val="3"/>
                <c:pt idx="0">
                  <c:v>1.787596626844693</c:v>
                </c:pt>
                <c:pt idx="1">
                  <c:v>1.563856960408684</c:v>
                </c:pt>
                <c:pt idx="2">
                  <c:v>1.655753968253968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0.71</c:v>
                </c:pt>
                <c:pt idx="1">
                  <c:v>Av Price/Unit 9.36</c:v>
                </c:pt>
              </c:strCache>
            </c:strRef>
          </c:cat>
          <c:val>
            <c:numRef>
              <c:f>Sheet1!$B$2:$B$3</c:f>
              <c:numCache>
                <c:formatCode>General</c:formatCode>
                <c:ptCount val="2"/>
                <c:pt idx="0">
                  <c:v>3.8935404186795495</c:v>
                </c:pt>
                <c:pt idx="1">
                  <c:v>3.289338356164383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0.71</c:v>
                </c:pt>
                <c:pt idx="1">
                  <c:v>Av Price/Unit 9.36</c:v>
                </c:pt>
              </c:strCache>
            </c:strRef>
          </c:cat>
          <c:val>
            <c:numRef>
              <c:f>Sheet1!$C$2:$C$3</c:f>
              <c:numCache>
                <c:formatCode>General</c:formatCode>
                <c:ptCount val="2"/>
                <c:pt idx="0">
                  <c:v>4.4460141706924317</c:v>
                </c:pt>
                <c:pt idx="1">
                  <c:v>4.159863013698630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0.71</c:v>
                </c:pt>
                <c:pt idx="1">
                  <c:v>Av Price/Unit 9.36</c:v>
                </c:pt>
              </c:strCache>
            </c:strRef>
          </c:cat>
          <c:val>
            <c:numRef>
              <c:f>Sheet1!$D$2:$D$3</c:f>
              <c:numCache>
                <c:formatCode>General</c:formatCode>
                <c:ptCount val="2"/>
                <c:pt idx="0">
                  <c:v>0.58623714439076835</c:v>
                </c:pt>
                <c:pt idx="1">
                  <c:v>0.3476022831050240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0.71</c:v>
                </c:pt>
                <c:pt idx="1">
                  <c:v>Av Price/Unit 9.36</c:v>
                </c:pt>
              </c:strCache>
            </c:strRef>
          </c:cat>
          <c:val>
            <c:numRef>
              <c:f>Sheet1!$E$2:$E$3</c:f>
              <c:numCache>
                <c:formatCode>General</c:formatCode>
                <c:ptCount val="2"/>
                <c:pt idx="0">
                  <c:v>1.7851583467525491</c:v>
                </c:pt>
                <c:pt idx="1">
                  <c:v>1.559360730593606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0.93</c:v>
                </c:pt>
              </c:strCache>
            </c:strRef>
          </c:cat>
          <c:val>
            <c:numRef>
              <c:f>Sheet1!$B$2:$B$2</c:f>
              <c:numCache>
                <c:formatCode>General</c:formatCode>
                <c:ptCount val="1"/>
                <c:pt idx="0">
                  <c:v>3.907022099447514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0.93</c:v>
                </c:pt>
              </c:strCache>
            </c:strRef>
          </c:cat>
          <c:val>
            <c:numRef>
              <c:f>Sheet1!$C$2:$C$2</c:f>
              <c:numCache>
                <c:formatCode>General</c:formatCode>
                <c:ptCount val="1"/>
                <c:pt idx="0">
                  <c:v>4.466769060773480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0.93</c:v>
                </c:pt>
              </c:strCache>
            </c:strRef>
          </c:cat>
          <c:val>
            <c:numRef>
              <c:f>Sheet1!$D$2:$D$2</c:f>
              <c:numCache>
                <c:formatCode>General</c:formatCode>
                <c:ptCount val="1"/>
                <c:pt idx="0">
                  <c:v>0.7330228360957633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0.93</c:v>
                </c:pt>
              </c:strCache>
            </c:strRef>
          </c:cat>
          <c:val>
            <c:numRef>
              <c:f>Sheet1!$E$2:$E$2</c:f>
              <c:numCache>
                <c:formatCode>General</c:formatCode>
                <c:ptCount val="1"/>
                <c:pt idx="0">
                  <c:v>1.821362799263352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0.92</c:v>
                </c:pt>
              </c:strCache>
            </c:strRef>
          </c:cat>
          <c:val>
            <c:numRef>
              <c:f>Sheet1!$B$2:$B$2</c:f>
              <c:numCache>
                <c:formatCode>General</c:formatCode>
                <c:ptCount val="1"/>
                <c:pt idx="0">
                  <c:v>3.892353333333333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0.92</c:v>
                </c:pt>
              </c:strCache>
            </c:strRef>
          </c:cat>
          <c:val>
            <c:numRef>
              <c:f>Sheet1!$C$2:$C$2</c:f>
              <c:numCache>
                <c:formatCode>General</c:formatCode>
                <c:ptCount val="1"/>
                <c:pt idx="0">
                  <c:v>4.44418666666666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0.92</c:v>
                </c:pt>
              </c:strCache>
            </c:strRef>
          </c:cat>
          <c:val>
            <c:numRef>
              <c:f>Sheet1!$D$2:$D$2</c:f>
              <c:numCache>
                <c:formatCode>General</c:formatCode>
                <c:ptCount val="1"/>
                <c:pt idx="0">
                  <c:v>0.7629432041343662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0.92</c:v>
                </c:pt>
              </c:strCache>
            </c:strRef>
          </c:cat>
          <c:val>
            <c:numRef>
              <c:f>Sheet1!$E$2:$E$2</c:f>
              <c:numCache>
                <c:formatCode>General</c:formatCode>
                <c:ptCount val="1"/>
                <c:pt idx="0">
                  <c:v>1.819896640826874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rgbClr val="E6E5E5"/>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7ECAC4"/>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9F70E4A1-65EC-491F-83D7-5BE431353D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A1BCCB57-1C2E-4441-9C79-CB2EA3DFCD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ABD34977-84A6-43BF-87D8-33C86E8AAC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E2F50EE3-7E61-4384-9FE9-E51AB7B5F0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70BA395E-4065-46B4-A023-C01C994718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6B160A97-070D-4851-ADC2-A13F6A3F47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B9219777-5E9D-436E-ADDC-976D52268E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0CE927A3-7CFC-4F6B-B6BC-42FD24429D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2.8474</c:v>
                </c:pt>
                <c:pt idx="1">
                  <c:v>12.5802</c:v>
                </c:pt>
                <c:pt idx="2">
                  <c:v>11.7249</c:v>
                </c:pt>
                <c:pt idx="3">
                  <c:v>12.679399999999999</c:v>
                </c:pt>
                <c:pt idx="4">
                  <c:v>11.992699999999999</c:v>
                </c:pt>
              </c:numCache>
            </c:numRef>
          </c:xVal>
          <c:yVal>
            <c:numRef>
              <c:f>Sheet1!$B$2:$B$6</c:f>
              <c:numCache>
                <c:formatCode>General</c:formatCode>
                <c:ptCount val="5"/>
                <c:pt idx="0">
                  <c:v>0.51100000000000001</c:v>
                </c:pt>
                <c:pt idx="1">
                  <c:v>0.50970000000000004</c:v>
                </c:pt>
                <c:pt idx="2">
                  <c:v>0.50960000000000005</c:v>
                </c:pt>
                <c:pt idx="3">
                  <c:v>0.50949999999999995</c:v>
                </c:pt>
                <c:pt idx="4">
                  <c:v>0.46039999999999998</c:v>
                </c:pt>
              </c:numCache>
            </c:numRef>
          </c:yVal>
          <c:bubbleSize>
            <c:numRef>
              <c:f>Sheet1!$C$2:$C$6</c:f>
              <c:numCache>
                <c:formatCode>General</c:formatCode>
                <c:ptCount val="5"/>
                <c:pt idx="0">
                  <c:v>556897.0321999999</c:v>
                </c:pt>
                <c:pt idx="1">
                  <c:v>36205.956800000007</c:v>
                </c:pt>
                <c:pt idx="2">
                  <c:v>5487.2606999999998</c:v>
                </c:pt>
                <c:pt idx="3">
                  <c:v>22734.241300000002</c:v>
                </c:pt>
                <c:pt idx="4">
                  <c:v>28614.671200000019</c:v>
                </c:pt>
              </c:numCache>
            </c:numRef>
          </c:bubbleSize>
          <c:bubble3D val="0"/>
          <c:extLst>
            <c:ext xmlns:c15="http://schemas.microsoft.com/office/drawing/2012/chart" uri="{02D57815-91ED-43cb-92C2-25804820EDAC}">
              <c15:datalabelsRange>
                <c15:f>Sheet1!$E$2:$E$29</c15:f>
                <c15:dlblRangeCache>
                  <c:ptCount val="28"/>
                  <c:pt idx="0">
                    <c:v>NICOLAS IDF</c:v>
                  </c:pt>
                  <c:pt idx="1">
                    <c:v>NICOLAS PAC</c:v>
                  </c:pt>
                  <c:pt idx="2">
                    <c:v>NICOLAS EST</c:v>
                  </c:pt>
                  <c:pt idx="3">
                    <c:v>NICOLAS RHO</c:v>
                  </c:pt>
                  <c:pt idx="4">
                    <c:v>NICOLAS AQU</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5.416879999999999"/>
          <c:min val="9.3799200000000003"/>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50863554233554997"/>
        <c:crossBetween val="midCat"/>
      </c:valAx>
      <c:valAx>
        <c:axId val="1011451359"/>
        <c:scaling>
          <c:orientation val="minMax"/>
          <c:max val="0.97319999999999984"/>
          <c:min val="0.12831999999999999"/>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2.77953211886410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1.12</c:v>
                </c:pt>
              </c:strCache>
            </c:strRef>
          </c:cat>
          <c:val>
            <c:numRef>
              <c:f>Sheet1!$B$2:$B$2</c:f>
              <c:numCache>
                <c:formatCode>General</c:formatCode>
                <c:ptCount val="1"/>
                <c:pt idx="0">
                  <c:v>3.888985398230089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1.12</c:v>
                </c:pt>
              </c:strCache>
            </c:strRef>
          </c:cat>
          <c:val>
            <c:numRef>
              <c:f>Sheet1!$C$2:$C$2</c:f>
              <c:numCache>
                <c:formatCode>General</c:formatCode>
                <c:ptCount val="1"/>
                <c:pt idx="0">
                  <c:v>4.439001769911503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1.12</c:v>
                </c:pt>
              </c:strCache>
            </c:strRef>
          </c:cat>
          <c:val>
            <c:numRef>
              <c:f>Sheet1!$D$2:$D$2</c:f>
              <c:numCache>
                <c:formatCode>General</c:formatCode>
                <c:ptCount val="1"/>
                <c:pt idx="0">
                  <c:v>0.9345497050147493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1.12</c:v>
                </c:pt>
              </c:strCache>
            </c:strRef>
          </c:cat>
          <c:val>
            <c:numRef>
              <c:f>Sheet1!$E$2:$E$2</c:f>
              <c:numCache>
                <c:formatCode>General</c:formatCode>
                <c:ptCount val="1"/>
                <c:pt idx="0">
                  <c:v>1.852507374631267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0.73</c:v>
                </c:pt>
                <c:pt idx="1">
                  <c:v>Av Price/Unit 9.33</c:v>
                </c:pt>
                <c:pt idx="2">
                  <c:v>Av Price/Unit 9.41</c:v>
                </c:pt>
              </c:strCache>
            </c:strRef>
          </c:cat>
          <c:val>
            <c:numRef>
              <c:f>Sheet1!$B$2:$B$4</c:f>
              <c:numCache>
                <c:formatCode>General</c:formatCode>
                <c:ptCount val="3"/>
                <c:pt idx="0">
                  <c:v>3.8938869303955932</c:v>
                </c:pt>
                <c:pt idx="1">
                  <c:v>3.4903655270655274</c:v>
                </c:pt>
                <c:pt idx="2">
                  <c:v>3.530912030075188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0.73</c:v>
                </c:pt>
                <c:pt idx="1">
                  <c:v>Av Price/Unit 9.33</c:v>
                </c:pt>
                <c:pt idx="2">
                  <c:v>Av Price/Unit 9.41</c:v>
                </c:pt>
              </c:strCache>
            </c:strRef>
          </c:cat>
          <c:val>
            <c:numRef>
              <c:f>Sheet1!$C$2:$C$4</c:f>
              <c:numCache>
                <c:formatCode>General</c:formatCode>
                <c:ptCount val="3"/>
                <c:pt idx="0">
                  <c:v>4.4465476214321473</c:v>
                </c:pt>
                <c:pt idx="1">
                  <c:v>4.12</c:v>
                </c:pt>
                <c:pt idx="2">
                  <c:v>4.157067669172931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0.73</c:v>
                </c:pt>
                <c:pt idx="1">
                  <c:v>Av Price/Unit 9.33</c:v>
                </c:pt>
                <c:pt idx="2">
                  <c:v>Av Price/Unit 9.41</c:v>
                </c:pt>
              </c:strCache>
            </c:strRef>
          </c:cat>
          <c:val>
            <c:numRef>
              <c:f>Sheet1!$D$2:$D$4</c:f>
              <c:numCache>
                <c:formatCode>General</c:formatCode>
                <c:ptCount val="3"/>
                <c:pt idx="0">
                  <c:v>0.60318921715907159</c:v>
                </c:pt>
                <c:pt idx="1">
                  <c:v>0.16741225071225063</c:v>
                </c:pt>
                <c:pt idx="2">
                  <c:v>0.1534989974937346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0.73</c:v>
                </c:pt>
                <c:pt idx="1">
                  <c:v>Av Price/Unit 9.33</c:v>
                </c:pt>
                <c:pt idx="2">
                  <c:v>Av Price/Unit 9.41</c:v>
                </c:pt>
              </c:strCache>
            </c:strRef>
          </c:cat>
          <c:val>
            <c:numRef>
              <c:f>Sheet1!$E$2:$E$4</c:f>
              <c:numCache>
                <c:formatCode>General</c:formatCode>
                <c:ptCount val="3"/>
                <c:pt idx="0">
                  <c:v>1.7887247537973621</c:v>
                </c:pt>
                <c:pt idx="1">
                  <c:v>1.5555555555555556</c:v>
                </c:pt>
                <c:pt idx="2">
                  <c:v>1.568295739348370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0.81</c:v>
                </c:pt>
              </c:strCache>
            </c:strRef>
          </c:cat>
          <c:val>
            <c:numRef>
              <c:f>Sheet1!$B$2:$B$2</c:f>
              <c:numCache>
                <c:formatCode>General</c:formatCode>
                <c:ptCount val="1"/>
                <c:pt idx="0">
                  <c:v>3.896353348214284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0.81</c:v>
                </c:pt>
              </c:strCache>
            </c:strRef>
          </c:cat>
          <c:val>
            <c:numRef>
              <c:f>Sheet1!$C$2:$C$2</c:f>
              <c:numCache>
                <c:formatCode>General</c:formatCode>
                <c:ptCount val="1"/>
                <c:pt idx="0">
                  <c:v>4.450344642857142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0.81</c:v>
                </c:pt>
              </c:strCache>
            </c:strRef>
          </c:cat>
          <c:val>
            <c:numRef>
              <c:f>Sheet1!$D$2:$D$2</c:f>
              <c:numCache>
                <c:formatCode>General</c:formatCode>
                <c:ptCount val="1"/>
                <c:pt idx="0">
                  <c:v>0.6655787946428599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0.81</c:v>
                </c:pt>
              </c:strCache>
            </c:strRef>
          </c:cat>
          <c:val>
            <c:numRef>
              <c:f>Sheet1!$E$2:$E$2</c:f>
              <c:numCache>
                <c:formatCode>General</c:formatCode>
                <c:ptCount val="1"/>
                <c:pt idx="0">
                  <c:v>1.802455357142855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1.19</c:v>
                </c:pt>
              </c:strCache>
            </c:strRef>
          </c:cat>
          <c:val>
            <c:numRef>
              <c:f>Sheet1!$B$2:$B$2</c:f>
              <c:numCache>
                <c:formatCode>General</c:formatCode>
                <c:ptCount val="1"/>
                <c:pt idx="0">
                  <c:v>3.879790384615384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1.19</c:v>
                </c:pt>
              </c:strCache>
            </c:strRef>
          </c:cat>
          <c:val>
            <c:numRef>
              <c:f>Sheet1!$C$2:$C$2</c:f>
              <c:numCache>
                <c:formatCode>General</c:formatCode>
                <c:ptCount val="1"/>
                <c:pt idx="0">
                  <c:v>4.424846153846153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1.19</c:v>
                </c:pt>
              </c:strCache>
            </c:strRef>
          </c:cat>
          <c:val>
            <c:numRef>
              <c:f>Sheet1!$D$2:$D$2</c:f>
              <c:numCache>
                <c:formatCode>General</c:formatCode>
                <c:ptCount val="1"/>
                <c:pt idx="0">
                  <c:v>1.01828012820512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1.19</c:v>
                </c:pt>
              </c:strCache>
            </c:strRef>
          </c:cat>
          <c:val>
            <c:numRef>
              <c:f>Sheet1!$E$2:$E$2</c:f>
              <c:numCache>
                <c:formatCode>General</c:formatCode>
                <c:ptCount val="1"/>
                <c:pt idx="0">
                  <c:v>1.8645833333333319</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0.95</c:v>
                </c:pt>
                <c:pt idx="1">
                  <c:v>Av Price/Unit 14.56</c:v>
                </c:pt>
              </c:strCache>
            </c:strRef>
          </c:cat>
          <c:val>
            <c:numRef>
              <c:f>Sheet1!$B$2:$B$3</c:f>
              <c:numCache>
                <c:formatCode>General</c:formatCode>
                <c:ptCount val="2"/>
                <c:pt idx="0">
                  <c:v>3.8884174129353228</c:v>
                </c:pt>
                <c:pt idx="1">
                  <c:v>5.796699999999999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0.95</c:v>
                </c:pt>
                <c:pt idx="1">
                  <c:v>Av Price/Unit 14.56</c:v>
                </c:pt>
              </c:strCache>
            </c:strRef>
          </c:cat>
          <c:val>
            <c:numRef>
              <c:f>Sheet1!$C$2:$C$3</c:f>
              <c:numCache>
                <c:formatCode>General</c:formatCode>
                <c:ptCount val="2"/>
                <c:pt idx="0">
                  <c:v>4.438127363184079</c:v>
                </c:pt>
                <c:pt idx="1">
                  <c:v>6.1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0.95</c:v>
                </c:pt>
                <c:pt idx="1">
                  <c:v>Av Price/Unit 14.56</c:v>
                </c:pt>
              </c:strCache>
            </c:strRef>
          </c:cat>
          <c:val>
            <c:numRef>
              <c:f>Sheet1!$D$2:$D$3</c:f>
              <c:numCache>
                <c:formatCode>General</c:formatCode>
                <c:ptCount val="2"/>
                <c:pt idx="0">
                  <c:v>0.79451658374792622</c:v>
                </c:pt>
                <c:pt idx="1">
                  <c:v>0.2175925659472408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0.95</c:v>
                </c:pt>
                <c:pt idx="1">
                  <c:v>Av Price/Unit 14.56</c:v>
                </c:pt>
              </c:strCache>
            </c:strRef>
          </c:cat>
          <c:val>
            <c:numRef>
              <c:f>Sheet1!$E$2:$E$3</c:f>
              <c:numCache>
                <c:formatCode>General</c:formatCode>
                <c:ptCount val="2"/>
                <c:pt idx="0">
                  <c:v>1.8242122719734652</c:v>
                </c:pt>
                <c:pt idx="1">
                  <c:v>2.426858513189449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0.75</c:v>
                </c:pt>
              </c:strCache>
            </c:strRef>
          </c:cat>
          <c:val>
            <c:numRef>
              <c:f>Sheet1!$B$2:$B$2</c:f>
              <c:numCache>
                <c:formatCode>General</c:formatCode>
                <c:ptCount val="1"/>
                <c:pt idx="0">
                  <c:v>3.89314724349157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0.75</c:v>
                </c:pt>
              </c:strCache>
            </c:strRef>
          </c:cat>
          <c:val>
            <c:numRef>
              <c:f>Sheet1!$C$2:$C$2</c:f>
              <c:numCache>
                <c:formatCode>General</c:formatCode>
                <c:ptCount val="1"/>
                <c:pt idx="0">
                  <c:v>4.445408882082695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0.75</c:v>
                </c:pt>
              </c:strCache>
            </c:strRef>
          </c:cat>
          <c:val>
            <c:numRef>
              <c:f>Sheet1!$D$2:$D$2</c:f>
              <c:numCache>
                <c:formatCode>General</c:formatCode>
                <c:ptCount val="1"/>
                <c:pt idx="0">
                  <c:v>0.6207343287391502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0.75</c:v>
                </c:pt>
              </c:strCache>
            </c:strRef>
          </c:cat>
          <c:val>
            <c:numRef>
              <c:f>Sheet1!$E$2:$E$2</c:f>
              <c:numCache>
                <c:formatCode>General</c:formatCode>
                <c:ptCount val="1"/>
                <c:pt idx="0">
                  <c:v>1.79185809086268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0.67</c:v>
                </c:pt>
              </c:strCache>
            </c:strRef>
          </c:cat>
          <c:val>
            <c:numRef>
              <c:f>Sheet1!$B$2:$B$2</c:f>
              <c:numCache>
                <c:formatCode>General</c:formatCode>
                <c:ptCount val="1"/>
                <c:pt idx="0">
                  <c:v>3.898949691991786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0.67</c:v>
                </c:pt>
              </c:strCache>
            </c:strRef>
          </c:cat>
          <c:val>
            <c:numRef>
              <c:f>Sheet1!$C$2:$C$2</c:f>
              <c:numCache>
                <c:formatCode>General</c:formatCode>
                <c:ptCount val="1"/>
                <c:pt idx="0">
                  <c:v>4.454341683778234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0.67</c:v>
                </c:pt>
              </c:strCache>
            </c:strRef>
          </c:cat>
          <c:val>
            <c:numRef>
              <c:f>Sheet1!$D$2:$D$2</c:f>
              <c:numCache>
                <c:formatCode>General</c:formatCode>
                <c:ptCount val="1"/>
                <c:pt idx="0">
                  <c:v>0.5378790554414791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0.67</c:v>
                </c:pt>
              </c:strCache>
            </c:strRef>
          </c:cat>
          <c:val>
            <c:numRef>
              <c:f>Sheet1!$E$2:$E$2</c:f>
              <c:numCache>
                <c:formatCode>General</c:formatCode>
                <c:ptCount val="1"/>
                <c:pt idx="0">
                  <c:v>1.778234086242299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0.75</c:v>
                </c:pt>
                <c:pt idx="1">
                  <c:v>Av Price/Unit 14.60</c:v>
                </c:pt>
                <c:pt idx="2">
                  <c:v>Av Price/Unit 9.59</c:v>
                </c:pt>
              </c:strCache>
            </c:strRef>
          </c:cat>
          <c:val>
            <c:numRef>
              <c:f>Sheet1!$B$2:$B$4</c:f>
              <c:numCache>
                <c:formatCode>General</c:formatCode>
                <c:ptCount val="3"/>
                <c:pt idx="0">
                  <c:v>3.8868160645657195</c:v>
                </c:pt>
                <c:pt idx="1">
                  <c:v>5.7966999999999995</c:v>
                </c:pt>
                <c:pt idx="2">
                  <c:v>3.5290894736842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0.75</c:v>
                </c:pt>
                <c:pt idx="1">
                  <c:v>Av Price/Unit 14.60</c:v>
                </c:pt>
                <c:pt idx="2">
                  <c:v>Av Price/Unit 9.59</c:v>
                </c:pt>
              </c:strCache>
            </c:strRef>
          </c:cat>
          <c:val>
            <c:numRef>
              <c:f>Sheet1!$C$2:$C$4</c:f>
              <c:numCache>
                <c:formatCode>General</c:formatCode>
                <c:ptCount val="3"/>
                <c:pt idx="0">
                  <c:v>4.4356621060722512</c:v>
                </c:pt>
                <c:pt idx="1">
                  <c:v>6.120000000000001</c:v>
                </c:pt>
                <c:pt idx="2">
                  <c:v>4.1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0.75</c:v>
                </c:pt>
                <c:pt idx="1">
                  <c:v>Av Price/Unit 14.60</c:v>
                </c:pt>
                <c:pt idx="2">
                  <c:v>Av Price/Unit 9.59</c:v>
                </c:pt>
              </c:strCache>
            </c:strRef>
          </c:cat>
          <c:val>
            <c:numRef>
              <c:f>Sheet1!$D$2:$D$4</c:f>
              <c:numCache>
                <c:formatCode>General</c:formatCode>
                <c:ptCount val="3"/>
                <c:pt idx="0">
                  <c:v>0.63537476300281881</c:v>
                </c:pt>
                <c:pt idx="1">
                  <c:v>0.25399892473118513</c:v>
                </c:pt>
                <c:pt idx="2">
                  <c:v>0.3396323308270705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0.75</c:v>
                </c:pt>
                <c:pt idx="1">
                  <c:v>Av Price/Unit 14.60</c:v>
                </c:pt>
                <c:pt idx="2">
                  <c:v>Av Price/Unit 9.59</c:v>
                </c:pt>
              </c:strCache>
            </c:strRef>
          </c:cat>
          <c:val>
            <c:numRef>
              <c:f>Sheet1!$E$2:$E$4</c:f>
              <c:numCache>
                <c:formatCode>General</c:formatCode>
                <c:ptCount val="3"/>
                <c:pt idx="0">
                  <c:v>1.7915705867281568</c:v>
                </c:pt>
                <c:pt idx="1">
                  <c:v>2.4341397849462361</c:v>
                </c:pt>
                <c:pt idx="2">
                  <c:v>1.5977443609022539</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0.75</c:v>
                </c:pt>
              </c:strCache>
            </c:strRef>
          </c:cat>
          <c:val>
            <c:numRef>
              <c:f>Sheet1!$B$2:$B$2</c:f>
              <c:numCache>
                <c:formatCode>General</c:formatCode>
                <c:ptCount val="1"/>
                <c:pt idx="0">
                  <c:v>3.897188445807771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0.75</c:v>
                </c:pt>
              </c:strCache>
            </c:strRef>
          </c:cat>
          <c:val>
            <c:numRef>
              <c:f>Sheet1!$C$2:$C$2</c:f>
              <c:numCache>
                <c:formatCode>General</c:formatCode>
                <c:ptCount val="1"/>
                <c:pt idx="0">
                  <c:v>4.451630265848670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0.75</c:v>
                </c:pt>
              </c:strCache>
            </c:strRef>
          </c:cat>
          <c:val>
            <c:numRef>
              <c:f>Sheet1!$D$2:$D$2</c:f>
              <c:numCache>
                <c:formatCode>General</c:formatCode>
                <c:ptCount val="1"/>
                <c:pt idx="0">
                  <c:v>0.6056802658486706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0.75</c:v>
                </c:pt>
              </c:strCache>
            </c:strRef>
          </c:cat>
          <c:val>
            <c:numRef>
              <c:f>Sheet1!$E$2:$E$2</c:f>
              <c:numCache>
                <c:formatCode>General</c:formatCode>
                <c:ptCount val="1"/>
                <c:pt idx="0">
                  <c:v>1.790899795501022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0.89</c:v>
                </c:pt>
                <c:pt idx="1">
                  <c:v>Av Price/Unit 9.45</c:v>
                </c:pt>
                <c:pt idx="2">
                  <c:v>Av Price/Unit 9.50</c:v>
                </c:pt>
              </c:strCache>
            </c:strRef>
          </c:cat>
          <c:val>
            <c:numRef>
              <c:f>Sheet1!$B$2:$B$4</c:f>
              <c:numCache>
                <c:formatCode>General</c:formatCode>
                <c:ptCount val="3"/>
                <c:pt idx="0">
                  <c:v>3.89561702970297</c:v>
                </c:pt>
                <c:pt idx="1">
                  <c:v>3.4851759689922481</c:v>
                </c:pt>
                <c:pt idx="2">
                  <c:v>3.475462162162162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0.89</c:v>
                </c:pt>
                <c:pt idx="1">
                  <c:v>Av Price/Unit 9.45</c:v>
                </c:pt>
                <c:pt idx="2">
                  <c:v>Av Price/Unit 9.50</c:v>
                </c:pt>
              </c:strCache>
            </c:strRef>
          </c:cat>
          <c:val>
            <c:numRef>
              <c:f>Sheet1!$C$2:$C$4</c:f>
              <c:numCache>
                <c:formatCode>General</c:formatCode>
                <c:ptCount val="3"/>
                <c:pt idx="0">
                  <c:v>4.4492110891089096</c:v>
                </c:pt>
                <c:pt idx="1">
                  <c:v>4.1575968992248065</c:v>
                </c:pt>
                <c:pt idx="2">
                  <c:v>4.119999999999999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0.89</c:v>
                </c:pt>
                <c:pt idx="1">
                  <c:v>Av Price/Unit 9.45</c:v>
                </c:pt>
                <c:pt idx="2">
                  <c:v>Av Price/Unit 9.50</c:v>
                </c:pt>
              </c:strCache>
            </c:strRef>
          </c:cat>
          <c:val>
            <c:numRef>
              <c:f>Sheet1!$D$2:$D$4</c:f>
              <c:numCache>
                <c:formatCode>General</c:formatCode>
                <c:ptCount val="3"/>
                <c:pt idx="0">
                  <c:v>0.72942930693069385</c:v>
                </c:pt>
                <c:pt idx="1">
                  <c:v>0.22867416020671882</c:v>
                </c:pt>
                <c:pt idx="2">
                  <c:v>0.3189522522522514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0.89</c:v>
                </c:pt>
                <c:pt idx="1">
                  <c:v>Av Price/Unit 9.45</c:v>
                </c:pt>
                <c:pt idx="2">
                  <c:v>Av Price/Unit 9.50</c:v>
                </c:pt>
              </c:strCache>
            </c:strRef>
          </c:cat>
          <c:val>
            <c:numRef>
              <c:f>Sheet1!$E$2:$E$4</c:f>
              <c:numCache>
                <c:formatCode>General</c:formatCode>
                <c:ptCount val="3"/>
                <c:pt idx="0">
                  <c:v>1.8148514851485149</c:v>
                </c:pt>
                <c:pt idx="1">
                  <c:v>1.5742894056847538</c:v>
                </c:pt>
                <c:pt idx="2">
                  <c:v>1.582882882882882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006C6D"/>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B447F043-C26E-4D2A-99CF-1BEA2378CD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B620DC9E-9A48-490D-ACD3-D91950E878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58B53C2-BC47-46A1-9966-5914D9292D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1B6829DC-7E50-4C4B-B340-D479115737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1C74EB7B-966D-4823-930B-DF62FAF975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210595FE-E33C-484F-BA17-DEF18C8ABE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AF139D50-CA9A-4C26-B9D8-3513BB9B02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CADE2FB7-0243-4609-AC5B-435A18A76A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4.279900000000001</c:v>
                </c:pt>
                <c:pt idx="1">
                  <c:v>24.430499999999999</c:v>
                </c:pt>
                <c:pt idx="2">
                  <c:v>23.111799999999999</c:v>
                </c:pt>
                <c:pt idx="3">
                  <c:v>25.891300000000001</c:v>
                </c:pt>
                <c:pt idx="4">
                  <c:v>21.971</c:v>
                </c:pt>
              </c:numCache>
            </c:numRef>
          </c:xVal>
          <c:yVal>
            <c:numRef>
              <c:f>Sheet1!$B$2:$B$6</c:f>
              <c:numCache>
                <c:formatCode>General</c:formatCode>
                <c:ptCount val="5"/>
                <c:pt idx="0">
                  <c:v>0.53339999999999999</c:v>
                </c:pt>
                <c:pt idx="1">
                  <c:v>0.52780000000000005</c:v>
                </c:pt>
                <c:pt idx="2">
                  <c:v>0.52359999999999995</c:v>
                </c:pt>
                <c:pt idx="3">
                  <c:v>0.53539999999999999</c:v>
                </c:pt>
                <c:pt idx="4">
                  <c:v>0.52190000000000003</c:v>
                </c:pt>
              </c:numCache>
            </c:numRef>
          </c:yVal>
          <c:bubbleSize>
            <c:numRef>
              <c:f>Sheet1!$C$2:$C$6</c:f>
              <c:numCache>
                <c:formatCode>General</c:formatCode>
                <c:ptCount val="5"/>
                <c:pt idx="0">
                  <c:v>124580.4051</c:v>
                </c:pt>
                <c:pt idx="1">
                  <c:v>78030.996999999988</c:v>
                </c:pt>
                <c:pt idx="2">
                  <c:v>88841.785499999998</c:v>
                </c:pt>
                <c:pt idx="3">
                  <c:v>166299.56789999999</c:v>
                </c:pt>
                <c:pt idx="4">
                  <c:v>77953.170400000032</c:v>
                </c:pt>
              </c:numCache>
            </c:numRef>
          </c:bubbleSize>
          <c:bubble3D val="0"/>
          <c:extLst>
            <c:ext xmlns:c15="http://schemas.microsoft.com/office/drawing/2012/chart" uri="{02D57815-91ED-43cb-92C2-25804820EDAC}">
              <c15:datalabelsRange>
                <c15:f>Sheet1!$E$2:$E$29</c15:f>
                <c15:dlblRangeCache>
                  <c:ptCount val="28"/>
                  <c:pt idx="0">
                    <c:v>CA C</c:v>
                  </c:pt>
                  <c:pt idx="1">
                    <c:v>CA B</c:v>
                  </c:pt>
                  <c:pt idx="2">
                    <c:v>CA D</c:v>
                  </c:pt>
                  <c:pt idx="3">
                    <c:v>CA A</c:v>
                  </c:pt>
                  <c:pt idx="4">
                    <c:v>CA E</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1.069559999999999"/>
          <c:min val="17.576800000000002"/>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52990650606159373"/>
        <c:crossBetween val="midCat"/>
      </c:valAx>
      <c:valAx>
        <c:axId val="1011451359"/>
        <c:scaling>
          <c:orientation val="minMax"/>
          <c:max val="1.0024799999999998"/>
          <c:min val="0.1775200000000000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4.27236681299993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21.25</c:v>
                </c:pt>
                <c:pt idx="1">
                  <c:v>Av Price/Unit 39.13</c:v>
                </c:pt>
                <c:pt idx="2">
                  <c:v>Av Price/Unit 25.23</c:v>
                </c:pt>
                <c:pt idx="3">
                  <c:v>Av Price/Unit 31.40</c:v>
                </c:pt>
                <c:pt idx="4">
                  <c:v>Av Price/Unit 47.23</c:v>
                </c:pt>
                <c:pt idx="5">
                  <c:v>Av Price/Unit 92.71</c:v>
                </c:pt>
                <c:pt idx="6">
                  <c:v>Av Price/Unit 37.36</c:v>
                </c:pt>
                <c:pt idx="7">
                  <c:v>Av Price/Unit 23.27</c:v>
                </c:pt>
                <c:pt idx="8">
                  <c:v>Av Price/Unit 24.94</c:v>
                </c:pt>
                <c:pt idx="9">
                  <c:v>Av Price/Unit 37.44</c:v>
                </c:pt>
                <c:pt idx="10">
                  <c:v>Av Price/Unit 24.84</c:v>
                </c:pt>
              </c:strCache>
            </c:strRef>
          </c:cat>
          <c:val>
            <c:numRef>
              <c:f>Sheet1!$B$2:$B$12</c:f>
              <c:numCache>
                <c:formatCode>General</c:formatCode>
                <c:ptCount val="11"/>
                <c:pt idx="0">
                  <c:v>3.6134988670970882</c:v>
                </c:pt>
                <c:pt idx="1">
                  <c:v>13.3454</c:v>
                </c:pt>
                <c:pt idx="2">
                  <c:v>5.3663905660377358</c:v>
                </c:pt>
                <c:pt idx="3">
                  <c:v>11.747198466257668</c:v>
                </c:pt>
                <c:pt idx="4">
                  <c:v>10.73075172413793</c:v>
                </c:pt>
                <c:pt idx="5">
                  <c:v>32.59877894736843</c:v>
                </c:pt>
                <c:pt idx="6">
                  <c:v>14.107096875</c:v>
                </c:pt>
                <c:pt idx="7">
                  <c:v>8.9786911764705852</c:v>
                </c:pt>
                <c:pt idx="8">
                  <c:v>9.3756626506024112</c:v>
                </c:pt>
                <c:pt idx="9">
                  <c:v>13.322600000000001</c:v>
                </c:pt>
                <c:pt idx="10">
                  <c:v>9.373399999999998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21.25</c:v>
                </c:pt>
                <c:pt idx="1">
                  <c:v>Av Price/Unit 39.13</c:v>
                </c:pt>
                <c:pt idx="2">
                  <c:v>Av Price/Unit 25.23</c:v>
                </c:pt>
                <c:pt idx="3">
                  <c:v>Av Price/Unit 31.40</c:v>
                </c:pt>
                <c:pt idx="4">
                  <c:v>Av Price/Unit 47.23</c:v>
                </c:pt>
                <c:pt idx="5">
                  <c:v>Av Price/Unit 92.71</c:v>
                </c:pt>
                <c:pt idx="6">
                  <c:v>Av Price/Unit 37.36</c:v>
                </c:pt>
                <c:pt idx="7">
                  <c:v>Av Price/Unit 23.27</c:v>
                </c:pt>
                <c:pt idx="8">
                  <c:v>Av Price/Unit 24.94</c:v>
                </c:pt>
                <c:pt idx="9">
                  <c:v>Av Price/Unit 37.44</c:v>
                </c:pt>
                <c:pt idx="10">
                  <c:v>Av Price/Unit 24.84</c:v>
                </c:pt>
              </c:strCache>
            </c:strRef>
          </c:cat>
          <c:val>
            <c:numRef>
              <c:f>Sheet1!$C$2:$C$12</c:f>
              <c:numCache>
                <c:formatCode>General</c:formatCode>
                <c:ptCount val="11"/>
                <c:pt idx="0">
                  <c:v>13.388868595444023</c:v>
                </c:pt>
                <c:pt idx="1">
                  <c:v>16.206</c:v>
                </c:pt>
                <c:pt idx="2">
                  <c:v>15.466909433962263</c:v>
                </c:pt>
                <c:pt idx="3">
                  <c:v>14.308320858895705</c:v>
                </c:pt>
                <c:pt idx="4">
                  <c:v>26.946465517241382</c:v>
                </c:pt>
                <c:pt idx="5">
                  <c:v>34.927</c:v>
                </c:pt>
                <c:pt idx="6">
                  <c:v>15.344281249999998</c:v>
                </c:pt>
                <c:pt idx="7">
                  <c:v>8.8428529411764707</c:v>
                </c:pt>
                <c:pt idx="8">
                  <c:v>8.5388530120481931</c:v>
                </c:pt>
                <c:pt idx="9">
                  <c:v>16.056999999999999</c:v>
                </c:pt>
                <c:pt idx="10">
                  <c:v>9.057999999999999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21.25</c:v>
                </c:pt>
                <c:pt idx="1">
                  <c:v>Av Price/Unit 39.13</c:v>
                </c:pt>
                <c:pt idx="2">
                  <c:v>Av Price/Unit 25.23</c:v>
                </c:pt>
                <c:pt idx="3">
                  <c:v>Av Price/Unit 31.40</c:v>
                </c:pt>
                <c:pt idx="4">
                  <c:v>Av Price/Unit 47.23</c:v>
                </c:pt>
                <c:pt idx="5">
                  <c:v>Av Price/Unit 92.71</c:v>
                </c:pt>
                <c:pt idx="6">
                  <c:v>Av Price/Unit 37.36</c:v>
                </c:pt>
                <c:pt idx="7">
                  <c:v>Av Price/Unit 23.27</c:v>
                </c:pt>
                <c:pt idx="8">
                  <c:v>Av Price/Unit 24.94</c:v>
                </c:pt>
                <c:pt idx="9">
                  <c:v>Av Price/Unit 37.44</c:v>
                </c:pt>
                <c:pt idx="10">
                  <c:v>Av Price/Unit 24.84</c:v>
                </c:pt>
              </c:strCache>
            </c:strRef>
          </c:cat>
          <c:val>
            <c:numRef>
              <c:f>Sheet1!$D$2:$D$12</c:f>
              <c:numCache>
                <c:formatCode>General</c:formatCode>
                <c:ptCount val="11"/>
                <c:pt idx="0">
                  <c:v>0.70756472570755236</c:v>
                </c:pt>
                <c:pt idx="1">
                  <c:v>3.0575324618736346</c:v>
                </c:pt>
                <c:pt idx="2">
                  <c:v>0.19342955974842724</c:v>
                </c:pt>
                <c:pt idx="3">
                  <c:v>0.11523732106339324</c:v>
                </c:pt>
                <c:pt idx="4">
                  <c:v>1.6810203065134104</c:v>
                </c:pt>
                <c:pt idx="5">
                  <c:v>9.7329929824561248</c:v>
                </c:pt>
                <c:pt idx="6">
                  <c:v>1.6814343750000056</c:v>
                </c:pt>
                <c:pt idx="7">
                  <c:v>1.5738807189542463</c:v>
                </c:pt>
                <c:pt idx="8">
                  <c:v>2.8685734939759051</c:v>
                </c:pt>
                <c:pt idx="9">
                  <c:v>1.8183166666666679</c:v>
                </c:pt>
                <c:pt idx="10">
                  <c:v>2.16582222222222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21.25</c:v>
                </c:pt>
                <c:pt idx="1">
                  <c:v>Av Price/Unit 39.13</c:v>
                </c:pt>
                <c:pt idx="2">
                  <c:v>Av Price/Unit 25.23</c:v>
                </c:pt>
                <c:pt idx="3">
                  <c:v>Av Price/Unit 31.40</c:v>
                </c:pt>
                <c:pt idx="4">
                  <c:v>Av Price/Unit 47.23</c:v>
                </c:pt>
                <c:pt idx="5">
                  <c:v>Av Price/Unit 92.71</c:v>
                </c:pt>
                <c:pt idx="6">
                  <c:v>Av Price/Unit 37.36</c:v>
                </c:pt>
                <c:pt idx="7">
                  <c:v>Av Price/Unit 23.27</c:v>
                </c:pt>
                <c:pt idx="8">
                  <c:v>Av Price/Unit 24.94</c:v>
                </c:pt>
                <c:pt idx="9">
                  <c:v>Av Price/Unit 37.44</c:v>
                </c:pt>
                <c:pt idx="10">
                  <c:v>Av Price/Unit 24.84</c:v>
                </c:pt>
              </c:strCache>
            </c:strRef>
          </c:cat>
          <c:val>
            <c:numRef>
              <c:f>Sheet1!$E$2:$E$12</c:f>
              <c:numCache>
                <c:formatCode>General</c:formatCode>
                <c:ptCount val="11"/>
                <c:pt idx="0">
                  <c:v>3.5419864376497365</c:v>
                </c:pt>
                <c:pt idx="1">
                  <c:v>6.5217864923747317</c:v>
                </c:pt>
                <c:pt idx="2">
                  <c:v>4.2053459119496832</c:v>
                </c:pt>
                <c:pt idx="3">
                  <c:v>5.2341513292433497</c:v>
                </c:pt>
                <c:pt idx="4">
                  <c:v>7.8716475095785405</c:v>
                </c:pt>
                <c:pt idx="5">
                  <c:v>15.451754385964909</c:v>
                </c:pt>
                <c:pt idx="6">
                  <c:v>6.2265624999999964</c:v>
                </c:pt>
                <c:pt idx="7">
                  <c:v>3.8790849673202601</c:v>
                </c:pt>
                <c:pt idx="8">
                  <c:v>4.1566265060240966</c:v>
                </c:pt>
                <c:pt idx="9">
                  <c:v>6.239583333333333</c:v>
                </c:pt>
                <c:pt idx="10">
                  <c:v>4.119444444444441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3</c:v>
                </c:pt>
                <c:pt idx="1">
                  <c:v>Av Price/Unit 38.88</c:v>
                </c:pt>
                <c:pt idx="2">
                  <c:v>Av Price/Unit 25.14</c:v>
                </c:pt>
                <c:pt idx="3">
                  <c:v>Av Price/Unit 32.09</c:v>
                </c:pt>
                <c:pt idx="4">
                  <c:v>Av Price/Unit 22.52</c:v>
                </c:pt>
                <c:pt idx="5">
                  <c:v>Av Price/Unit 47.23</c:v>
                </c:pt>
                <c:pt idx="6">
                  <c:v>Av Price/Unit 38.79</c:v>
                </c:pt>
                <c:pt idx="7">
                  <c:v>Av Price/Unit 36.57</c:v>
                </c:pt>
                <c:pt idx="8">
                  <c:v>Av Price/Unit 23.90</c:v>
                </c:pt>
                <c:pt idx="9">
                  <c:v>Av Price/Unit 48.95</c:v>
                </c:pt>
                <c:pt idx="10">
                  <c:v>Av Price/Unit 95.30</c:v>
                </c:pt>
                <c:pt idx="11">
                  <c:v>Av Price/Unit 34.35</c:v>
                </c:pt>
              </c:strCache>
            </c:strRef>
          </c:cat>
          <c:val>
            <c:numRef>
              <c:f>Sheet1!$B$2:$B$13</c:f>
              <c:numCache>
                <c:formatCode>General</c:formatCode>
                <c:ptCount val="12"/>
                <c:pt idx="0">
                  <c:v>3.5979885625965999</c:v>
                </c:pt>
                <c:pt idx="1">
                  <c:v>13.272809197324415</c:v>
                </c:pt>
                <c:pt idx="2">
                  <c:v>5.3377626038781161</c:v>
                </c:pt>
                <c:pt idx="3">
                  <c:v>11.74676119873817</c:v>
                </c:pt>
                <c:pt idx="4">
                  <c:v>9.3242076923076915</c:v>
                </c:pt>
                <c:pt idx="5">
                  <c:v>10.69708347826087</c:v>
                </c:pt>
                <c:pt idx="6">
                  <c:v>14.262985714285714</c:v>
                </c:pt>
                <c:pt idx="7">
                  <c:v>13.111399999999998</c:v>
                </c:pt>
                <c:pt idx="8">
                  <c:v>9.2703295999999984</c:v>
                </c:pt>
                <c:pt idx="9">
                  <c:v>17.405999999999999</c:v>
                </c:pt>
                <c:pt idx="10">
                  <c:v>32.543566666666663</c:v>
                </c:pt>
                <c:pt idx="11">
                  <c:v>11.76138333333333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3</c:v>
                </c:pt>
                <c:pt idx="1">
                  <c:v>Av Price/Unit 38.88</c:v>
                </c:pt>
                <c:pt idx="2">
                  <c:v>Av Price/Unit 25.14</c:v>
                </c:pt>
                <c:pt idx="3">
                  <c:v>Av Price/Unit 32.09</c:v>
                </c:pt>
                <c:pt idx="4">
                  <c:v>Av Price/Unit 22.52</c:v>
                </c:pt>
                <c:pt idx="5">
                  <c:v>Av Price/Unit 47.23</c:v>
                </c:pt>
                <c:pt idx="6">
                  <c:v>Av Price/Unit 38.79</c:v>
                </c:pt>
                <c:pt idx="7">
                  <c:v>Av Price/Unit 36.57</c:v>
                </c:pt>
                <c:pt idx="8">
                  <c:v>Av Price/Unit 23.90</c:v>
                </c:pt>
                <c:pt idx="9">
                  <c:v>Av Price/Unit 48.95</c:v>
                </c:pt>
                <c:pt idx="10">
                  <c:v>Av Price/Unit 95.30</c:v>
                </c:pt>
                <c:pt idx="11">
                  <c:v>Av Price/Unit 34.35</c:v>
                </c:pt>
              </c:strCache>
            </c:strRef>
          </c:cat>
          <c:val>
            <c:numRef>
              <c:f>Sheet1!$C$2:$C$13</c:f>
              <c:numCache>
                <c:formatCode>General</c:formatCode>
                <c:ptCount val="12"/>
                <c:pt idx="0">
                  <c:v>13.413333075734156</c:v>
                </c:pt>
                <c:pt idx="1">
                  <c:v>16.206</c:v>
                </c:pt>
                <c:pt idx="2">
                  <c:v>15.495537396121886</c:v>
                </c:pt>
                <c:pt idx="3">
                  <c:v>14.308229652996847</c:v>
                </c:pt>
                <c:pt idx="4">
                  <c:v>8.7712153846153829</c:v>
                </c:pt>
                <c:pt idx="5">
                  <c:v>27.049313043478261</c:v>
                </c:pt>
                <c:pt idx="6">
                  <c:v>15.334999999999999</c:v>
                </c:pt>
                <c:pt idx="7">
                  <c:v>16.072428571428571</c:v>
                </c:pt>
                <c:pt idx="8">
                  <c:v>8.5470047999999981</c:v>
                </c:pt>
                <c:pt idx="9">
                  <c:v>21.344000000000005</c:v>
                </c:pt>
                <c:pt idx="10">
                  <c:v>34.927</c:v>
                </c:pt>
                <c:pt idx="11">
                  <c:v>14.28127777777777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3</c:v>
                </c:pt>
                <c:pt idx="1">
                  <c:v>Av Price/Unit 38.88</c:v>
                </c:pt>
                <c:pt idx="2">
                  <c:v>Av Price/Unit 25.14</c:v>
                </c:pt>
                <c:pt idx="3">
                  <c:v>Av Price/Unit 32.09</c:v>
                </c:pt>
                <c:pt idx="4">
                  <c:v>Av Price/Unit 22.52</c:v>
                </c:pt>
                <c:pt idx="5">
                  <c:v>Av Price/Unit 47.23</c:v>
                </c:pt>
                <c:pt idx="6">
                  <c:v>Av Price/Unit 38.79</c:v>
                </c:pt>
                <c:pt idx="7">
                  <c:v>Av Price/Unit 36.57</c:v>
                </c:pt>
                <c:pt idx="8">
                  <c:v>Av Price/Unit 23.90</c:v>
                </c:pt>
                <c:pt idx="9">
                  <c:v>Av Price/Unit 48.95</c:v>
                </c:pt>
                <c:pt idx="10">
                  <c:v>Av Price/Unit 95.30</c:v>
                </c:pt>
                <c:pt idx="11">
                  <c:v>Av Price/Unit 34.35</c:v>
                </c:pt>
              </c:strCache>
            </c:strRef>
          </c:cat>
          <c:val>
            <c:numRef>
              <c:f>Sheet1!$D$2:$D$13</c:f>
              <c:numCache>
                <c:formatCode>General</c:formatCode>
                <c:ptCount val="12"/>
                <c:pt idx="0">
                  <c:v>0.76531125422176771</c:v>
                </c:pt>
                <c:pt idx="1">
                  <c:v>2.9194628205128197</c:v>
                </c:pt>
                <c:pt idx="2">
                  <c:v>0.11429926131117796</c:v>
                </c:pt>
                <c:pt idx="3">
                  <c:v>0.68791135646687707</c:v>
                </c:pt>
                <c:pt idx="4">
                  <c:v>0.67380769230769033</c:v>
                </c:pt>
                <c:pt idx="5">
                  <c:v>1.6159223188405676</c:v>
                </c:pt>
                <c:pt idx="6">
                  <c:v>2.7234428571428637</c:v>
                </c:pt>
                <c:pt idx="7">
                  <c:v>1.2923619047619006</c:v>
                </c:pt>
                <c:pt idx="8">
                  <c:v>2.1026080000000036</c:v>
                </c:pt>
                <c:pt idx="9">
                  <c:v>1.5015723270440304</c:v>
                </c:pt>
                <c:pt idx="10">
                  <c:v>11.946100000000015</c:v>
                </c:pt>
                <c:pt idx="11">
                  <c:v>2.580024074074067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3</c:v>
                </c:pt>
                <c:pt idx="1">
                  <c:v>Av Price/Unit 38.88</c:v>
                </c:pt>
                <c:pt idx="2">
                  <c:v>Av Price/Unit 25.14</c:v>
                </c:pt>
                <c:pt idx="3">
                  <c:v>Av Price/Unit 32.09</c:v>
                </c:pt>
                <c:pt idx="4">
                  <c:v>Av Price/Unit 22.52</c:v>
                </c:pt>
                <c:pt idx="5">
                  <c:v>Av Price/Unit 47.23</c:v>
                </c:pt>
                <c:pt idx="6">
                  <c:v>Av Price/Unit 38.79</c:v>
                </c:pt>
                <c:pt idx="7">
                  <c:v>Av Price/Unit 36.57</c:v>
                </c:pt>
                <c:pt idx="8">
                  <c:v>Av Price/Unit 23.90</c:v>
                </c:pt>
                <c:pt idx="9">
                  <c:v>Av Price/Unit 48.95</c:v>
                </c:pt>
                <c:pt idx="10">
                  <c:v>Av Price/Unit 95.30</c:v>
                </c:pt>
                <c:pt idx="11">
                  <c:v>Av Price/Unit 34.35</c:v>
                </c:pt>
              </c:strCache>
            </c:strRef>
          </c:cat>
          <c:val>
            <c:numRef>
              <c:f>Sheet1!$E$2:$E$13</c:f>
              <c:numCache>
                <c:formatCode>General</c:formatCode>
                <c:ptCount val="12"/>
                <c:pt idx="0">
                  <c:v>3.5553265785105026</c:v>
                </c:pt>
                <c:pt idx="1">
                  <c:v>6.4796544035674453</c:v>
                </c:pt>
                <c:pt idx="2">
                  <c:v>4.189519852262233</c:v>
                </c:pt>
                <c:pt idx="3">
                  <c:v>5.3485804416403786</c:v>
                </c:pt>
                <c:pt idx="4">
                  <c:v>3.7538461538461538</c:v>
                </c:pt>
                <c:pt idx="5">
                  <c:v>7.8724637681159475</c:v>
                </c:pt>
                <c:pt idx="6">
                  <c:v>6.46428571428571</c:v>
                </c:pt>
                <c:pt idx="7">
                  <c:v>6.0952380952380949</c:v>
                </c:pt>
                <c:pt idx="8">
                  <c:v>3.984</c:v>
                </c:pt>
                <c:pt idx="9">
                  <c:v>8.0503144654088015</c:v>
                </c:pt>
                <c:pt idx="10">
                  <c:v>15.883333333333333</c:v>
                </c:pt>
                <c:pt idx="11">
                  <c:v>5.724537037037041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21</c:v>
                </c:pt>
                <c:pt idx="1">
                  <c:v>Av Price/Unit 38.81</c:v>
                </c:pt>
                <c:pt idx="2">
                  <c:v>Av Price/Unit 25.07</c:v>
                </c:pt>
                <c:pt idx="3">
                  <c:v>Av Price/Unit 31.98</c:v>
                </c:pt>
                <c:pt idx="4">
                  <c:v>Av Price/Unit 45.83</c:v>
                </c:pt>
                <c:pt idx="5">
                  <c:v>Av Price/Unit 22.49</c:v>
                </c:pt>
                <c:pt idx="6">
                  <c:v>Av Price/Unit 39.32</c:v>
                </c:pt>
                <c:pt idx="7">
                  <c:v>Av Price/Unit 91.93</c:v>
                </c:pt>
                <c:pt idx="8">
                  <c:v>Av Price/Unit 32.83</c:v>
                </c:pt>
                <c:pt idx="9">
                  <c:v>Av Price/Unit 24.40</c:v>
                </c:pt>
                <c:pt idx="10">
                  <c:v>Av Price/Unit 23.92</c:v>
                </c:pt>
                <c:pt idx="11">
                  <c:v>Av Price/Unit 108.65</c:v>
                </c:pt>
              </c:strCache>
            </c:strRef>
          </c:cat>
          <c:val>
            <c:numRef>
              <c:f>Sheet1!$B$2:$B$13</c:f>
              <c:numCache>
                <c:formatCode>General</c:formatCode>
                <c:ptCount val="12"/>
                <c:pt idx="0">
                  <c:v>3.6161074044990529</c:v>
                </c:pt>
                <c:pt idx="1">
                  <c:v>13.33840909090909</c:v>
                </c:pt>
                <c:pt idx="2">
                  <c:v>5.3686472563472565</c:v>
                </c:pt>
                <c:pt idx="3">
                  <c:v>11.806070995670996</c:v>
                </c:pt>
                <c:pt idx="4">
                  <c:v>10.737373006134966</c:v>
                </c:pt>
                <c:pt idx="5">
                  <c:v>9.1161432038834942</c:v>
                </c:pt>
                <c:pt idx="6">
                  <c:v>14.319385263157896</c:v>
                </c:pt>
                <c:pt idx="7">
                  <c:v>32.893244444444441</c:v>
                </c:pt>
                <c:pt idx="8">
                  <c:v>11.943612030075187</c:v>
                </c:pt>
                <c:pt idx="9">
                  <c:v>9.3734000000000002</c:v>
                </c:pt>
                <c:pt idx="10">
                  <c:v>9.4145480662983427</c:v>
                </c:pt>
                <c:pt idx="11">
                  <c:v>36.59037647058822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21</c:v>
                </c:pt>
                <c:pt idx="1">
                  <c:v>Av Price/Unit 38.81</c:v>
                </c:pt>
                <c:pt idx="2">
                  <c:v>Av Price/Unit 25.07</c:v>
                </c:pt>
                <c:pt idx="3">
                  <c:v>Av Price/Unit 31.98</c:v>
                </c:pt>
                <c:pt idx="4">
                  <c:v>Av Price/Unit 45.83</c:v>
                </c:pt>
                <c:pt idx="5">
                  <c:v>Av Price/Unit 22.49</c:v>
                </c:pt>
                <c:pt idx="6">
                  <c:v>Av Price/Unit 39.32</c:v>
                </c:pt>
                <c:pt idx="7">
                  <c:v>Av Price/Unit 91.93</c:v>
                </c:pt>
                <c:pt idx="8">
                  <c:v>Av Price/Unit 32.83</c:v>
                </c:pt>
                <c:pt idx="9">
                  <c:v>Av Price/Unit 24.40</c:v>
                </c:pt>
                <c:pt idx="10">
                  <c:v>Av Price/Unit 23.92</c:v>
                </c:pt>
                <c:pt idx="11">
                  <c:v>Av Price/Unit 108.65</c:v>
                </c:pt>
              </c:strCache>
            </c:strRef>
          </c:cat>
          <c:val>
            <c:numRef>
              <c:f>Sheet1!$C$2:$C$13</c:f>
              <c:numCache>
                <c:formatCode>General</c:formatCode>
                <c:ptCount val="12"/>
                <c:pt idx="0">
                  <c:v>13.384754136449722</c:v>
                </c:pt>
                <c:pt idx="1">
                  <c:v>16.206</c:v>
                </c:pt>
                <c:pt idx="2">
                  <c:v>15.464652743652744</c:v>
                </c:pt>
                <c:pt idx="3">
                  <c:v>14.320600577200578</c:v>
                </c:pt>
                <c:pt idx="4">
                  <c:v>26.92623926380368</c:v>
                </c:pt>
                <c:pt idx="5">
                  <c:v>8.8143543689320367</c:v>
                </c:pt>
                <c:pt idx="6">
                  <c:v>15.331642105263159</c:v>
                </c:pt>
                <c:pt idx="7">
                  <c:v>34.926999999999992</c:v>
                </c:pt>
                <c:pt idx="8">
                  <c:v>14.298975187969925</c:v>
                </c:pt>
                <c:pt idx="9">
                  <c:v>9.0579999999999998</c:v>
                </c:pt>
                <c:pt idx="10">
                  <c:v>8.5358436464088392</c:v>
                </c:pt>
                <c:pt idx="11">
                  <c:v>44.39000000000001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21</c:v>
                </c:pt>
                <c:pt idx="1">
                  <c:v>Av Price/Unit 38.81</c:v>
                </c:pt>
                <c:pt idx="2">
                  <c:v>Av Price/Unit 25.07</c:v>
                </c:pt>
                <c:pt idx="3">
                  <c:v>Av Price/Unit 31.98</c:v>
                </c:pt>
                <c:pt idx="4">
                  <c:v>Av Price/Unit 45.83</c:v>
                </c:pt>
                <c:pt idx="5">
                  <c:v>Av Price/Unit 22.49</c:v>
                </c:pt>
                <c:pt idx="6">
                  <c:v>Av Price/Unit 39.32</c:v>
                </c:pt>
                <c:pt idx="7">
                  <c:v>Av Price/Unit 91.93</c:v>
                </c:pt>
                <c:pt idx="8">
                  <c:v>Av Price/Unit 32.83</c:v>
                </c:pt>
                <c:pt idx="9">
                  <c:v>Av Price/Unit 24.40</c:v>
                </c:pt>
                <c:pt idx="10">
                  <c:v>Av Price/Unit 23.92</c:v>
                </c:pt>
                <c:pt idx="11">
                  <c:v>Av Price/Unit 108.65</c:v>
                </c:pt>
              </c:strCache>
            </c:strRef>
          </c:cat>
          <c:val>
            <c:numRef>
              <c:f>Sheet1!$D$2:$D$13</c:f>
              <c:numCache>
                <c:formatCode>General</c:formatCode>
                <c:ptCount val="12"/>
                <c:pt idx="0">
                  <c:v>0.67605194235299138</c:v>
                </c:pt>
                <c:pt idx="1">
                  <c:v>2.7964234771962069</c:v>
                </c:pt>
                <c:pt idx="2">
                  <c:v>6.0775894075895565E-2</c:v>
                </c:pt>
                <c:pt idx="3">
                  <c:v>0.5219575757575754</c:v>
                </c:pt>
                <c:pt idx="4">
                  <c:v>0.52912801635992679</c:v>
                </c:pt>
                <c:pt idx="5">
                  <c:v>0.80736650485436812</c:v>
                </c:pt>
                <c:pt idx="6">
                  <c:v>3.1165164912280687</c:v>
                </c:pt>
                <c:pt idx="7">
                  <c:v>8.7885518518518637</c:v>
                </c:pt>
                <c:pt idx="8">
                  <c:v>1.113302506265665</c:v>
                </c:pt>
                <c:pt idx="9">
                  <c:v>1.9211641025641057</c:v>
                </c:pt>
                <c:pt idx="10">
                  <c:v>1.9851134438305706</c:v>
                </c:pt>
                <c:pt idx="11">
                  <c:v>9.558839215686305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21</c:v>
                </c:pt>
                <c:pt idx="1">
                  <c:v>Av Price/Unit 38.81</c:v>
                </c:pt>
                <c:pt idx="2">
                  <c:v>Av Price/Unit 25.07</c:v>
                </c:pt>
                <c:pt idx="3">
                  <c:v>Av Price/Unit 31.98</c:v>
                </c:pt>
                <c:pt idx="4">
                  <c:v>Av Price/Unit 45.83</c:v>
                </c:pt>
                <c:pt idx="5">
                  <c:v>Av Price/Unit 22.49</c:v>
                </c:pt>
                <c:pt idx="6">
                  <c:v>Av Price/Unit 39.32</c:v>
                </c:pt>
                <c:pt idx="7">
                  <c:v>Av Price/Unit 91.93</c:v>
                </c:pt>
                <c:pt idx="8">
                  <c:v>Av Price/Unit 32.83</c:v>
                </c:pt>
                <c:pt idx="9">
                  <c:v>Av Price/Unit 24.40</c:v>
                </c:pt>
                <c:pt idx="10">
                  <c:v>Av Price/Unit 23.92</c:v>
                </c:pt>
                <c:pt idx="11">
                  <c:v>Av Price/Unit 108.65</c:v>
                </c:pt>
              </c:strCache>
            </c:strRef>
          </c:cat>
          <c:val>
            <c:numRef>
              <c:f>Sheet1!$E$2:$E$13</c:f>
              <c:numCache>
                <c:formatCode>General</c:formatCode>
                <c:ptCount val="12"/>
                <c:pt idx="0">
                  <c:v>3.5353826966603537</c:v>
                </c:pt>
                <c:pt idx="1">
                  <c:v>6.4681665136210542</c:v>
                </c:pt>
                <c:pt idx="2">
                  <c:v>4.1788151788151753</c:v>
                </c:pt>
                <c:pt idx="3">
                  <c:v>5.3297258297258301</c:v>
                </c:pt>
                <c:pt idx="4">
                  <c:v>7.6385480572597118</c:v>
                </c:pt>
                <c:pt idx="5">
                  <c:v>3.7475728155339807</c:v>
                </c:pt>
                <c:pt idx="6">
                  <c:v>6.5535087719298213</c:v>
                </c:pt>
                <c:pt idx="7">
                  <c:v>15.321759259259263</c:v>
                </c:pt>
                <c:pt idx="8">
                  <c:v>5.4711779448621538</c:v>
                </c:pt>
                <c:pt idx="9">
                  <c:v>4.0705128205128167</c:v>
                </c:pt>
                <c:pt idx="10">
                  <c:v>3.9871086556169422</c:v>
                </c:pt>
                <c:pt idx="11">
                  <c:v>18.10784313725489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2</c:v>
                </c:pt>
                <c:pt idx="1">
                  <c:v>Av Price/Unit 38.55</c:v>
                </c:pt>
                <c:pt idx="2">
                  <c:v>Av Price/Unit 25.02</c:v>
                </c:pt>
                <c:pt idx="3">
                  <c:v>Av Price/Unit 30.17</c:v>
                </c:pt>
                <c:pt idx="4">
                  <c:v>Av Price/Unit 22.24</c:v>
                </c:pt>
                <c:pt idx="5">
                  <c:v>Av Price/Unit 45.45</c:v>
                </c:pt>
                <c:pt idx="6">
                  <c:v>Av Price/Unit 37.23</c:v>
                </c:pt>
                <c:pt idx="7">
                  <c:v>Av Price/Unit 87.29</c:v>
                </c:pt>
                <c:pt idx="8">
                  <c:v>Av Price/Unit 23.01</c:v>
                </c:pt>
                <c:pt idx="9">
                  <c:v>Av Price/Unit 36.13</c:v>
                </c:pt>
                <c:pt idx="10">
                  <c:v>Av Price/Unit 32.02</c:v>
                </c:pt>
                <c:pt idx="11">
                  <c:v>Av Price/Unit 46.35</c:v>
                </c:pt>
              </c:strCache>
            </c:strRef>
          </c:cat>
          <c:val>
            <c:numRef>
              <c:f>Sheet1!$B$2:$B$13</c:f>
              <c:numCache>
                <c:formatCode>General</c:formatCode>
                <c:ptCount val="12"/>
                <c:pt idx="0">
                  <c:v>3.5993317570826271</c:v>
                </c:pt>
                <c:pt idx="1">
                  <c:v>13.304264445399827</c:v>
                </c:pt>
                <c:pt idx="2">
                  <c:v>5.3321214589838206</c:v>
                </c:pt>
                <c:pt idx="3">
                  <c:v>11.748371183533449</c:v>
                </c:pt>
                <c:pt idx="4">
                  <c:v>9.2594813705921499</c:v>
                </c:pt>
                <c:pt idx="5">
                  <c:v>10.708149462365592</c:v>
                </c:pt>
                <c:pt idx="6">
                  <c:v>14.223794805194805</c:v>
                </c:pt>
                <c:pt idx="7">
                  <c:v>32.502628780487804</c:v>
                </c:pt>
                <c:pt idx="8">
                  <c:v>9.2993645776566769</c:v>
                </c:pt>
                <c:pt idx="9">
                  <c:v>12.933075471698114</c:v>
                </c:pt>
                <c:pt idx="10">
                  <c:v>12.045812987012987</c:v>
                </c:pt>
                <c:pt idx="11">
                  <c:v>17.40599999999999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2</c:v>
                </c:pt>
                <c:pt idx="1">
                  <c:v>Av Price/Unit 38.55</c:v>
                </c:pt>
                <c:pt idx="2">
                  <c:v>Av Price/Unit 25.02</c:v>
                </c:pt>
                <c:pt idx="3">
                  <c:v>Av Price/Unit 30.17</c:v>
                </c:pt>
                <c:pt idx="4">
                  <c:v>Av Price/Unit 22.24</c:v>
                </c:pt>
                <c:pt idx="5">
                  <c:v>Av Price/Unit 45.45</c:v>
                </c:pt>
                <c:pt idx="6">
                  <c:v>Av Price/Unit 37.23</c:v>
                </c:pt>
                <c:pt idx="7">
                  <c:v>Av Price/Unit 87.29</c:v>
                </c:pt>
                <c:pt idx="8">
                  <c:v>Av Price/Unit 23.01</c:v>
                </c:pt>
                <c:pt idx="9">
                  <c:v>Av Price/Unit 36.13</c:v>
                </c:pt>
                <c:pt idx="10">
                  <c:v>Av Price/Unit 32.02</c:v>
                </c:pt>
                <c:pt idx="11">
                  <c:v>Av Price/Unit 46.35</c:v>
                </c:pt>
              </c:strCache>
            </c:strRef>
          </c:cat>
          <c:val>
            <c:numRef>
              <c:f>Sheet1!$C$2:$C$13</c:f>
              <c:numCache>
                <c:formatCode>General</c:formatCode>
                <c:ptCount val="12"/>
                <c:pt idx="0">
                  <c:v>13.411214448403008</c:v>
                </c:pt>
                <c:pt idx="1">
                  <c:v>16.206</c:v>
                </c:pt>
                <c:pt idx="2">
                  <c:v>15.501178541016181</c:v>
                </c:pt>
                <c:pt idx="3">
                  <c:v>14.308565465980561</c:v>
                </c:pt>
                <c:pt idx="4">
                  <c:v>8.7846353958749166</c:v>
                </c:pt>
                <c:pt idx="5">
                  <c:v>27.015509408602149</c:v>
                </c:pt>
                <c:pt idx="6">
                  <c:v>15.337333333333332</c:v>
                </c:pt>
                <c:pt idx="7">
                  <c:v>34.927000000000007</c:v>
                </c:pt>
                <c:pt idx="8">
                  <c:v>8.5447577656675762</c:v>
                </c:pt>
                <c:pt idx="9">
                  <c:v>16.08545552560647</c:v>
                </c:pt>
                <c:pt idx="10">
                  <c:v>14.291026623376624</c:v>
                </c:pt>
                <c:pt idx="11">
                  <c:v>21.34400000000000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2</c:v>
                </c:pt>
                <c:pt idx="1">
                  <c:v>Av Price/Unit 38.55</c:v>
                </c:pt>
                <c:pt idx="2">
                  <c:v>Av Price/Unit 25.02</c:v>
                </c:pt>
                <c:pt idx="3">
                  <c:v>Av Price/Unit 30.17</c:v>
                </c:pt>
                <c:pt idx="4">
                  <c:v>Av Price/Unit 22.24</c:v>
                </c:pt>
                <c:pt idx="5">
                  <c:v>Av Price/Unit 45.45</c:v>
                </c:pt>
                <c:pt idx="6">
                  <c:v>Av Price/Unit 37.23</c:v>
                </c:pt>
                <c:pt idx="7">
                  <c:v>Av Price/Unit 87.29</c:v>
                </c:pt>
                <c:pt idx="8">
                  <c:v>Av Price/Unit 23.01</c:v>
                </c:pt>
                <c:pt idx="9">
                  <c:v>Av Price/Unit 36.13</c:v>
                </c:pt>
                <c:pt idx="10">
                  <c:v>Av Price/Unit 32.02</c:v>
                </c:pt>
                <c:pt idx="11">
                  <c:v>Av Price/Unit 46.35</c:v>
                </c:pt>
              </c:strCache>
            </c:strRef>
          </c:cat>
          <c:val>
            <c:numRef>
              <c:f>Sheet1!$D$2:$D$13</c:f>
              <c:numCache>
                <c:formatCode>General</c:formatCode>
                <c:ptCount val="12"/>
                <c:pt idx="0">
                  <c:v>0.75397298489350817</c:v>
                </c:pt>
                <c:pt idx="1">
                  <c:v>2.6146280739466938</c:v>
                </c:pt>
                <c:pt idx="2">
                  <c:v>1.7064272873501096E-2</c:v>
                </c:pt>
                <c:pt idx="3">
                  <c:v>-0.91923891747664399</c:v>
                </c:pt>
                <c:pt idx="4">
                  <c:v>0.48576790862718866</c:v>
                </c:pt>
                <c:pt idx="5">
                  <c:v>0.15417864396654579</c:v>
                </c:pt>
                <c:pt idx="6">
                  <c:v>1.4597953823953915</c:v>
                </c:pt>
                <c:pt idx="7">
                  <c:v>5.312241138211391</c:v>
                </c:pt>
                <c:pt idx="8">
                  <c:v>1.329302633969121</c:v>
                </c:pt>
                <c:pt idx="9">
                  <c:v>1.0904088050314478</c:v>
                </c:pt>
                <c:pt idx="10">
                  <c:v>0.35038982683982667</c:v>
                </c:pt>
                <c:pt idx="11">
                  <c:v>-0.1429063360881457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2</c:v>
                </c:pt>
                <c:pt idx="1">
                  <c:v>Av Price/Unit 38.55</c:v>
                </c:pt>
                <c:pt idx="2">
                  <c:v>Av Price/Unit 25.02</c:v>
                </c:pt>
                <c:pt idx="3">
                  <c:v>Av Price/Unit 30.17</c:v>
                </c:pt>
                <c:pt idx="4">
                  <c:v>Av Price/Unit 22.24</c:v>
                </c:pt>
                <c:pt idx="5">
                  <c:v>Av Price/Unit 45.45</c:v>
                </c:pt>
                <c:pt idx="6">
                  <c:v>Av Price/Unit 37.23</c:v>
                </c:pt>
                <c:pt idx="7">
                  <c:v>Av Price/Unit 87.29</c:v>
                </c:pt>
                <c:pt idx="8">
                  <c:v>Av Price/Unit 23.01</c:v>
                </c:pt>
                <c:pt idx="9">
                  <c:v>Av Price/Unit 36.13</c:v>
                </c:pt>
                <c:pt idx="10">
                  <c:v>Av Price/Unit 32.02</c:v>
                </c:pt>
                <c:pt idx="11">
                  <c:v>Av Price/Unit 46.35</c:v>
                </c:pt>
              </c:strCache>
            </c:strRef>
          </c:cat>
          <c:val>
            <c:numRef>
              <c:f>Sheet1!$E$2:$E$13</c:f>
              <c:numCache>
                <c:formatCode>General</c:formatCode>
                <c:ptCount val="12"/>
                <c:pt idx="0">
                  <c:v>3.552903838075828</c:v>
                </c:pt>
                <c:pt idx="1">
                  <c:v>6.4249785038692995</c:v>
                </c:pt>
                <c:pt idx="2">
                  <c:v>4.1700728545746966</c:v>
                </c:pt>
                <c:pt idx="3">
                  <c:v>5.027539546407465</c:v>
                </c:pt>
                <c:pt idx="4">
                  <c:v>3.7059769350188505</c:v>
                </c:pt>
                <c:pt idx="5">
                  <c:v>7.5755675029868534</c:v>
                </c:pt>
                <c:pt idx="6">
                  <c:v>6.2041847041846996</c:v>
                </c:pt>
                <c:pt idx="7">
                  <c:v>14.548373983739834</c:v>
                </c:pt>
                <c:pt idx="8">
                  <c:v>3.8346957311534959</c:v>
                </c:pt>
                <c:pt idx="9">
                  <c:v>6.0217879604672024</c:v>
                </c:pt>
                <c:pt idx="10">
                  <c:v>5.3374458874458854</c:v>
                </c:pt>
                <c:pt idx="11">
                  <c:v>7.721418732782364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2</c:v>
                </c:pt>
                <c:pt idx="1">
                  <c:v>Av Price/Unit 38.67</c:v>
                </c:pt>
                <c:pt idx="2">
                  <c:v>Av Price/Unit 25.10</c:v>
                </c:pt>
                <c:pt idx="3">
                  <c:v>Av Price/Unit 31.63</c:v>
                </c:pt>
                <c:pt idx="4">
                  <c:v>Av Price/Unit 22.47</c:v>
                </c:pt>
                <c:pt idx="5">
                  <c:v>Av Price/Unit 46.30</c:v>
                </c:pt>
                <c:pt idx="6">
                  <c:v>Av Price/Unit 39.11</c:v>
                </c:pt>
                <c:pt idx="7">
                  <c:v>Av Price/Unit 23.43</c:v>
                </c:pt>
                <c:pt idx="8">
                  <c:v>Av Price/Unit 47.07</c:v>
                </c:pt>
                <c:pt idx="9">
                  <c:v>Av Price/Unit 92.19</c:v>
                </c:pt>
                <c:pt idx="10">
                  <c:v>Av Price/Unit 34.70</c:v>
                </c:pt>
                <c:pt idx="11">
                  <c:v>Av Price/Unit 24.39</c:v>
                </c:pt>
              </c:strCache>
            </c:strRef>
          </c:cat>
          <c:val>
            <c:numRef>
              <c:f>Sheet1!$B$2:$B$13</c:f>
              <c:numCache>
                <c:formatCode>General</c:formatCode>
                <c:ptCount val="12"/>
                <c:pt idx="0">
                  <c:v>3.6033179087506508</c:v>
                </c:pt>
                <c:pt idx="1">
                  <c:v>13.308875510204084</c:v>
                </c:pt>
                <c:pt idx="2">
                  <c:v>5.3546594646271517</c:v>
                </c:pt>
                <c:pt idx="3">
                  <c:v>11.829621929824562</c:v>
                </c:pt>
                <c:pt idx="4">
                  <c:v>9.349110749185666</c:v>
                </c:pt>
                <c:pt idx="5">
                  <c:v>10.713611764705881</c:v>
                </c:pt>
                <c:pt idx="6">
                  <c:v>14.302295744680851</c:v>
                </c:pt>
                <c:pt idx="7">
                  <c:v>9.3350963934426225</c:v>
                </c:pt>
                <c:pt idx="8">
                  <c:v>17.405999999999999</c:v>
                </c:pt>
                <c:pt idx="9">
                  <c:v>32.427007407407409</c:v>
                </c:pt>
                <c:pt idx="10">
                  <c:v>11.773234782608695</c:v>
                </c:pt>
                <c:pt idx="11">
                  <c:v>9.373400000000000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2</c:v>
                </c:pt>
                <c:pt idx="1">
                  <c:v>Av Price/Unit 38.67</c:v>
                </c:pt>
                <c:pt idx="2">
                  <c:v>Av Price/Unit 25.10</c:v>
                </c:pt>
                <c:pt idx="3">
                  <c:v>Av Price/Unit 31.63</c:v>
                </c:pt>
                <c:pt idx="4">
                  <c:v>Av Price/Unit 22.47</c:v>
                </c:pt>
                <c:pt idx="5">
                  <c:v>Av Price/Unit 46.30</c:v>
                </c:pt>
                <c:pt idx="6">
                  <c:v>Av Price/Unit 39.11</c:v>
                </c:pt>
                <c:pt idx="7">
                  <c:v>Av Price/Unit 23.43</c:v>
                </c:pt>
                <c:pt idx="8">
                  <c:v>Av Price/Unit 47.07</c:v>
                </c:pt>
                <c:pt idx="9">
                  <c:v>Av Price/Unit 92.19</c:v>
                </c:pt>
                <c:pt idx="10">
                  <c:v>Av Price/Unit 34.70</c:v>
                </c:pt>
                <c:pt idx="11">
                  <c:v>Av Price/Unit 24.39</c:v>
                </c:pt>
              </c:strCache>
            </c:strRef>
          </c:cat>
          <c:val>
            <c:numRef>
              <c:f>Sheet1!$C$2:$C$13</c:f>
              <c:numCache>
                <c:formatCode>General</c:formatCode>
                <c:ptCount val="12"/>
                <c:pt idx="0">
                  <c:v>13.404927071587625</c:v>
                </c:pt>
                <c:pt idx="1">
                  <c:v>16.206</c:v>
                </c:pt>
                <c:pt idx="2">
                  <c:v>15.47864053537285</c:v>
                </c:pt>
                <c:pt idx="3">
                  <c:v>14.325512865497075</c:v>
                </c:pt>
                <c:pt idx="4">
                  <c:v>8.7660521172638433</c:v>
                </c:pt>
                <c:pt idx="5">
                  <c:v>26.998823529411762</c:v>
                </c:pt>
                <c:pt idx="6">
                  <c:v>15.332659574468085</c:v>
                </c:pt>
                <c:pt idx="7">
                  <c:v>8.5419924590163951</c:v>
                </c:pt>
                <c:pt idx="8">
                  <c:v>21.344000000000001</c:v>
                </c:pt>
                <c:pt idx="9">
                  <c:v>34.927</c:v>
                </c:pt>
                <c:pt idx="10">
                  <c:v>14.312226086956521</c:v>
                </c:pt>
                <c:pt idx="11">
                  <c:v>9.057999999999999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2</c:v>
                </c:pt>
                <c:pt idx="1">
                  <c:v>Av Price/Unit 38.67</c:v>
                </c:pt>
                <c:pt idx="2">
                  <c:v>Av Price/Unit 25.10</c:v>
                </c:pt>
                <c:pt idx="3">
                  <c:v>Av Price/Unit 31.63</c:v>
                </c:pt>
                <c:pt idx="4">
                  <c:v>Av Price/Unit 22.47</c:v>
                </c:pt>
                <c:pt idx="5">
                  <c:v>Av Price/Unit 46.30</c:v>
                </c:pt>
                <c:pt idx="6">
                  <c:v>Av Price/Unit 39.11</c:v>
                </c:pt>
                <c:pt idx="7">
                  <c:v>Av Price/Unit 23.43</c:v>
                </c:pt>
                <c:pt idx="8">
                  <c:v>Av Price/Unit 47.07</c:v>
                </c:pt>
                <c:pt idx="9">
                  <c:v>Av Price/Unit 92.19</c:v>
                </c:pt>
                <c:pt idx="10">
                  <c:v>Av Price/Unit 34.70</c:v>
                </c:pt>
                <c:pt idx="11">
                  <c:v>Av Price/Unit 24.39</c:v>
                </c:pt>
              </c:strCache>
            </c:strRef>
          </c:cat>
          <c:val>
            <c:numRef>
              <c:f>Sheet1!$D$2:$D$13</c:f>
              <c:numCache>
                <c:formatCode>General</c:formatCode>
                <c:ptCount val="12"/>
                <c:pt idx="0">
                  <c:v>0.76239982944047213</c:v>
                </c:pt>
                <c:pt idx="1">
                  <c:v>2.706012845138055</c:v>
                </c:pt>
                <c:pt idx="2">
                  <c:v>8.0498597833017271E-2</c:v>
                </c:pt>
                <c:pt idx="3">
                  <c:v>0.20329600389863245</c:v>
                </c:pt>
                <c:pt idx="4">
                  <c:v>0.60904994571118465</c:v>
                </c:pt>
                <c:pt idx="5">
                  <c:v>0.87008104575163969</c:v>
                </c:pt>
                <c:pt idx="6">
                  <c:v>2.9536971631205766</c:v>
                </c:pt>
                <c:pt idx="7">
                  <c:v>1.6447202185792378</c:v>
                </c:pt>
                <c:pt idx="8">
                  <c:v>0.65151515151515582</c:v>
                </c:pt>
                <c:pt idx="9">
                  <c:v>9.4669802469135931</c:v>
                </c:pt>
                <c:pt idx="10">
                  <c:v>2.8348289855072473</c:v>
                </c:pt>
                <c:pt idx="11">
                  <c:v>1.836089711934157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2</c:v>
                </c:pt>
                <c:pt idx="1">
                  <c:v>Av Price/Unit 38.67</c:v>
                </c:pt>
                <c:pt idx="2">
                  <c:v>Av Price/Unit 25.10</c:v>
                </c:pt>
                <c:pt idx="3">
                  <c:v>Av Price/Unit 31.63</c:v>
                </c:pt>
                <c:pt idx="4">
                  <c:v>Av Price/Unit 22.47</c:v>
                </c:pt>
                <c:pt idx="5">
                  <c:v>Av Price/Unit 46.30</c:v>
                </c:pt>
                <c:pt idx="6">
                  <c:v>Av Price/Unit 39.11</c:v>
                </c:pt>
                <c:pt idx="7">
                  <c:v>Av Price/Unit 23.43</c:v>
                </c:pt>
                <c:pt idx="8">
                  <c:v>Av Price/Unit 47.07</c:v>
                </c:pt>
                <c:pt idx="9">
                  <c:v>Av Price/Unit 92.19</c:v>
                </c:pt>
                <c:pt idx="10">
                  <c:v>Av Price/Unit 34.70</c:v>
                </c:pt>
                <c:pt idx="11">
                  <c:v>Av Price/Unit 24.39</c:v>
                </c:pt>
              </c:strCache>
            </c:strRef>
          </c:cat>
          <c:val>
            <c:numRef>
              <c:f>Sheet1!$E$2:$E$13</c:f>
              <c:numCache>
                <c:formatCode>General</c:formatCode>
                <c:ptCount val="12"/>
                <c:pt idx="0">
                  <c:v>3.5541289619557466</c:v>
                </c:pt>
                <c:pt idx="1">
                  <c:v>6.4441776710684273</c:v>
                </c:pt>
                <c:pt idx="2">
                  <c:v>4.1827597195666009</c:v>
                </c:pt>
                <c:pt idx="3">
                  <c:v>5.2716861598440525</c:v>
                </c:pt>
                <c:pt idx="4">
                  <c:v>3.7448425624321398</c:v>
                </c:pt>
                <c:pt idx="5">
                  <c:v>7.7165032679738532</c:v>
                </c:pt>
                <c:pt idx="6">
                  <c:v>6.5177304964538942</c:v>
                </c:pt>
                <c:pt idx="7">
                  <c:v>3.9043715846994496</c:v>
                </c:pt>
                <c:pt idx="8">
                  <c:v>7.8803030303030273</c:v>
                </c:pt>
                <c:pt idx="9">
                  <c:v>15.364197530864187</c:v>
                </c:pt>
                <c:pt idx="10">
                  <c:v>5.7840579710144917</c:v>
                </c:pt>
                <c:pt idx="11">
                  <c:v>4.0534979423868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28</c:v>
                </c:pt>
                <c:pt idx="1">
                  <c:v>Av Price/Unit 38.77</c:v>
                </c:pt>
                <c:pt idx="2">
                  <c:v>Av Price/Unit 25.04</c:v>
                </c:pt>
                <c:pt idx="3">
                  <c:v>Av Price/Unit 30.55</c:v>
                </c:pt>
                <c:pt idx="4">
                  <c:v>Av Price/Unit 22.42</c:v>
                </c:pt>
                <c:pt idx="5">
                  <c:v>Av Price/Unit 45.89</c:v>
                </c:pt>
                <c:pt idx="6">
                  <c:v>Av Price/Unit 37.76</c:v>
                </c:pt>
                <c:pt idx="7">
                  <c:v>Av Price/Unit 90.51</c:v>
                </c:pt>
                <c:pt idx="8">
                  <c:v>Av Price/Unit 23.42</c:v>
                </c:pt>
                <c:pt idx="9">
                  <c:v>Av Price/Unit 32.56</c:v>
                </c:pt>
                <c:pt idx="10">
                  <c:v>Av Price/Unit 36.56</c:v>
                </c:pt>
                <c:pt idx="11">
                  <c:v>Av Price/Unit 47.33</c:v>
                </c:pt>
              </c:strCache>
            </c:strRef>
          </c:cat>
          <c:val>
            <c:numRef>
              <c:f>Sheet1!$B$2:$B$13</c:f>
              <c:numCache>
                <c:formatCode>General</c:formatCode>
                <c:ptCount val="12"/>
                <c:pt idx="0">
                  <c:v>3.6043271779713746</c:v>
                </c:pt>
                <c:pt idx="1">
                  <c:v>13.315306860395443</c:v>
                </c:pt>
                <c:pt idx="2">
                  <c:v>5.3420347489652693</c:v>
                </c:pt>
                <c:pt idx="3">
                  <c:v>11.757022388059704</c:v>
                </c:pt>
                <c:pt idx="4">
                  <c:v>9.2099409475852561</c:v>
                </c:pt>
                <c:pt idx="5">
                  <c:v>10.720181925343805</c:v>
                </c:pt>
                <c:pt idx="6">
                  <c:v>14.214928786964405</c:v>
                </c:pt>
                <c:pt idx="7">
                  <c:v>32.586317241379305</c:v>
                </c:pt>
                <c:pt idx="8">
                  <c:v>9.3320674606955691</c:v>
                </c:pt>
                <c:pt idx="9">
                  <c:v>12.031080871670705</c:v>
                </c:pt>
                <c:pt idx="10">
                  <c:v>13.021737682570597</c:v>
                </c:pt>
                <c:pt idx="11">
                  <c:v>17.40600000000001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28</c:v>
                </c:pt>
                <c:pt idx="1">
                  <c:v>Av Price/Unit 38.77</c:v>
                </c:pt>
                <c:pt idx="2">
                  <c:v>Av Price/Unit 25.04</c:v>
                </c:pt>
                <c:pt idx="3">
                  <c:v>Av Price/Unit 30.55</c:v>
                </c:pt>
                <c:pt idx="4">
                  <c:v>Av Price/Unit 22.42</c:v>
                </c:pt>
                <c:pt idx="5">
                  <c:v>Av Price/Unit 45.89</c:v>
                </c:pt>
                <c:pt idx="6">
                  <c:v>Av Price/Unit 37.76</c:v>
                </c:pt>
                <c:pt idx="7">
                  <c:v>Av Price/Unit 90.51</c:v>
                </c:pt>
                <c:pt idx="8">
                  <c:v>Av Price/Unit 23.42</c:v>
                </c:pt>
                <c:pt idx="9">
                  <c:v>Av Price/Unit 32.56</c:v>
                </c:pt>
                <c:pt idx="10">
                  <c:v>Av Price/Unit 36.56</c:v>
                </c:pt>
                <c:pt idx="11">
                  <c:v>Av Price/Unit 47.33</c:v>
                </c:pt>
              </c:strCache>
            </c:strRef>
          </c:cat>
          <c:val>
            <c:numRef>
              <c:f>Sheet1!$C$2:$C$13</c:f>
              <c:numCache>
                <c:formatCode>General</c:formatCode>
                <c:ptCount val="12"/>
                <c:pt idx="0">
                  <c:v>13.403335146235221</c:v>
                </c:pt>
                <c:pt idx="1">
                  <c:v>16.205999999999996</c:v>
                </c:pt>
                <c:pt idx="2">
                  <c:v>15.491265251034731</c:v>
                </c:pt>
                <c:pt idx="3">
                  <c:v>14.310369946875793</c:v>
                </c:pt>
                <c:pt idx="4">
                  <c:v>8.7949068436713205</c:v>
                </c:pt>
                <c:pt idx="5">
                  <c:v>26.978753438113952</c:v>
                </c:pt>
                <c:pt idx="6">
                  <c:v>15.337861194930603</c:v>
                </c:pt>
                <c:pt idx="7">
                  <c:v>34.926999999999985</c:v>
                </c:pt>
                <c:pt idx="8">
                  <c:v>8.5422268699380606</c:v>
                </c:pt>
                <c:pt idx="9">
                  <c:v>14.29217239709444</c:v>
                </c:pt>
                <c:pt idx="10">
                  <c:v>16.078978578383644</c:v>
                </c:pt>
                <c:pt idx="11">
                  <c:v>21.34399999999998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28</c:v>
                </c:pt>
                <c:pt idx="1">
                  <c:v>Av Price/Unit 38.77</c:v>
                </c:pt>
                <c:pt idx="2">
                  <c:v>Av Price/Unit 25.04</c:v>
                </c:pt>
                <c:pt idx="3">
                  <c:v>Av Price/Unit 30.55</c:v>
                </c:pt>
                <c:pt idx="4">
                  <c:v>Av Price/Unit 22.42</c:v>
                </c:pt>
                <c:pt idx="5">
                  <c:v>Av Price/Unit 45.89</c:v>
                </c:pt>
                <c:pt idx="6">
                  <c:v>Av Price/Unit 37.76</c:v>
                </c:pt>
                <c:pt idx="7">
                  <c:v>Av Price/Unit 90.51</c:v>
                </c:pt>
                <c:pt idx="8">
                  <c:v>Av Price/Unit 23.42</c:v>
                </c:pt>
                <c:pt idx="9">
                  <c:v>Av Price/Unit 32.56</c:v>
                </c:pt>
                <c:pt idx="10">
                  <c:v>Av Price/Unit 36.56</c:v>
                </c:pt>
                <c:pt idx="11">
                  <c:v>Av Price/Unit 47.33</c:v>
                </c:pt>
              </c:strCache>
            </c:strRef>
          </c:cat>
          <c:val>
            <c:numRef>
              <c:f>Sheet1!$D$2:$D$13</c:f>
              <c:numCache>
                <c:formatCode>General</c:formatCode>
                <c:ptCount val="12"/>
                <c:pt idx="0">
                  <c:v>0.72432187685818405</c:v>
                </c:pt>
                <c:pt idx="1">
                  <c:v>2.7901238033420093</c:v>
                </c:pt>
                <c:pt idx="2">
                  <c:v>3.1000281926701234E-2</c:v>
                </c:pt>
                <c:pt idx="3">
                  <c:v>-0.61077710599545298</c:v>
                </c:pt>
                <c:pt idx="4">
                  <c:v>0.67982452124819304</c:v>
                </c:pt>
                <c:pt idx="5">
                  <c:v>0.54639862475440992</c:v>
                </c:pt>
                <c:pt idx="6">
                  <c:v>1.9177390867028699</c:v>
                </c:pt>
                <c:pt idx="7">
                  <c:v>7.9124925809821605</c:v>
                </c:pt>
                <c:pt idx="8">
                  <c:v>1.6452689217087446</c:v>
                </c:pt>
                <c:pt idx="9">
                  <c:v>0.81153284907184897</c:v>
                </c:pt>
                <c:pt idx="10">
                  <c:v>1.3699101590392573</c:v>
                </c:pt>
                <c:pt idx="11">
                  <c:v>0.5303030303030311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28</c:v>
                </c:pt>
                <c:pt idx="1">
                  <c:v>Av Price/Unit 38.77</c:v>
                </c:pt>
                <c:pt idx="2">
                  <c:v>Av Price/Unit 25.04</c:v>
                </c:pt>
                <c:pt idx="3">
                  <c:v>Av Price/Unit 30.55</c:v>
                </c:pt>
                <c:pt idx="4">
                  <c:v>Av Price/Unit 22.42</c:v>
                </c:pt>
                <c:pt idx="5">
                  <c:v>Av Price/Unit 45.89</c:v>
                </c:pt>
                <c:pt idx="6">
                  <c:v>Av Price/Unit 37.76</c:v>
                </c:pt>
                <c:pt idx="7">
                  <c:v>Av Price/Unit 90.51</c:v>
                </c:pt>
                <c:pt idx="8">
                  <c:v>Av Price/Unit 23.42</c:v>
                </c:pt>
                <c:pt idx="9">
                  <c:v>Av Price/Unit 32.56</c:v>
                </c:pt>
                <c:pt idx="10">
                  <c:v>Av Price/Unit 36.56</c:v>
                </c:pt>
                <c:pt idx="11">
                  <c:v>Av Price/Unit 47.33</c:v>
                </c:pt>
              </c:strCache>
            </c:strRef>
          </c:cat>
          <c:val>
            <c:numRef>
              <c:f>Sheet1!$E$2:$E$13</c:f>
              <c:numCache>
                <c:formatCode>General</c:formatCode>
                <c:ptCount val="12"/>
                <c:pt idx="0">
                  <c:v>3.5463968402129611</c:v>
                </c:pt>
                <c:pt idx="1">
                  <c:v>6.4622861327474732</c:v>
                </c:pt>
                <c:pt idx="2">
                  <c:v>4.1728600563853417</c:v>
                </c:pt>
                <c:pt idx="3">
                  <c:v>5.0913230457880125</c:v>
                </c:pt>
                <c:pt idx="4">
                  <c:v>3.736934462500948</c:v>
                </c:pt>
                <c:pt idx="5">
                  <c:v>7.649066797642436</c:v>
                </c:pt>
                <c:pt idx="6">
                  <c:v>6.2941058137195709</c:v>
                </c:pt>
                <c:pt idx="7">
                  <c:v>15.085161964472325</c:v>
                </c:pt>
                <c:pt idx="8">
                  <c:v>3.9039225027791025</c:v>
                </c:pt>
                <c:pt idx="9">
                  <c:v>5.4269572235673875</c:v>
                </c:pt>
                <c:pt idx="10">
                  <c:v>6.0941252839987099</c:v>
                </c:pt>
                <c:pt idx="11">
                  <c:v>7.8560606060606029</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2</c:v>
                </c:pt>
                <c:pt idx="1">
                  <c:v>Av Price/Unit 38.63</c:v>
                </c:pt>
                <c:pt idx="2">
                  <c:v>Av Price/Unit 25.02</c:v>
                </c:pt>
                <c:pt idx="3">
                  <c:v>Av Price/Unit 30.46</c:v>
                </c:pt>
                <c:pt idx="4">
                  <c:v>Av Price/Unit 22.26</c:v>
                </c:pt>
                <c:pt idx="5">
                  <c:v>Av Price/Unit 45.43</c:v>
                </c:pt>
                <c:pt idx="6">
                  <c:v>Av Price/Unit 37.22</c:v>
                </c:pt>
                <c:pt idx="7">
                  <c:v>Av Price/Unit 88.06</c:v>
                </c:pt>
                <c:pt idx="8">
                  <c:v>Av Price/Unit 23.05</c:v>
                </c:pt>
                <c:pt idx="9">
                  <c:v>Av Price/Unit 36.22</c:v>
                </c:pt>
                <c:pt idx="10">
                  <c:v>Av Price/Unit 46.50</c:v>
                </c:pt>
                <c:pt idx="11">
                  <c:v>Av Price/Unit 31.85</c:v>
                </c:pt>
              </c:strCache>
            </c:strRef>
          </c:cat>
          <c:val>
            <c:numRef>
              <c:f>Sheet1!$B$2:$B$13</c:f>
              <c:numCache>
                <c:formatCode>General</c:formatCode>
                <c:ptCount val="12"/>
                <c:pt idx="0">
                  <c:v>3.6010738107850409</c:v>
                </c:pt>
                <c:pt idx="1">
                  <c:v>13.309109734513275</c:v>
                </c:pt>
                <c:pt idx="2">
                  <c:v>5.3329387655886711</c:v>
                </c:pt>
                <c:pt idx="3">
                  <c:v>11.762839824224114</c:v>
                </c:pt>
                <c:pt idx="4">
                  <c:v>9.2087485465116288</c:v>
                </c:pt>
                <c:pt idx="5">
                  <c:v>10.719486411149827</c:v>
                </c:pt>
                <c:pt idx="6">
                  <c:v>14.241815625000001</c:v>
                </c:pt>
                <c:pt idx="7">
                  <c:v>32.50739310344828</c:v>
                </c:pt>
                <c:pt idx="8">
                  <c:v>9.3170131474103606</c:v>
                </c:pt>
                <c:pt idx="9">
                  <c:v>12.918565217391301</c:v>
                </c:pt>
                <c:pt idx="10">
                  <c:v>17.405999999999999</c:v>
                </c:pt>
                <c:pt idx="11">
                  <c:v>12.08966265060240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2</c:v>
                </c:pt>
                <c:pt idx="1">
                  <c:v>Av Price/Unit 38.63</c:v>
                </c:pt>
                <c:pt idx="2">
                  <c:v>Av Price/Unit 25.02</c:v>
                </c:pt>
                <c:pt idx="3">
                  <c:v>Av Price/Unit 30.46</c:v>
                </c:pt>
                <c:pt idx="4">
                  <c:v>Av Price/Unit 22.26</c:v>
                </c:pt>
                <c:pt idx="5">
                  <c:v>Av Price/Unit 45.43</c:v>
                </c:pt>
                <c:pt idx="6">
                  <c:v>Av Price/Unit 37.22</c:v>
                </c:pt>
                <c:pt idx="7">
                  <c:v>Av Price/Unit 88.06</c:v>
                </c:pt>
                <c:pt idx="8">
                  <c:v>Av Price/Unit 23.05</c:v>
                </c:pt>
                <c:pt idx="9">
                  <c:v>Av Price/Unit 36.22</c:v>
                </c:pt>
                <c:pt idx="10">
                  <c:v>Av Price/Unit 46.50</c:v>
                </c:pt>
                <c:pt idx="11">
                  <c:v>Av Price/Unit 31.85</c:v>
                </c:pt>
              </c:strCache>
            </c:strRef>
          </c:cat>
          <c:val>
            <c:numRef>
              <c:f>Sheet1!$C$2:$C$13</c:f>
              <c:numCache>
                <c:formatCode>General</c:formatCode>
                <c:ptCount val="12"/>
                <c:pt idx="0">
                  <c:v>13.408466698449693</c:v>
                </c:pt>
                <c:pt idx="1">
                  <c:v>16.205999999999996</c:v>
                </c:pt>
                <c:pt idx="2">
                  <c:v>15.500361234411329</c:v>
                </c:pt>
                <c:pt idx="3">
                  <c:v>14.311583356220819</c:v>
                </c:pt>
                <c:pt idx="4">
                  <c:v>8.79515406976744</c:v>
                </c:pt>
                <c:pt idx="5">
                  <c:v>26.98087804878049</c:v>
                </c:pt>
                <c:pt idx="6">
                  <c:v>15.336260416666667</c:v>
                </c:pt>
                <c:pt idx="7">
                  <c:v>34.927</c:v>
                </c:pt>
                <c:pt idx="8">
                  <c:v>8.5433919322709162</c:v>
                </c:pt>
                <c:pt idx="9">
                  <c:v>16.086515527950311</c:v>
                </c:pt>
                <c:pt idx="10">
                  <c:v>21.344000000000001</c:v>
                </c:pt>
                <c:pt idx="11">
                  <c:v>14.2876162650602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2</c:v>
                </c:pt>
                <c:pt idx="1">
                  <c:v>Av Price/Unit 38.63</c:v>
                </c:pt>
                <c:pt idx="2">
                  <c:v>Av Price/Unit 25.02</c:v>
                </c:pt>
                <c:pt idx="3">
                  <c:v>Av Price/Unit 30.46</c:v>
                </c:pt>
                <c:pt idx="4">
                  <c:v>Av Price/Unit 22.26</c:v>
                </c:pt>
                <c:pt idx="5">
                  <c:v>Av Price/Unit 45.43</c:v>
                </c:pt>
                <c:pt idx="6">
                  <c:v>Av Price/Unit 37.22</c:v>
                </c:pt>
                <c:pt idx="7">
                  <c:v>Av Price/Unit 88.06</c:v>
                </c:pt>
                <c:pt idx="8">
                  <c:v>Av Price/Unit 23.05</c:v>
                </c:pt>
                <c:pt idx="9">
                  <c:v>Av Price/Unit 36.22</c:v>
                </c:pt>
                <c:pt idx="10">
                  <c:v>Av Price/Unit 46.50</c:v>
                </c:pt>
                <c:pt idx="11">
                  <c:v>Av Price/Unit 31.85</c:v>
                </c:pt>
              </c:strCache>
            </c:strRef>
          </c:cat>
          <c:val>
            <c:numRef>
              <c:f>Sheet1!$D$2:$D$13</c:f>
              <c:numCache>
                <c:formatCode>General</c:formatCode>
                <c:ptCount val="12"/>
                <c:pt idx="0">
                  <c:v>0.75855521653658897</c:v>
                </c:pt>
                <c:pt idx="1">
                  <c:v>2.6761012177596228</c:v>
                </c:pt>
                <c:pt idx="2">
                  <c:v>1.4124786866762662E-2</c:v>
                </c:pt>
                <c:pt idx="3">
                  <c:v>-0.69494867710336194</c:v>
                </c:pt>
                <c:pt idx="4">
                  <c:v>0.54503149224805725</c:v>
                </c:pt>
                <c:pt idx="5">
                  <c:v>0.15968199767712576</c:v>
                </c:pt>
                <c:pt idx="6">
                  <c:v>1.4418892361111162</c:v>
                </c:pt>
                <c:pt idx="7">
                  <c:v>5.9477908045977017</c:v>
                </c:pt>
                <c:pt idx="8">
                  <c:v>1.3443909030544532</c:v>
                </c:pt>
                <c:pt idx="9">
                  <c:v>1.1812546583850896</c:v>
                </c:pt>
                <c:pt idx="10">
                  <c:v>-0.10148042024832904</c:v>
                </c:pt>
                <c:pt idx="11">
                  <c:v>0.1638857429718854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2</c:v>
                </c:pt>
                <c:pt idx="1">
                  <c:v>Av Price/Unit 38.63</c:v>
                </c:pt>
                <c:pt idx="2">
                  <c:v>Av Price/Unit 25.02</c:v>
                </c:pt>
                <c:pt idx="3">
                  <c:v>Av Price/Unit 30.46</c:v>
                </c:pt>
                <c:pt idx="4">
                  <c:v>Av Price/Unit 22.26</c:v>
                </c:pt>
                <c:pt idx="5">
                  <c:v>Av Price/Unit 45.43</c:v>
                </c:pt>
                <c:pt idx="6">
                  <c:v>Av Price/Unit 37.22</c:v>
                </c:pt>
                <c:pt idx="7">
                  <c:v>Av Price/Unit 88.06</c:v>
                </c:pt>
                <c:pt idx="8">
                  <c:v>Av Price/Unit 23.05</c:v>
                </c:pt>
                <c:pt idx="9">
                  <c:v>Av Price/Unit 36.22</c:v>
                </c:pt>
                <c:pt idx="10">
                  <c:v>Av Price/Unit 46.50</c:v>
                </c:pt>
                <c:pt idx="11">
                  <c:v>Av Price/Unit 31.85</c:v>
                </c:pt>
              </c:strCache>
            </c:strRef>
          </c:cat>
          <c:val>
            <c:numRef>
              <c:f>Sheet1!$E$2:$E$13</c:f>
              <c:numCache>
                <c:formatCode>General</c:formatCode>
                <c:ptCount val="12"/>
                <c:pt idx="0">
                  <c:v>3.5536191451542654</c:v>
                </c:pt>
                <c:pt idx="1">
                  <c:v>6.4382421904545817</c:v>
                </c:pt>
                <c:pt idx="2">
                  <c:v>4.1694849573733519</c:v>
                </c:pt>
                <c:pt idx="3">
                  <c:v>5.0758949006683132</c:v>
                </c:pt>
                <c:pt idx="4">
                  <c:v>3.7097868217054262</c:v>
                </c:pt>
                <c:pt idx="5">
                  <c:v>7.5720092915214821</c:v>
                </c:pt>
                <c:pt idx="6">
                  <c:v>6.2039930555555527</c:v>
                </c:pt>
                <c:pt idx="7">
                  <c:v>14.676436781609187</c:v>
                </c:pt>
                <c:pt idx="8">
                  <c:v>3.8409694555112868</c:v>
                </c:pt>
                <c:pt idx="9">
                  <c:v>6.0372670807453419</c:v>
                </c:pt>
                <c:pt idx="10">
                  <c:v>7.7297039159503322</c:v>
                </c:pt>
                <c:pt idx="11">
                  <c:v>5.308232931726907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20</c:v>
                </c:pt>
                <c:pt idx="1">
                  <c:v>Av Price/Unit 38.63</c:v>
                </c:pt>
                <c:pt idx="2">
                  <c:v>Av Price/Unit 24.83</c:v>
                </c:pt>
                <c:pt idx="3">
                  <c:v>Av Price/Unit 29.64</c:v>
                </c:pt>
                <c:pt idx="4">
                  <c:v>Av Price/Unit 45.24</c:v>
                </c:pt>
                <c:pt idx="5">
                  <c:v>Av Price/Unit 22.28</c:v>
                </c:pt>
                <c:pt idx="6">
                  <c:v>Av Price/Unit 31.12</c:v>
                </c:pt>
                <c:pt idx="7">
                  <c:v>Av Price/Unit 36.79</c:v>
                </c:pt>
                <c:pt idx="8">
                  <c:v>Av Price/Unit 89.37</c:v>
                </c:pt>
                <c:pt idx="9">
                  <c:v>Av Price/Unit 36.47</c:v>
                </c:pt>
                <c:pt idx="10">
                  <c:v>Av Price/Unit 23.29</c:v>
                </c:pt>
                <c:pt idx="11">
                  <c:v>Av Price/Unit 24.25</c:v>
                </c:pt>
              </c:strCache>
            </c:strRef>
          </c:cat>
          <c:val>
            <c:numRef>
              <c:f>Sheet1!$B$2:$B$13</c:f>
              <c:numCache>
                <c:formatCode>General</c:formatCode>
                <c:ptCount val="12"/>
                <c:pt idx="0">
                  <c:v>3.6054031585779196</c:v>
                </c:pt>
                <c:pt idx="1">
                  <c:v>13.317240000000002</c:v>
                </c:pt>
                <c:pt idx="2">
                  <c:v>5.3435934131736529</c:v>
                </c:pt>
                <c:pt idx="3">
                  <c:v>11.740262325581394</c:v>
                </c:pt>
                <c:pt idx="4">
                  <c:v>10.715112500000002</c:v>
                </c:pt>
                <c:pt idx="5">
                  <c:v>9.1773942065491187</c:v>
                </c:pt>
                <c:pt idx="6">
                  <c:v>12.083528388746803</c:v>
                </c:pt>
                <c:pt idx="7">
                  <c:v>14.03298192419825</c:v>
                </c:pt>
                <c:pt idx="8">
                  <c:v>32.528791549295775</c:v>
                </c:pt>
                <c:pt idx="9">
                  <c:v>13.165323404255318</c:v>
                </c:pt>
                <c:pt idx="10">
                  <c:v>9.3527416856492032</c:v>
                </c:pt>
                <c:pt idx="11">
                  <c:v>9.373399999999998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20</c:v>
                </c:pt>
                <c:pt idx="1">
                  <c:v>Av Price/Unit 38.63</c:v>
                </c:pt>
                <c:pt idx="2">
                  <c:v>Av Price/Unit 24.83</c:v>
                </c:pt>
                <c:pt idx="3">
                  <c:v>Av Price/Unit 29.64</c:v>
                </c:pt>
                <c:pt idx="4">
                  <c:v>Av Price/Unit 45.24</c:v>
                </c:pt>
                <c:pt idx="5">
                  <c:v>Av Price/Unit 22.28</c:v>
                </c:pt>
                <c:pt idx="6">
                  <c:v>Av Price/Unit 31.12</c:v>
                </c:pt>
                <c:pt idx="7">
                  <c:v>Av Price/Unit 36.79</c:v>
                </c:pt>
                <c:pt idx="8">
                  <c:v>Av Price/Unit 89.37</c:v>
                </c:pt>
                <c:pt idx="9">
                  <c:v>Av Price/Unit 36.47</c:v>
                </c:pt>
                <c:pt idx="10">
                  <c:v>Av Price/Unit 23.29</c:v>
                </c:pt>
                <c:pt idx="11">
                  <c:v>Av Price/Unit 24.25</c:v>
                </c:pt>
              </c:strCache>
            </c:strRef>
          </c:cat>
          <c:val>
            <c:numRef>
              <c:f>Sheet1!$C$2:$C$13</c:f>
              <c:numCache>
                <c:formatCode>General</c:formatCode>
                <c:ptCount val="12"/>
                <c:pt idx="0">
                  <c:v>13.401637996682771</c:v>
                </c:pt>
                <c:pt idx="1">
                  <c:v>16.205999999999996</c:v>
                </c:pt>
                <c:pt idx="2">
                  <c:v>15.489706586826347</c:v>
                </c:pt>
                <c:pt idx="3">
                  <c:v>14.306874108527131</c:v>
                </c:pt>
                <c:pt idx="4">
                  <c:v>26.994239182692304</c:v>
                </c:pt>
                <c:pt idx="5">
                  <c:v>8.8016549118387903</c:v>
                </c:pt>
                <c:pt idx="6">
                  <c:v>14.288093350383633</c:v>
                </c:pt>
                <c:pt idx="7">
                  <c:v>15.348693877551023</c:v>
                </c:pt>
                <c:pt idx="8">
                  <c:v>34.927</c:v>
                </c:pt>
                <c:pt idx="9">
                  <c:v>16.068489361702127</c:v>
                </c:pt>
                <c:pt idx="10">
                  <c:v>8.5406268792710698</c:v>
                </c:pt>
                <c:pt idx="11">
                  <c:v>9.057999999999999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20</c:v>
                </c:pt>
                <c:pt idx="1">
                  <c:v>Av Price/Unit 38.63</c:v>
                </c:pt>
                <c:pt idx="2">
                  <c:v>Av Price/Unit 24.83</c:v>
                </c:pt>
                <c:pt idx="3">
                  <c:v>Av Price/Unit 29.64</c:v>
                </c:pt>
                <c:pt idx="4">
                  <c:v>Av Price/Unit 45.24</c:v>
                </c:pt>
                <c:pt idx="5">
                  <c:v>Av Price/Unit 22.28</c:v>
                </c:pt>
                <c:pt idx="6">
                  <c:v>Av Price/Unit 31.12</c:v>
                </c:pt>
                <c:pt idx="7">
                  <c:v>Av Price/Unit 36.79</c:v>
                </c:pt>
                <c:pt idx="8">
                  <c:v>Av Price/Unit 89.37</c:v>
                </c:pt>
                <c:pt idx="9">
                  <c:v>Av Price/Unit 36.47</c:v>
                </c:pt>
                <c:pt idx="10">
                  <c:v>Av Price/Unit 23.29</c:v>
                </c:pt>
                <c:pt idx="11">
                  <c:v>Av Price/Unit 24.25</c:v>
                </c:pt>
              </c:strCache>
            </c:strRef>
          </c:cat>
          <c:val>
            <c:numRef>
              <c:f>Sheet1!$D$2:$D$13</c:f>
              <c:numCache>
                <c:formatCode>General</c:formatCode>
                <c:ptCount val="12"/>
                <c:pt idx="0">
                  <c:v>0.6632672507872357</c:v>
                </c:pt>
                <c:pt idx="1">
                  <c:v>2.6677674374577514</c:v>
                </c:pt>
                <c:pt idx="2">
                  <c:v>-0.14405349301397052</c:v>
                </c:pt>
                <c:pt idx="3">
                  <c:v>-1.343432730404821</c:v>
                </c:pt>
                <c:pt idx="4">
                  <c:v>-1.3037580128205661E-2</c:v>
                </c:pt>
                <c:pt idx="5">
                  <c:v>0.59043031066330798</c:v>
                </c:pt>
                <c:pt idx="6">
                  <c:v>-0.44238047740834929</c:v>
                </c:pt>
                <c:pt idx="7">
                  <c:v>1.2767304178814349</c:v>
                </c:pt>
                <c:pt idx="8">
                  <c:v>7.016039436619721</c:v>
                </c:pt>
                <c:pt idx="9">
                  <c:v>1.1592132387706897</c:v>
                </c:pt>
                <c:pt idx="10">
                  <c:v>1.5143298405466972</c:v>
                </c:pt>
                <c:pt idx="11">
                  <c:v>1.75970275689223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20</c:v>
                </c:pt>
                <c:pt idx="1">
                  <c:v>Av Price/Unit 38.63</c:v>
                </c:pt>
                <c:pt idx="2">
                  <c:v>Av Price/Unit 24.83</c:v>
                </c:pt>
                <c:pt idx="3">
                  <c:v>Av Price/Unit 29.64</c:v>
                </c:pt>
                <c:pt idx="4">
                  <c:v>Av Price/Unit 45.24</c:v>
                </c:pt>
                <c:pt idx="5">
                  <c:v>Av Price/Unit 22.28</c:v>
                </c:pt>
                <c:pt idx="6">
                  <c:v>Av Price/Unit 31.12</c:v>
                </c:pt>
                <c:pt idx="7">
                  <c:v>Av Price/Unit 36.79</c:v>
                </c:pt>
                <c:pt idx="8">
                  <c:v>Av Price/Unit 89.37</c:v>
                </c:pt>
                <c:pt idx="9">
                  <c:v>Av Price/Unit 36.47</c:v>
                </c:pt>
                <c:pt idx="10">
                  <c:v>Av Price/Unit 23.29</c:v>
                </c:pt>
                <c:pt idx="11">
                  <c:v>Av Price/Unit 24.25</c:v>
                </c:pt>
              </c:strCache>
            </c:strRef>
          </c:cat>
          <c:val>
            <c:numRef>
              <c:f>Sheet1!$E$2:$E$13</c:f>
              <c:numCache>
                <c:formatCode>General</c:formatCode>
                <c:ptCount val="12"/>
                <c:pt idx="0">
                  <c:v>3.5340616812095864</c:v>
                </c:pt>
                <c:pt idx="1">
                  <c:v>6.4382014874915443</c:v>
                </c:pt>
                <c:pt idx="2">
                  <c:v>4.1378493013972042</c:v>
                </c:pt>
                <c:pt idx="3">
                  <c:v>4.940740740740738</c:v>
                </c:pt>
                <c:pt idx="4">
                  <c:v>7.5392628205128176</c:v>
                </c:pt>
                <c:pt idx="5">
                  <c:v>3.713895885810242</c:v>
                </c:pt>
                <c:pt idx="6">
                  <c:v>5.1858482523444147</c:v>
                </c:pt>
                <c:pt idx="7">
                  <c:v>6.1316812439261454</c:v>
                </c:pt>
                <c:pt idx="8">
                  <c:v>14.894366197183086</c:v>
                </c:pt>
                <c:pt idx="9">
                  <c:v>6.0786052009456242</c:v>
                </c:pt>
                <c:pt idx="10">
                  <c:v>3.8815489749430525</c:v>
                </c:pt>
                <c:pt idx="11">
                  <c:v>4.038220551378444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6</c:v>
                </c:pt>
                <c:pt idx="1">
                  <c:v>Av Price/Unit 25.17</c:v>
                </c:pt>
                <c:pt idx="2">
                  <c:v>Av Price/Unit 32.29</c:v>
                </c:pt>
                <c:pt idx="3">
                  <c:v>Av Price/Unit 39.20</c:v>
                </c:pt>
                <c:pt idx="4">
                  <c:v>Av Price/Unit 46.06</c:v>
                </c:pt>
                <c:pt idx="5">
                  <c:v>Av Price/Unit 22.75</c:v>
                </c:pt>
                <c:pt idx="6">
                  <c:v>Av Price/Unit 92.43</c:v>
                </c:pt>
                <c:pt idx="7">
                  <c:v>Av Price/Unit 35.72</c:v>
                </c:pt>
                <c:pt idx="8">
                  <c:v>Av Price/Unit 37.74</c:v>
                </c:pt>
                <c:pt idx="9">
                  <c:v>Av Price/Unit 24.44</c:v>
                </c:pt>
                <c:pt idx="10">
                  <c:v>Av Price/Unit 35.62</c:v>
                </c:pt>
                <c:pt idx="11">
                  <c:v>Av Price/Unit 48.75</c:v>
                </c:pt>
              </c:strCache>
            </c:strRef>
          </c:cat>
          <c:val>
            <c:numRef>
              <c:f>Sheet1!$B$2:$B$13</c:f>
              <c:numCache>
                <c:formatCode>General</c:formatCode>
                <c:ptCount val="12"/>
                <c:pt idx="0">
                  <c:v>3.614221763445979</c:v>
                </c:pt>
                <c:pt idx="1">
                  <c:v>5.3615683284457472</c:v>
                </c:pt>
                <c:pt idx="2">
                  <c:v>11.804665922920892</c:v>
                </c:pt>
                <c:pt idx="3">
                  <c:v>13.301770960187355</c:v>
                </c:pt>
                <c:pt idx="4">
                  <c:v>10.717549999999999</c:v>
                </c:pt>
                <c:pt idx="5">
                  <c:v>9.0977807692307699</c:v>
                </c:pt>
                <c:pt idx="6">
                  <c:v>32.583152830188681</c:v>
                </c:pt>
                <c:pt idx="7">
                  <c:v>13.964295</c:v>
                </c:pt>
                <c:pt idx="8">
                  <c:v>13.021444444444443</c:v>
                </c:pt>
                <c:pt idx="9">
                  <c:v>9.416963779527558</c:v>
                </c:pt>
                <c:pt idx="10">
                  <c:v>11.82797894736842</c:v>
                </c:pt>
                <c:pt idx="11">
                  <c:v>17.40599999999999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6</c:v>
                </c:pt>
                <c:pt idx="1">
                  <c:v>Av Price/Unit 25.17</c:v>
                </c:pt>
                <c:pt idx="2">
                  <c:v>Av Price/Unit 32.29</c:v>
                </c:pt>
                <c:pt idx="3">
                  <c:v>Av Price/Unit 39.20</c:v>
                </c:pt>
                <c:pt idx="4">
                  <c:v>Av Price/Unit 46.06</c:v>
                </c:pt>
                <c:pt idx="5">
                  <c:v>Av Price/Unit 22.75</c:v>
                </c:pt>
                <c:pt idx="6">
                  <c:v>Av Price/Unit 92.43</c:v>
                </c:pt>
                <c:pt idx="7">
                  <c:v>Av Price/Unit 35.72</c:v>
                </c:pt>
                <c:pt idx="8">
                  <c:v>Av Price/Unit 37.74</c:v>
                </c:pt>
                <c:pt idx="9">
                  <c:v>Av Price/Unit 24.44</c:v>
                </c:pt>
                <c:pt idx="10">
                  <c:v>Av Price/Unit 35.62</c:v>
                </c:pt>
                <c:pt idx="11">
                  <c:v>Av Price/Unit 48.75</c:v>
                </c:pt>
              </c:strCache>
            </c:strRef>
          </c:cat>
          <c:val>
            <c:numRef>
              <c:f>Sheet1!$C$2:$C$13</c:f>
              <c:numCache>
                <c:formatCode>General</c:formatCode>
                <c:ptCount val="12"/>
                <c:pt idx="0">
                  <c:v>13.387728367444076</c:v>
                </c:pt>
                <c:pt idx="1">
                  <c:v>15.471731671554252</c:v>
                </c:pt>
                <c:pt idx="2">
                  <c:v>14.320307505070994</c:v>
                </c:pt>
                <c:pt idx="3">
                  <c:v>16.206</c:v>
                </c:pt>
                <c:pt idx="4">
                  <c:v>26.986793269230766</c:v>
                </c:pt>
                <c:pt idx="5">
                  <c:v>8.8181615384615384</c:v>
                </c:pt>
                <c:pt idx="6">
                  <c:v>34.927000000000007</c:v>
                </c:pt>
                <c:pt idx="7">
                  <c:v>15.352783333333333</c:v>
                </c:pt>
                <c:pt idx="8">
                  <c:v>16.079000000000001</c:v>
                </c:pt>
                <c:pt idx="9">
                  <c:v>8.5356566929133866</c:v>
                </c:pt>
                <c:pt idx="10">
                  <c:v>14.307968421052632</c:v>
                </c:pt>
                <c:pt idx="11">
                  <c:v>21.34400000000000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6</c:v>
                </c:pt>
                <c:pt idx="1">
                  <c:v>Av Price/Unit 25.17</c:v>
                </c:pt>
                <c:pt idx="2">
                  <c:v>Av Price/Unit 32.29</c:v>
                </c:pt>
                <c:pt idx="3">
                  <c:v>Av Price/Unit 39.20</c:v>
                </c:pt>
                <c:pt idx="4">
                  <c:v>Av Price/Unit 46.06</c:v>
                </c:pt>
                <c:pt idx="5">
                  <c:v>Av Price/Unit 22.75</c:v>
                </c:pt>
                <c:pt idx="6">
                  <c:v>Av Price/Unit 92.43</c:v>
                </c:pt>
                <c:pt idx="7">
                  <c:v>Av Price/Unit 35.72</c:v>
                </c:pt>
                <c:pt idx="8">
                  <c:v>Av Price/Unit 37.74</c:v>
                </c:pt>
                <c:pt idx="9">
                  <c:v>Av Price/Unit 24.44</c:v>
                </c:pt>
                <c:pt idx="10">
                  <c:v>Av Price/Unit 35.62</c:v>
                </c:pt>
                <c:pt idx="11">
                  <c:v>Av Price/Unit 48.75</c:v>
                </c:pt>
              </c:strCache>
            </c:strRef>
          </c:cat>
          <c:val>
            <c:numRef>
              <c:f>Sheet1!$D$2:$D$13</c:f>
              <c:numCache>
                <c:formatCode>General</c:formatCode>
                <c:ptCount val="12"/>
                <c:pt idx="0">
                  <c:v>0.79522978343645434</c:v>
                </c:pt>
                <c:pt idx="1">
                  <c:v>0.14299521016617689</c:v>
                </c:pt>
                <c:pt idx="2">
                  <c:v>0.78679127789046532</c:v>
                </c:pt>
                <c:pt idx="3">
                  <c:v>3.1561634660421518</c:v>
                </c:pt>
                <c:pt idx="4">
                  <c:v>0.68107339743590245</c:v>
                </c:pt>
                <c:pt idx="5">
                  <c:v>1.0423910256410274</c:v>
                </c:pt>
                <c:pt idx="6">
                  <c:v>9.518149056603761</c:v>
                </c:pt>
                <c:pt idx="7">
                  <c:v>0.44681055555556171</c:v>
                </c:pt>
                <c:pt idx="8">
                  <c:v>2.3501728395061683</c:v>
                </c:pt>
                <c:pt idx="9">
                  <c:v>2.414795800524935</c:v>
                </c:pt>
                <c:pt idx="10">
                  <c:v>3.5460701754386008</c:v>
                </c:pt>
                <c:pt idx="11">
                  <c:v>1.371527777777785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6</c:v>
                </c:pt>
                <c:pt idx="1">
                  <c:v>Av Price/Unit 25.17</c:v>
                </c:pt>
                <c:pt idx="2">
                  <c:v>Av Price/Unit 32.29</c:v>
                </c:pt>
                <c:pt idx="3">
                  <c:v>Av Price/Unit 39.20</c:v>
                </c:pt>
                <c:pt idx="4">
                  <c:v>Av Price/Unit 46.06</c:v>
                </c:pt>
                <c:pt idx="5">
                  <c:v>Av Price/Unit 22.75</c:v>
                </c:pt>
                <c:pt idx="6">
                  <c:v>Av Price/Unit 92.43</c:v>
                </c:pt>
                <c:pt idx="7">
                  <c:v>Av Price/Unit 35.72</c:v>
                </c:pt>
                <c:pt idx="8">
                  <c:v>Av Price/Unit 37.74</c:v>
                </c:pt>
                <c:pt idx="9">
                  <c:v>Av Price/Unit 24.44</c:v>
                </c:pt>
                <c:pt idx="10">
                  <c:v>Av Price/Unit 35.62</c:v>
                </c:pt>
                <c:pt idx="11">
                  <c:v>Av Price/Unit 48.75</c:v>
                </c:pt>
              </c:strCache>
            </c:strRef>
          </c:cat>
          <c:val>
            <c:numRef>
              <c:f>Sheet1!$E$2:$E$13</c:f>
              <c:numCache>
                <c:formatCode>General</c:formatCode>
                <c:ptCount val="12"/>
                <c:pt idx="0">
                  <c:v>3.5594359828653022</c:v>
                </c:pt>
                <c:pt idx="1">
                  <c:v>4.1952590420332321</c:v>
                </c:pt>
                <c:pt idx="2">
                  <c:v>5.3823529411764666</c:v>
                </c:pt>
                <c:pt idx="3">
                  <c:v>6.5327868852458977</c:v>
                </c:pt>
                <c:pt idx="4">
                  <c:v>7.6770833333333277</c:v>
                </c:pt>
                <c:pt idx="5">
                  <c:v>3.7916666666666692</c:v>
                </c:pt>
                <c:pt idx="6">
                  <c:v>15.40566037735849</c:v>
                </c:pt>
                <c:pt idx="7">
                  <c:v>5.9527777777777748</c:v>
                </c:pt>
                <c:pt idx="8">
                  <c:v>6.2901234567901234</c:v>
                </c:pt>
                <c:pt idx="9">
                  <c:v>4.0734908136482915</c:v>
                </c:pt>
                <c:pt idx="10">
                  <c:v>5.936403508771928</c:v>
                </c:pt>
                <c:pt idx="11">
                  <c:v>8.024305555555548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90BC67D7-CF1D-4360-B87D-C97C5FF27F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48D88C93-5867-44F8-8233-9FD660C381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D41E6F60-BC47-4584-ADB5-31FE277E0A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B61A2A66-A9C6-45C4-A59B-C5E5CA4DCF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FF6E0F1C-A350-416D-8858-305BCB8B07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051BAC1C-7014-46A9-A56F-77317052F7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53BB4755-A258-445A-BBB8-06FA9A725F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A9F88C24-6704-43AF-AF59-AED64BBC8F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36.482599999999998</c:v>
                </c:pt>
                <c:pt idx="1">
                  <c:v>37.0747</c:v>
                </c:pt>
                <c:pt idx="2">
                  <c:v>36.5428</c:v>
                </c:pt>
                <c:pt idx="3">
                  <c:v>37.284100000000002</c:v>
                </c:pt>
                <c:pt idx="4">
                  <c:v>36.614100000000001</c:v>
                </c:pt>
              </c:numCache>
            </c:numRef>
          </c:xVal>
          <c:yVal>
            <c:numRef>
              <c:f>Sheet1!$B$2:$B$6</c:f>
              <c:numCache>
                <c:formatCode>General</c:formatCode>
                <c:ptCount val="5"/>
                <c:pt idx="0">
                  <c:v>0.43120000000000003</c:v>
                </c:pt>
                <c:pt idx="1">
                  <c:v>0.42770000000000002</c:v>
                </c:pt>
                <c:pt idx="2">
                  <c:v>0.43230000000000002</c:v>
                </c:pt>
                <c:pt idx="3">
                  <c:v>0.42720000000000002</c:v>
                </c:pt>
                <c:pt idx="4">
                  <c:v>0.43180000000000002</c:v>
                </c:pt>
              </c:numCache>
            </c:numRef>
          </c:yVal>
          <c:bubbleSize>
            <c:numRef>
              <c:f>Sheet1!$C$2:$C$6</c:f>
              <c:numCache>
                <c:formatCode>General</c:formatCode>
                <c:ptCount val="5"/>
                <c:pt idx="0">
                  <c:v>428415.03739999997</c:v>
                </c:pt>
                <c:pt idx="1">
                  <c:v>281100.50740000012</c:v>
                </c:pt>
                <c:pt idx="2">
                  <c:v>361262.09210000001</c:v>
                </c:pt>
                <c:pt idx="3">
                  <c:v>540693.68339999986</c:v>
                </c:pt>
                <c:pt idx="4">
                  <c:v>282477.41970000009</c:v>
                </c:pt>
              </c:numCache>
            </c:numRef>
          </c:bubbleSize>
          <c:bubble3D val="0"/>
          <c:extLst>
            <c:ext xmlns:c15="http://schemas.microsoft.com/office/drawing/2012/chart" uri="{02D57815-91ED-43cb-92C2-25804820EDAC}">
              <c15:datalabelsRange>
                <c15:f>Sheet1!$E$2:$E$29</c15:f>
                <c15:dlblRangeCache>
                  <c:ptCount val="28"/>
                  <c:pt idx="0">
                    <c:v>CA C</c:v>
                  </c:pt>
                  <c:pt idx="1">
                    <c:v>CA B</c:v>
                  </c:pt>
                  <c:pt idx="2">
                    <c:v>CA D</c:v>
                  </c:pt>
                  <c:pt idx="3">
                    <c:v>CA A</c:v>
                  </c:pt>
                  <c:pt idx="4">
                    <c:v>CA E</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44.740920000000003"/>
          <c:min val="29.18608"/>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2983789779422965"/>
        <c:crossBetween val="midCat"/>
      </c:valAx>
      <c:valAx>
        <c:axId val="1011451359"/>
        <c:scaling>
          <c:orientation val="minMax"/>
          <c:max val="0.87875999999999987"/>
          <c:min val="0.10176000000000003"/>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6.83039154387864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FD835889-EF92-46CF-B2EB-CB239A8A8D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AB13B602-4A50-4328-B4EB-D9F2C83D37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7B2E7C8-9252-4A92-95EE-FC335F3BB9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DC75C66E-9068-4072-91B2-D5BC761BBE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03E1CBA9-7583-492F-913E-B37D856719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516D15CE-7AB3-4F3D-945D-07F2F36F07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D12A3225-E201-4462-A9A8-5781EA52ED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E0C529FE-4F17-400E-A9CD-88E88B8488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78.562100000000001</c:v>
                </c:pt>
                <c:pt idx="1">
                  <c:v>79.296300000000002</c:v>
                </c:pt>
                <c:pt idx="2">
                  <c:v>79.148499999999999</c:v>
                </c:pt>
                <c:pt idx="3">
                  <c:v>85.445999999999998</c:v>
                </c:pt>
                <c:pt idx="4">
                  <c:v>75.363900000000001</c:v>
                </c:pt>
              </c:numCache>
            </c:numRef>
          </c:xVal>
          <c:yVal>
            <c:numRef>
              <c:f>Sheet1!$B$2:$B$6</c:f>
              <c:numCache>
                <c:formatCode>General</c:formatCode>
                <c:ptCount val="5"/>
                <c:pt idx="0">
                  <c:v>0.4027</c:v>
                </c:pt>
                <c:pt idx="1">
                  <c:v>0.40429999999999999</c:v>
                </c:pt>
                <c:pt idx="2">
                  <c:v>0.4042</c:v>
                </c:pt>
                <c:pt idx="3">
                  <c:v>0.40150000000000002</c:v>
                </c:pt>
                <c:pt idx="4">
                  <c:v>0.40600000000000003</c:v>
                </c:pt>
              </c:numCache>
            </c:numRef>
          </c:yVal>
          <c:bubbleSize>
            <c:numRef>
              <c:f>Sheet1!$C$2:$C$6</c:f>
              <c:numCache>
                <c:formatCode>General</c:formatCode>
                <c:ptCount val="5"/>
                <c:pt idx="0">
                  <c:v>1401312.8086999999</c:v>
                </c:pt>
                <c:pt idx="1">
                  <c:v>805888.13310000056</c:v>
                </c:pt>
                <c:pt idx="2">
                  <c:v>1110690.350800002</c:v>
                </c:pt>
                <c:pt idx="3">
                  <c:v>2246888.1462000008</c:v>
                </c:pt>
                <c:pt idx="4">
                  <c:v>1006108.158600001</c:v>
                </c:pt>
              </c:numCache>
            </c:numRef>
          </c:bubbleSize>
          <c:bubble3D val="0"/>
          <c:extLst>
            <c:ext xmlns:c15="http://schemas.microsoft.com/office/drawing/2012/chart" uri="{02D57815-91ED-43cb-92C2-25804820EDAC}">
              <c15:datalabelsRange>
                <c15:f>Sheet1!$E$2:$E$29</c15:f>
                <c15:dlblRangeCache>
                  <c:ptCount val="28"/>
                  <c:pt idx="0">
                    <c:v>CA C</c:v>
                  </c:pt>
                  <c:pt idx="1">
                    <c:v>CA B</c:v>
                  </c:pt>
                  <c:pt idx="2">
                    <c:v>CA D</c:v>
                  </c:pt>
                  <c:pt idx="3">
                    <c:v>CA A</c:v>
                  </c:pt>
                  <c:pt idx="4">
                    <c:v>CA E</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02.53519999999999"/>
          <c:min val="60.291120000000006"/>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32447281868764"/>
        <c:crossBetween val="midCat"/>
      </c:valAx>
      <c:valAx>
        <c:axId val="1011451359"/>
        <c:scaling>
          <c:orientation val="minMax"/>
          <c:max val="0.84719999999999995"/>
          <c:min val="8.1200000000000036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80.61549231356835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rgbClr val="FF808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46595422-B25B-4A6C-B1BE-FBBAD5D336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F13B11BB-BA47-460B-A674-12166B8A8A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681EF798-2337-4B8A-AC47-CE654FDC33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44A7A69-8EC3-48CD-AE87-0AB1AC549F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79E9FAC4-8266-42D7-B5EB-A2BDC026DB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7019A49C-46D5-4EB5-ACCE-78F7FF257F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2EC731BB-7FC6-4A22-9B4D-67D792173A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8BE62DDE-245A-4DD4-8DAB-63FD7E9453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33.418100000000003</c:v>
                </c:pt>
                <c:pt idx="1">
                  <c:v>33.418199999999999</c:v>
                </c:pt>
                <c:pt idx="2">
                  <c:v>33.3992</c:v>
                </c:pt>
                <c:pt idx="3">
                  <c:v>33.439300000000003</c:v>
                </c:pt>
                <c:pt idx="4">
                  <c:v>33.442799999999998</c:v>
                </c:pt>
              </c:numCache>
            </c:numRef>
          </c:xVal>
          <c:yVal>
            <c:numRef>
              <c:f>Sheet1!$B$2:$B$6</c:f>
              <c:numCache>
                <c:formatCode>General</c:formatCode>
                <c:ptCount val="5"/>
                <c:pt idx="0">
                  <c:v>0.437</c:v>
                </c:pt>
                <c:pt idx="1">
                  <c:v>0.43740000000000001</c:v>
                </c:pt>
                <c:pt idx="2">
                  <c:v>0.43740000000000001</c:v>
                </c:pt>
                <c:pt idx="3">
                  <c:v>0.43740000000000001</c:v>
                </c:pt>
                <c:pt idx="4">
                  <c:v>0.43740000000000001</c:v>
                </c:pt>
              </c:numCache>
            </c:numRef>
          </c:yVal>
          <c:bubbleSize>
            <c:numRef>
              <c:f>Sheet1!$C$2:$C$6</c:f>
              <c:numCache>
                <c:formatCode>General</c:formatCode>
                <c:ptCount val="5"/>
                <c:pt idx="0">
                  <c:v>534388.50310000009</c:v>
                </c:pt>
                <c:pt idx="1">
                  <c:v>354400.38540000003</c:v>
                </c:pt>
                <c:pt idx="2">
                  <c:v>469859.94630000001</c:v>
                </c:pt>
                <c:pt idx="3">
                  <c:v>632103.50289999996</c:v>
                </c:pt>
                <c:pt idx="4">
                  <c:v>420476.41859999998</c:v>
                </c:pt>
              </c:numCache>
            </c:numRef>
          </c:bubbleSize>
          <c:bubble3D val="0"/>
          <c:extLst>
            <c:ext xmlns:c15="http://schemas.microsoft.com/office/drawing/2012/chart" uri="{02D57815-91ED-43cb-92C2-25804820EDAC}">
              <c15:datalabelsRange>
                <c15:f>Sheet1!$E$2:$E$29</c15:f>
                <c15:dlblRangeCache>
                  <c:ptCount val="28"/>
                  <c:pt idx="0">
                    <c:v>CA C</c:v>
                  </c:pt>
                  <c:pt idx="1">
                    <c:v>CA B</c:v>
                  </c:pt>
                  <c:pt idx="2">
                    <c:v>CA D</c:v>
                  </c:pt>
                  <c:pt idx="3">
                    <c:v>CA A</c:v>
                  </c:pt>
                  <c:pt idx="4">
                    <c:v>CA E</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40.131359999999994"/>
          <c:min val="26.71936000000000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731135001161486"/>
        <c:crossBetween val="midCat"/>
      </c:valAx>
      <c:valAx>
        <c:axId val="1011451359"/>
        <c:scaling>
          <c:orientation val="minMax"/>
          <c:max val="0.88488"/>
          <c:min val="0.10960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3.42429661192051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3CD8491C-EBBD-4A88-9D93-5481634833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E1FDDFB1-644C-4D9E-BCE6-033B3DE800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FF5-4D9B-9947-2A90D7752FBB}"/>
                </c:ext>
              </c:extLst>
            </c:dLbl>
            <c:dLbl>
              <c:idx val="2"/>
              <c:tx>
                <c:rich>
                  <a:bodyPr/>
                  <a:lstStyle/>
                  <a:p>
                    <a:fld id="{5035A423-E14F-4329-B877-1E69B3A09D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FF5-4D9B-9947-2A90D7752FBB}"/>
                </c:ext>
              </c:extLst>
            </c:dLbl>
            <c:dLbl>
              <c:idx val="3"/>
              <c:tx>
                <c:rich>
                  <a:bodyPr/>
                  <a:lstStyle/>
                  <a:p>
                    <a:fld id="{1942DC41-AFF1-47F4-8E4F-104802DF27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9EE9385C-78C3-4966-A394-2CF22A3417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EB2E363C-9FF1-4FAA-8202-F10B8BADBF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C98D961F-7655-4C01-A478-3F00D6FDA1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D2D0D9A4-6FF7-4D7A-8155-521482511E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1.3026</c:v>
                </c:pt>
              </c:numCache>
            </c:numRef>
          </c:xVal>
          <c:yVal>
            <c:numRef>
              <c:f>Sheet1!$B$2:$B$2</c:f>
              <c:numCache>
                <c:formatCode>General</c:formatCode>
                <c:ptCount val="1"/>
                <c:pt idx="0">
                  <c:v>0.50729999999999997</c:v>
                </c:pt>
              </c:numCache>
            </c:numRef>
          </c:yVal>
          <c:bubbleSize>
            <c:numRef>
              <c:f>Sheet1!$C$2:$C$2</c:f>
              <c:numCache>
                <c:formatCode>General</c:formatCode>
                <c:ptCount val="1"/>
                <c:pt idx="0">
                  <c:v>3435985.7903999761</c:v>
                </c:pt>
              </c:numCache>
            </c:numRef>
          </c:bubbleSize>
          <c:bubble3D val="0"/>
          <c:extLst>
            <c:ext xmlns:c15="http://schemas.microsoft.com/office/drawing/2012/chart" uri="{02D57815-91ED-43cb-92C2-25804820EDAC}">
              <c15:datalabelsRange>
                <c15:f>Sheet1!$E$2:$E$29</c15:f>
                <c15:dlblRangeCache>
                  <c:ptCount val="28"/>
                  <c:pt idx="0">
                    <c:v>NICOLAS</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3.56312"/>
          <c:min val="9.0420800000000003"/>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50729999999999997"/>
        <c:crossBetween val="midCat"/>
      </c:valAx>
      <c:valAx>
        <c:axId val="1011451359"/>
        <c:scaling>
          <c:orientation val="minMax"/>
          <c:max val="0.96875999999999984"/>
          <c:min val="0.16583999999999999"/>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1.302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rgbClr val="FF808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40B680E7-45FC-4CF1-A081-D2490EB747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7E475EB7-85E4-4C8E-8F59-D2CD337310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74EB17F2-6DFE-49F3-BA49-CB22A1D709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FA5756D1-809A-41CC-9CC1-FC0E05EBB9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D89BD746-14B8-47A8-BE19-1531616A28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5A5FF1D5-3669-422B-94B4-71BA03080A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F25B4D23-034D-4710-BAAD-7E3D6C42AC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837C3260-AD50-4FED-9C31-AD89248A59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43.093200000000003</c:v>
                </c:pt>
                <c:pt idx="1">
                  <c:v>43.372999999999998</c:v>
                </c:pt>
                <c:pt idx="2">
                  <c:v>43.185899999999997</c:v>
                </c:pt>
                <c:pt idx="3">
                  <c:v>44.714300000000001</c:v>
                </c:pt>
                <c:pt idx="4">
                  <c:v>42.6965</c:v>
                </c:pt>
              </c:numCache>
            </c:numRef>
          </c:xVal>
          <c:yVal>
            <c:numRef>
              <c:f>Sheet1!$B$2:$B$6</c:f>
              <c:numCache>
                <c:formatCode>General</c:formatCode>
                <c:ptCount val="5"/>
                <c:pt idx="0">
                  <c:v>0.39360000000000001</c:v>
                </c:pt>
                <c:pt idx="1">
                  <c:v>0.39350000000000002</c:v>
                </c:pt>
                <c:pt idx="2">
                  <c:v>0.39479999999999998</c:v>
                </c:pt>
                <c:pt idx="3">
                  <c:v>0.39450000000000002</c:v>
                </c:pt>
                <c:pt idx="4">
                  <c:v>0.39229999999999998</c:v>
                </c:pt>
              </c:numCache>
            </c:numRef>
          </c:yVal>
          <c:bubbleSize>
            <c:numRef>
              <c:f>Sheet1!$C$2:$C$6</c:f>
              <c:numCache>
                <c:formatCode>General</c:formatCode>
                <c:ptCount val="5"/>
                <c:pt idx="0">
                  <c:v>7802318.1625000006</c:v>
                </c:pt>
                <c:pt idx="1">
                  <c:v>5142130.9407999935</c:v>
                </c:pt>
                <c:pt idx="2">
                  <c:v>6236088.1620999957</c:v>
                </c:pt>
                <c:pt idx="3">
                  <c:v>9822170.2227999941</c:v>
                </c:pt>
                <c:pt idx="4">
                  <c:v>5711509.8140999982</c:v>
                </c:pt>
              </c:numCache>
            </c:numRef>
          </c:bubbleSize>
          <c:bubble3D val="0"/>
          <c:extLst>
            <c:ext xmlns:c15="http://schemas.microsoft.com/office/drawing/2012/chart" uri="{02D57815-91ED-43cb-92C2-25804820EDAC}">
              <c15:datalabelsRange>
                <c15:f>Sheet1!$E$2:$E$29</c15:f>
                <c15:dlblRangeCache>
                  <c:ptCount val="28"/>
                  <c:pt idx="0">
                    <c:v>CA C</c:v>
                  </c:pt>
                  <c:pt idx="1">
                    <c:v>CA B</c:v>
                  </c:pt>
                  <c:pt idx="2">
                    <c:v>CA D</c:v>
                  </c:pt>
                  <c:pt idx="3">
                    <c:v>CA A</c:v>
                  </c:pt>
                  <c:pt idx="4">
                    <c:v>CA E</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3.657159999999998"/>
          <c:min val="34.157200000000003"/>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9384151727430927"/>
        <c:crossBetween val="midCat"/>
      </c:valAx>
      <c:valAx>
        <c:axId val="1011451359"/>
        <c:scaling>
          <c:orientation val="minMax"/>
          <c:max val="0.83375999999999995"/>
          <c:min val="7.3840000000000003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3.54471004495646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E6E5E5"/>
              </a:solidFill>
            </c:spPr>
            <c:extLst>
              <c:ext xmlns:c16="http://schemas.microsoft.com/office/drawing/2014/chart" uri="{C3380CC4-5D6E-409C-BE32-E72D297353CC}">
                <c16:uniqueId val="{00000005-CFF5-4D9B-9947-2A90D7752FBB}"/>
              </c:ext>
            </c:extLst>
          </c:dPt>
          <c:dPt>
            <c:idx val="3"/>
            <c:invertIfNegative val="0"/>
            <c:bubble3D val="0"/>
            <c:spPr>
              <a:solidFill>
                <a:srgbClr val="FF808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545CFA10-1847-4D72-AE89-8E91D76856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ED5EA706-083A-4D06-80BD-CF6FF53FE7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D0F54DB-6241-4AA0-8694-0183276A16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B8638B82-8EF2-419B-9E7F-F6B417AC13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F0FE7A4F-3E46-49F8-A89E-28C5574046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072D54A8-EE4E-4E40-846D-00B7B5E4AF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92F0AF12-B24F-438E-9F2E-BF6064BAB8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516B6641-07F1-410C-BAE0-2B42938EC3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1.2826</c:v>
                </c:pt>
                <c:pt idx="1">
                  <c:v>11.2997</c:v>
                </c:pt>
                <c:pt idx="2">
                  <c:v>11.5017</c:v>
                </c:pt>
                <c:pt idx="3">
                  <c:v>11.1731</c:v>
                </c:pt>
                <c:pt idx="4">
                  <c:v>11.3809</c:v>
                </c:pt>
              </c:numCache>
            </c:numRef>
          </c:xVal>
          <c:yVal>
            <c:numRef>
              <c:f>Sheet1!$B$2:$B$6</c:f>
              <c:numCache>
                <c:formatCode>General</c:formatCode>
                <c:ptCount val="5"/>
                <c:pt idx="0">
                  <c:v>0.51500000000000001</c:v>
                </c:pt>
                <c:pt idx="1">
                  <c:v>0.50380000000000003</c:v>
                </c:pt>
                <c:pt idx="2">
                  <c:v>0.50039999999999996</c:v>
                </c:pt>
                <c:pt idx="3">
                  <c:v>0.51649999999999996</c:v>
                </c:pt>
                <c:pt idx="4">
                  <c:v>0.49640000000000001</c:v>
                </c:pt>
              </c:numCache>
            </c:numRef>
          </c:yVal>
          <c:bubbleSize>
            <c:numRef>
              <c:f>Sheet1!$C$2:$C$6</c:f>
              <c:numCache>
                <c:formatCode>General</c:formatCode>
                <c:ptCount val="5"/>
                <c:pt idx="0">
                  <c:v>771320.522</c:v>
                </c:pt>
                <c:pt idx="1">
                  <c:v>528419.29000000027</c:v>
                </c:pt>
                <c:pt idx="2">
                  <c:v>665789.91659999988</c:v>
                </c:pt>
                <c:pt idx="3">
                  <c:v>820117.99650000001</c:v>
                </c:pt>
                <c:pt idx="4">
                  <c:v>655621.0545000002</c:v>
                </c:pt>
              </c:numCache>
            </c:numRef>
          </c:bubbleSize>
          <c:bubble3D val="0"/>
          <c:extLst>
            <c:ext xmlns:c15="http://schemas.microsoft.com/office/drawing/2012/chart" uri="{02D57815-91ED-43cb-92C2-25804820EDAC}">
              <c15:datalabelsRange>
                <c15:f>Sheet1!$E$2:$E$29</c15:f>
                <c15:dlblRangeCache>
                  <c:ptCount val="28"/>
                  <c:pt idx="0">
                    <c:v>CA C</c:v>
                  </c:pt>
                  <c:pt idx="1">
                    <c:v>CA B</c:v>
                  </c:pt>
                  <c:pt idx="2">
                    <c:v>CA D</c:v>
                  </c:pt>
                  <c:pt idx="3">
                    <c:v>CA A</c:v>
                  </c:pt>
                  <c:pt idx="4">
                    <c:v>CA E</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3.80204"/>
          <c:min val="8.9384800000000002"/>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50726936192632932"/>
        <c:crossBetween val="midCat"/>
      </c:valAx>
      <c:valAx>
        <c:axId val="1011451359"/>
        <c:scaling>
          <c:orientation val="minMax"/>
          <c:max val="0.9798"/>
          <c:min val="0.1571200000000000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1.32024750094345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rgbClr val="FF808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2CFC741-498B-474A-A019-035BC1359B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C63AA3D1-7E36-4155-BD2F-AA7A5FE907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3599DC71-2B36-4ECB-A028-31928195C2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18633BB2-2EE9-4888-B4F4-10B0D51654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00A10587-9534-40CB-83AF-CCDFEA39A1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05C2510F-3692-4C0A-8E3F-9766DFD8D5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B05365BB-6E40-4790-AC8C-87CCB6BD44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30AB1CEC-D8A7-471E-BB8B-EDFBF073D8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38.710999999999999</c:v>
                </c:pt>
                <c:pt idx="1">
                  <c:v>38.2849</c:v>
                </c:pt>
                <c:pt idx="2">
                  <c:v>38.225000000000001</c:v>
                </c:pt>
                <c:pt idx="3">
                  <c:v>42.708599999999997</c:v>
                </c:pt>
                <c:pt idx="4">
                  <c:v>37.201700000000002</c:v>
                </c:pt>
              </c:numCache>
            </c:numRef>
          </c:xVal>
          <c:yVal>
            <c:numRef>
              <c:f>Sheet1!$B$2:$B$6</c:f>
              <c:numCache>
                <c:formatCode>General</c:formatCode>
                <c:ptCount val="5"/>
                <c:pt idx="0">
                  <c:v>0.40749999999999997</c:v>
                </c:pt>
                <c:pt idx="1">
                  <c:v>0.40699999999999997</c:v>
                </c:pt>
                <c:pt idx="2">
                  <c:v>0.40820000000000001</c:v>
                </c:pt>
                <c:pt idx="3">
                  <c:v>0.40600000000000003</c:v>
                </c:pt>
                <c:pt idx="4">
                  <c:v>0.40670000000000001</c:v>
                </c:pt>
              </c:numCache>
            </c:numRef>
          </c:yVal>
          <c:bubbleSize>
            <c:numRef>
              <c:f>Sheet1!$C$2:$C$6</c:f>
              <c:numCache>
                <c:formatCode>General</c:formatCode>
                <c:ptCount val="5"/>
                <c:pt idx="0">
                  <c:v>12347231.336600009</c:v>
                </c:pt>
                <c:pt idx="1">
                  <c:v>7992310.4304000027</c:v>
                </c:pt>
                <c:pt idx="2">
                  <c:v>9881708.3125000093</c:v>
                </c:pt>
                <c:pt idx="3">
                  <c:v>16477477.57090003</c:v>
                </c:pt>
                <c:pt idx="4">
                  <c:v>9012292.4052999951</c:v>
                </c:pt>
              </c:numCache>
            </c:numRef>
          </c:bubbleSize>
          <c:bubble3D val="0"/>
          <c:extLst>
            <c:ext xmlns:c15="http://schemas.microsoft.com/office/drawing/2012/chart" uri="{02D57815-91ED-43cb-92C2-25804820EDAC}">
              <c15:datalabelsRange>
                <c15:f>Sheet1!$E$2:$E$29</c15:f>
                <c15:dlblRangeCache>
                  <c:ptCount val="28"/>
                  <c:pt idx="0">
                    <c:v>CA C</c:v>
                  </c:pt>
                  <c:pt idx="1">
                    <c:v>CA B</c:v>
                  </c:pt>
                  <c:pt idx="2">
                    <c:v>CA D</c:v>
                  </c:pt>
                  <c:pt idx="3">
                    <c:v>CA A</c:v>
                  </c:pt>
                  <c:pt idx="4">
                    <c:v>CA E</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1.250319999999995"/>
          <c:min val="29.761360000000003"/>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697936674560903"/>
        <c:crossBetween val="midCat"/>
      </c:valAx>
      <c:valAx>
        <c:axId val="1011451359"/>
        <c:scaling>
          <c:orientation val="minMax"/>
          <c:max val="0.84983999999999993"/>
          <c:min val="8.4800000000000042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9.50186826361806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rgbClr val="FF808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CF91D3AB-EF7D-48CD-B28E-67E63D6F49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696B7757-0EAF-44C4-B8D9-AC74FCC43D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3877FA59-A5EA-446D-9550-BCD60558B6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7CBE0935-F99E-445D-8C44-59881E3F2D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707D666-4D17-4D18-9B9D-7D0646847E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FAAC6D0F-F0F7-4F70-AC10-0384CC27AF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399B27E3-95C4-4453-B26E-89B4D51EB3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1DB70B46-B53E-4231-A78F-404FC4FA66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46.651800000000001</c:v>
                </c:pt>
                <c:pt idx="1">
                  <c:v>46.510199999999998</c:v>
                </c:pt>
                <c:pt idx="2">
                  <c:v>46.3812</c:v>
                </c:pt>
                <c:pt idx="3">
                  <c:v>50.626399999999997</c:v>
                </c:pt>
                <c:pt idx="4">
                  <c:v>45.713500000000003</c:v>
                </c:pt>
              </c:numCache>
            </c:numRef>
          </c:xVal>
          <c:yVal>
            <c:numRef>
              <c:f>Sheet1!$B$2:$B$6</c:f>
              <c:numCache>
                <c:formatCode>General</c:formatCode>
                <c:ptCount val="5"/>
                <c:pt idx="0">
                  <c:v>0.39889999999999998</c:v>
                </c:pt>
                <c:pt idx="1">
                  <c:v>0.39879999999999999</c:v>
                </c:pt>
                <c:pt idx="2">
                  <c:v>0.40039999999999998</c:v>
                </c:pt>
                <c:pt idx="3">
                  <c:v>0.3987</c:v>
                </c:pt>
                <c:pt idx="4">
                  <c:v>0.39850000000000002</c:v>
                </c:pt>
              </c:numCache>
            </c:numRef>
          </c:yVal>
          <c:bubbleSize>
            <c:numRef>
              <c:f>Sheet1!$C$2:$C$6</c:f>
              <c:numCache>
                <c:formatCode>General</c:formatCode>
                <c:ptCount val="5"/>
                <c:pt idx="0">
                  <c:v>11451330.409499999</c:v>
                </c:pt>
                <c:pt idx="1">
                  <c:v>7385860.1433999958</c:v>
                </c:pt>
                <c:pt idx="2">
                  <c:v>9127076.6104000043</c:v>
                </c:pt>
                <c:pt idx="3">
                  <c:v>15491060.00650003</c:v>
                </c:pt>
                <c:pt idx="4">
                  <c:v>8278718.1804</c:v>
                </c:pt>
              </c:numCache>
            </c:numRef>
          </c:bubbleSize>
          <c:bubble3D val="0"/>
          <c:extLst>
            <c:ext xmlns:c15="http://schemas.microsoft.com/office/drawing/2012/chart" uri="{02D57815-91ED-43cb-92C2-25804820EDAC}">
              <c15:datalabelsRange>
                <c15:f>Sheet1!$E$2:$E$29</c15:f>
                <c15:dlblRangeCache>
                  <c:ptCount val="28"/>
                  <c:pt idx="0">
                    <c:v>CA C</c:v>
                  </c:pt>
                  <c:pt idx="1">
                    <c:v>CA B</c:v>
                  </c:pt>
                  <c:pt idx="2">
                    <c:v>CA D</c:v>
                  </c:pt>
                  <c:pt idx="3">
                    <c:v>CA A</c:v>
                  </c:pt>
                  <c:pt idx="4">
                    <c:v>CA E</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60.751679999999993"/>
          <c:min val="36.570800000000006"/>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9902646081673132"/>
        <c:crossBetween val="midCat"/>
      </c:valAx>
      <c:valAx>
        <c:axId val="1011451359"/>
        <c:scaling>
          <c:orientation val="minMax"/>
          <c:max val="0.84047999999999989"/>
          <c:min val="7.8800000000000037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7.6238334214283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E6E5E5"/>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DB219FF9-40A7-47F2-9238-CF42C12997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A0B7CF42-C5A6-4FBD-8803-85278E2161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B7DE393-CDA1-4BAA-8DDA-AA7A401B88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3AAD3038-EB88-4F69-9D73-F024D346BA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85EF04AB-1861-408A-9954-1BB2718A26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41D766B1-8162-49B3-8303-92DE639E64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4AFF7F76-F909-45AE-9960-B8E21F403E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B25B561D-FF32-494E-BE2E-CE76E7FFED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45.91970000000001</c:v>
                </c:pt>
                <c:pt idx="1">
                  <c:v>136.71950000000001</c:v>
                </c:pt>
                <c:pt idx="2">
                  <c:v>134.46180000000001</c:v>
                </c:pt>
                <c:pt idx="3">
                  <c:v>168.7835</c:v>
                </c:pt>
                <c:pt idx="4">
                  <c:v>111.31100000000001</c:v>
                </c:pt>
              </c:numCache>
            </c:numRef>
          </c:xVal>
          <c:yVal>
            <c:numRef>
              <c:f>Sheet1!$B$2:$B$6</c:f>
              <c:numCache>
                <c:formatCode>General</c:formatCode>
                <c:ptCount val="5"/>
                <c:pt idx="0">
                  <c:v>0.3775</c:v>
                </c:pt>
                <c:pt idx="1">
                  <c:v>0.37640000000000001</c:v>
                </c:pt>
                <c:pt idx="2">
                  <c:v>0.38080000000000003</c:v>
                </c:pt>
                <c:pt idx="3">
                  <c:v>0.37659999999999999</c:v>
                </c:pt>
                <c:pt idx="4">
                  <c:v>0.379</c:v>
                </c:pt>
              </c:numCache>
            </c:numRef>
          </c:yVal>
          <c:bubbleSize>
            <c:numRef>
              <c:f>Sheet1!$C$2:$C$6</c:f>
              <c:numCache>
                <c:formatCode>General</c:formatCode>
                <c:ptCount val="5"/>
                <c:pt idx="0">
                  <c:v>399965.95870000008</c:v>
                </c:pt>
                <c:pt idx="1">
                  <c:v>257032.70220000009</c:v>
                </c:pt>
                <c:pt idx="2">
                  <c:v>286538.14889999991</c:v>
                </c:pt>
                <c:pt idx="3">
                  <c:v>821300.45329999982</c:v>
                </c:pt>
                <c:pt idx="4">
                  <c:v>242212.70540000001</c:v>
                </c:pt>
              </c:numCache>
            </c:numRef>
          </c:bubbleSize>
          <c:bubble3D val="0"/>
          <c:extLst>
            <c:ext xmlns:c15="http://schemas.microsoft.com/office/drawing/2012/chart" uri="{02D57815-91ED-43cb-92C2-25804820EDAC}">
              <c15:datalabelsRange>
                <c15:f>Sheet1!$E$2:$E$29</c15:f>
                <c15:dlblRangeCache>
                  <c:ptCount val="28"/>
                  <c:pt idx="0">
                    <c:v>CA C</c:v>
                  </c:pt>
                  <c:pt idx="1">
                    <c:v>CA B</c:v>
                  </c:pt>
                  <c:pt idx="2">
                    <c:v>CA D</c:v>
                  </c:pt>
                  <c:pt idx="3">
                    <c:v>CA A</c:v>
                  </c:pt>
                  <c:pt idx="4">
                    <c:v>CA E</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02.5402"/>
          <c:min val="89.04880000000001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7764299024617437"/>
        <c:crossBetween val="midCat"/>
      </c:valAx>
      <c:valAx>
        <c:axId val="1011451359"/>
        <c:scaling>
          <c:orientation val="minMax"/>
          <c:max val="0.81696000000000002"/>
          <c:min val="6.1120000000000022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48.285114313660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C654150C-0BAA-469E-8536-5F707E6505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CEFC73B1-DF21-4C9B-A9EB-6EDB72F7D2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05C45B76-9BC2-4898-8414-A47E24E09B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7016F9CB-BEA7-41A3-B2F6-4D998E706F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6517EF19-6582-44EA-B944-2C1415B55B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C77F6339-35DC-4BF1-85FB-62DDEED8B4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042201BF-E6D0-4721-9A29-AC6F2E182B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311A71C0-A71D-4DD4-9911-53BEFE4828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58.195799999999998</c:v>
                </c:pt>
                <c:pt idx="1">
                  <c:v>57.863199999999999</c:v>
                </c:pt>
                <c:pt idx="2">
                  <c:v>57.499099999999999</c:v>
                </c:pt>
                <c:pt idx="3">
                  <c:v>70.872600000000006</c:v>
                </c:pt>
                <c:pt idx="4">
                  <c:v>56.712499999999999</c:v>
                </c:pt>
              </c:numCache>
            </c:numRef>
          </c:xVal>
          <c:yVal>
            <c:numRef>
              <c:f>Sheet1!$B$2:$B$6</c:f>
              <c:numCache>
                <c:formatCode>General</c:formatCode>
                <c:ptCount val="5"/>
                <c:pt idx="0">
                  <c:v>0.40699999999999997</c:v>
                </c:pt>
                <c:pt idx="1">
                  <c:v>0.40649999999999997</c:v>
                </c:pt>
                <c:pt idx="2">
                  <c:v>0.40649999999999997</c:v>
                </c:pt>
                <c:pt idx="3">
                  <c:v>0.40460000000000002</c:v>
                </c:pt>
                <c:pt idx="4">
                  <c:v>0.40500000000000003</c:v>
                </c:pt>
              </c:numCache>
            </c:numRef>
          </c:yVal>
          <c:bubbleSize>
            <c:numRef>
              <c:f>Sheet1!$C$2:$C$6</c:f>
              <c:numCache>
                <c:formatCode>General</c:formatCode>
                <c:ptCount val="5"/>
                <c:pt idx="0">
                  <c:v>744091.3105999995</c:v>
                </c:pt>
                <c:pt idx="1">
                  <c:v>451795.64400000009</c:v>
                </c:pt>
                <c:pt idx="2">
                  <c:v>543826.32400000014</c:v>
                </c:pt>
                <c:pt idx="3">
                  <c:v>1227443.136299999</c:v>
                </c:pt>
                <c:pt idx="4">
                  <c:v>513077.54580000031</c:v>
                </c:pt>
              </c:numCache>
            </c:numRef>
          </c:bubbleSize>
          <c:bubble3D val="0"/>
          <c:extLst>
            <c:ext xmlns:c15="http://schemas.microsoft.com/office/drawing/2012/chart" uri="{02D57815-91ED-43cb-92C2-25804820EDAC}">
              <c15:datalabelsRange>
                <c15:f>Sheet1!$E$2:$E$29</c15:f>
                <c15:dlblRangeCache>
                  <c:ptCount val="28"/>
                  <c:pt idx="0">
                    <c:v>CA C</c:v>
                  </c:pt>
                  <c:pt idx="1">
                    <c:v>CA B</c:v>
                  </c:pt>
                  <c:pt idx="2">
                    <c:v>CA D</c:v>
                  </c:pt>
                  <c:pt idx="3">
                    <c:v>CA A</c:v>
                  </c:pt>
                  <c:pt idx="4">
                    <c:v>CA E</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85.047120000000007"/>
          <c:min val="45.370000000000005"/>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571565255290459"/>
        <c:crossBetween val="midCat"/>
      </c:valAx>
      <c:valAx>
        <c:axId val="1011451359"/>
        <c:scaling>
          <c:orientation val="minMax"/>
          <c:max val="0.84839999999999993"/>
          <c:min val="8.3680000000000032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62.29605657946494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89721AEA-A233-4617-B03C-0EAF7EE829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12C7FB22-C0B6-40B6-9266-4FA98EFA55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1BF74CD8-EB76-4B32-9E43-6274FA4BDD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767A626A-8B62-4BD0-9A17-14475BC5D8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D57425D1-2C87-4989-A1C8-9A84E86926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601E8658-366F-49F6-89C5-5A88AE0D7D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CBA3A689-3273-4C9D-B12E-ECE6F4CC71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3884E6B3-837C-4407-89AA-46E64DA193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1.357900000000001</c:v>
                </c:pt>
                <c:pt idx="1">
                  <c:v>11.027100000000001</c:v>
                </c:pt>
                <c:pt idx="2">
                  <c:v>10.8842</c:v>
                </c:pt>
                <c:pt idx="3">
                  <c:v>10.9679</c:v>
                </c:pt>
                <c:pt idx="4">
                  <c:v>10.9755</c:v>
                </c:pt>
              </c:numCache>
            </c:numRef>
          </c:xVal>
          <c:yVal>
            <c:numRef>
              <c:f>Sheet1!$B$2:$B$6</c:f>
              <c:numCache>
                <c:formatCode>General</c:formatCode>
                <c:ptCount val="5"/>
                <c:pt idx="0">
                  <c:v>0.46960000000000002</c:v>
                </c:pt>
                <c:pt idx="1">
                  <c:v>0.46729999999999999</c:v>
                </c:pt>
                <c:pt idx="2">
                  <c:v>0.46550000000000002</c:v>
                </c:pt>
                <c:pt idx="3">
                  <c:v>0.46629999999999999</c:v>
                </c:pt>
                <c:pt idx="4">
                  <c:v>0.46489999999999998</c:v>
                </c:pt>
              </c:numCache>
            </c:numRef>
          </c:yVal>
          <c:bubbleSize>
            <c:numRef>
              <c:f>Sheet1!$C$2:$C$6</c:f>
              <c:numCache>
                <c:formatCode>General</c:formatCode>
                <c:ptCount val="5"/>
                <c:pt idx="0">
                  <c:v>14356.338299999999</c:v>
                </c:pt>
                <c:pt idx="1">
                  <c:v>8579.0637999999999</c:v>
                </c:pt>
                <c:pt idx="2">
                  <c:v>9708.7252000000008</c:v>
                </c:pt>
                <c:pt idx="3">
                  <c:v>11450.444100000001</c:v>
                </c:pt>
                <c:pt idx="4">
                  <c:v>12347.440500000001</c:v>
                </c:pt>
              </c:numCache>
            </c:numRef>
          </c:bubbleSize>
          <c:bubble3D val="0"/>
          <c:extLst>
            <c:ext xmlns:c15="http://schemas.microsoft.com/office/drawing/2012/chart" uri="{02D57815-91ED-43cb-92C2-25804820EDAC}">
              <c15:datalabelsRange>
                <c15:f>Sheet1!$E$2:$E$29</c15:f>
                <c15:dlblRangeCache>
                  <c:ptCount val="28"/>
                  <c:pt idx="0">
                    <c:v>CA C</c:v>
                  </c:pt>
                  <c:pt idx="1">
                    <c:v>CA B</c:v>
                  </c:pt>
                  <c:pt idx="2">
                    <c:v>CA D</c:v>
                  </c:pt>
                  <c:pt idx="3">
                    <c:v>CA A</c:v>
                  </c:pt>
                  <c:pt idx="4">
                    <c:v>CA E</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3.629480000000001"/>
          <c:min val="8.7073599999999995"/>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6684749259088693"/>
        <c:crossBetween val="midCat"/>
      </c:valAx>
      <c:valAx>
        <c:axId val="1011451359"/>
        <c:scaling>
          <c:orientation val="minMax"/>
          <c:max val="0.92352000000000001"/>
          <c:min val="0.13192000000000001"/>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1.0633620960724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rgbClr val="FF808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5BFB393D-BAD3-44E0-A2D8-3B5F7953CD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D0D6EA48-40C6-4987-A97B-0A5FAED6AB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302460C4-6F69-4DF4-BAED-B74CD956D3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BDCB4B1-A8A5-4925-A14C-5EDDA0CB09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690C045B-F0C2-4783-8CD4-89051C5058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42EE1AC6-69D7-4FC2-AED2-C4B88F5593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DEE02FEF-C6E3-42D8-8190-62956C95CB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2405C151-1B85-4CCD-83D7-D98B7CD657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9.6205999999999996</c:v>
                </c:pt>
                <c:pt idx="1">
                  <c:v>9.4970999999999997</c:v>
                </c:pt>
                <c:pt idx="2">
                  <c:v>9.5114000000000001</c:v>
                </c:pt>
                <c:pt idx="3">
                  <c:v>9.6295000000000002</c:v>
                </c:pt>
                <c:pt idx="4">
                  <c:v>9.4278999999999993</c:v>
                </c:pt>
              </c:numCache>
            </c:numRef>
          </c:xVal>
          <c:yVal>
            <c:numRef>
              <c:f>Sheet1!$B$2:$B$6</c:f>
              <c:numCache>
                <c:formatCode>General</c:formatCode>
                <c:ptCount val="5"/>
                <c:pt idx="0">
                  <c:v>0.54410000000000003</c:v>
                </c:pt>
                <c:pt idx="1">
                  <c:v>0.54549999999999998</c:v>
                </c:pt>
                <c:pt idx="2">
                  <c:v>0.54530000000000001</c:v>
                </c:pt>
                <c:pt idx="3">
                  <c:v>0.53910000000000002</c:v>
                </c:pt>
                <c:pt idx="4">
                  <c:v>0.54649999999999999</c:v>
                </c:pt>
              </c:numCache>
            </c:numRef>
          </c:yVal>
          <c:bubbleSize>
            <c:numRef>
              <c:f>Sheet1!$C$2:$C$6</c:f>
              <c:numCache>
                <c:formatCode>General</c:formatCode>
                <c:ptCount val="5"/>
                <c:pt idx="0">
                  <c:v>328697.09860000003</c:v>
                </c:pt>
                <c:pt idx="1">
                  <c:v>188726.6874</c:v>
                </c:pt>
                <c:pt idx="2">
                  <c:v>237023.935</c:v>
                </c:pt>
                <c:pt idx="3">
                  <c:v>402704.71079999988</c:v>
                </c:pt>
                <c:pt idx="4">
                  <c:v>201710.9086</c:v>
                </c:pt>
              </c:numCache>
            </c:numRef>
          </c:bubbleSize>
          <c:bubble3D val="0"/>
          <c:extLst>
            <c:ext xmlns:c15="http://schemas.microsoft.com/office/drawing/2012/chart" uri="{02D57815-91ED-43cb-92C2-25804820EDAC}">
              <c15:datalabelsRange>
                <c15:f>Sheet1!$E$2:$E$29</c15:f>
                <c15:dlblRangeCache>
                  <c:ptCount val="28"/>
                  <c:pt idx="0">
                    <c:v>CA C</c:v>
                  </c:pt>
                  <c:pt idx="1">
                    <c:v>CA B</c:v>
                  </c:pt>
                  <c:pt idx="2">
                    <c:v>CA D</c:v>
                  </c:pt>
                  <c:pt idx="3">
                    <c:v>CA A</c:v>
                  </c:pt>
                  <c:pt idx="4">
                    <c:v>CA E</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1.555400000000001"/>
          <c:min val="7.5423200000000001"/>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54337824140968338"/>
        <c:crossBetween val="midCat"/>
      </c:valAx>
      <c:valAx>
        <c:axId val="1011451359"/>
        <c:scaling>
          <c:orientation val="minMax"/>
          <c:max val="1.0158"/>
          <c:min val="0.19128000000000003"/>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9.558433057051834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E6E5E5"/>
              </a:solidFill>
            </c:spPr>
            <c:extLst>
              <c:ext xmlns:c16="http://schemas.microsoft.com/office/drawing/2014/chart" uri="{C3380CC4-5D6E-409C-BE32-E72D297353CC}">
                <c16:uniqueId val="{00000005-CFF5-4D9B-9947-2A90D7752FBB}"/>
              </c:ext>
            </c:extLst>
          </c:dPt>
          <c:dPt>
            <c:idx val="3"/>
            <c:invertIfNegative val="0"/>
            <c:bubble3D val="0"/>
            <c:spPr>
              <a:solidFill>
                <a:srgbClr val="FF808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E6E5E5"/>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B7F929EE-5708-4196-BACC-4642CBA083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2A431976-8CF6-40B0-977E-B7D2DF9498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161FAD7A-2718-4137-BA2F-B6FCECD05E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19F7A45C-8E4B-4B1D-B655-4FED021351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1C320BBF-F596-474F-9E9E-40C34C6EEB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25554165-584D-4D43-9F14-6F52BF1272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017771E5-1BBF-4FD9-A9C7-7AFC9B7349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925DE986-A9D8-4B57-8C26-8CFE919E11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7.9803</c:v>
                </c:pt>
                <c:pt idx="1">
                  <c:v>15.578099999999999</c:v>
                </c:pt>
                <c:pt idx="2">
                  <c:v>15.625500000000001</c:v>
                </c:pt>
                <c:pt idx="3">
                  <c:v>18.798400000000001</c:v>
                </c:pt>
                <c:pt idx="4">
                  <c:v>15.970499999999999</c:v>
                </c:pt>
              </c:numCache>
            </c:numRef>
          </c:xVal>
          <c:yVal>
            <c:numRef>
              <c:f>Sheet1!$B$2:$B$6</c:f>
              <c:numCache>
                <c:formatCode>General</c:formatCode>
                <c:ptCount val="5"/>
                <c:pt idx="0">
                  <c:v>0.45279999999999998</c:v>
                </c:pt>
                <c:pt idx="1">
                  <c:v>0.42649999999999999</c:v>
                </c:pt>
                <c:pt idx="2">
                  <c:v>0.42159999999999997</c:v>
                </c:pt>
                <c:pt idx="3">
                  <c:v>0.45900000000000002</c:v>
                </c:pt>
                <c:pt idx="4">
                  <c:v>0.4259</c:v>
                </c:pt>
              </c:numCache>
            </c:numRef>
          </c:yVal>
          <c:bubbleSize>
            <c:numRef>
              <c:f>Sheet1!$C$2:$C$6</c:f>
              <c:numCache>
                <c:formatCode>General</c:formatCode>
                <c:ptCount val="5"/>
                <c:pt idx="0">
                  <c:v>65574.324200000017</c:v>
                </c:pt>
                <c:pt idx="1">
                  <c:v>78529.404399999999</c:v>
                </c:pt>
                <c:pt idx="2">
                  <c:v>94284.052799999976</c:v>
                </c:pt>
                <c:pt idx="3">
                  <c:v>63745.286800000002</c:v>
                </c:pt>
                <c:pt idx="4">
                  <c:v>89019.301200000002</c:v>
                </c:pt>
              </c:numCache>
            </c:numRef>
          </c:bubbleSize>
          <c:bubble3D val="0"/>
          <c:extLst>
            <c:ext xmlns:c15="http://schemas.microsoft.com/office/drawing/2012/chart" uri="{02D57815-91ED-43cb-92C2-25804820EDAC}">
              <c15:datalabelsRange>
                <c15:f>Sheet1!$E$2:$E$29</c15:f>
                <c15:dlblRangeCache>
                  <c:ptCount val="28"/>
                  <c:pt idx="0">
                    <c:v>CA C</c:v>
                  </c:pt>
                  <c:pt idx="1">
                    <c:v>CA B</c:v>
                  </c:pt>
                  <c:pt idx="2">
                    <c:v>CA D</c:v>
                  </c:pt>
                  <c:pt idx="3">
                    <c:v>CA A</c:v>
                  </c:pt>
                  <c:pt idx="4">
                    <c:v>CA E</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2.55808"/>
          <c:min val="12.462479999999999"/>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488783902307104"/>
        <c:crossBetween val="midCat"/>
      </c:valAx>
      <c:valAx>
        <c:axId val="1011451359"/>
        <c:scaling>
          <c:orientation val="minMax"/>
          <c:max val="0.91079999999999994"/>
          <c:min val="9.7279999999999991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6.60634847305879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7FDA661-2F06-40EF-ACFE-EE2E538E86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DA32A7A-AE75-4CDD-AE80-E6285B7A48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6B44FFBD-40DF-4BD4-AA98-9F0570A7BB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AA404102-2045-42B2-AC29-AF3BF42A93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1534F664-6261-4E88-AA40-11278594A9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9FF9C190-0262-4390-AF58-8C5DC260CF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F2C1E19D-6155-4A91-A9BD-1F5154BE82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62459CB1-37EB-4F05-A3EC-1ED8B93E31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3.453200000000001</c:v>
                </c:pt>
                <c:pt idx="1">
                  <c:v>13.437200000000001</c:v>
                </c:pt>
                <c:pt idx="2">
                  <c:v>13.8226</c:v>
                </c:pt>
                <c:pt idx="3">
                  <c:v>13.4221</c:v>
                </c:pt>
                <c:pt idx="4">
                  <c:v>13.451599999999999</c:v>
                </c:pt>
              </c:numCache>
            </c:numRef>
          </c:xVal>
          <c:yVal>
            <c:numRef>
              <c:f>Sheet1!$B$2:$B$6</c:f>
              <c:numCache>
                <c:formatCode>General</c:formatCode>
                <c:ptCount val="5"/>
                <c:pt idx="0">
                  <c:v>0.51049999999999995</c:v>
                </c:pt>
                <c:pt idx="1">
                  <c:v>0.51039999999999996</c:v>
                </c:pt>
                <c:pt idx="2">
                  <c:v>0.48699999999999999</c:v>
                </c:pt>
                <c:pt idx="3">
                  <c:v>0.51100000000000001</c:v>
                </c:pt>
                <c:pt idx="4">
                  <c:v>0.50780000000000003</c:v>
                </c:pt>
              </c:numCache>
            </c:numRef>
          </c:yVal>
          <c:bubbleSize>
            <c:numRef>
              <c:f>Sheet1!$C$2:$C$6</c:f>
              <c:numCache>
                <c:formatCode>General</c:formatCode>
                <c:ptCount val="5"/>
                <c:pt idx="0">
                  <c:v>88737.557799999995</c:v>
                </c:pt>
                <c:pt idx="1">
                  <c:v>58868.499100000001</c:v>
                </c:pt>
                <c:pt idx="2">
                  <c:v>97974.25940000001</c:v>
                </c:pt>
                <c:pt idx="3">
                  <c:v>97350.138800000015</c:v>
                </c:pt>
                <c:pt idx="4">
                  <c:v>78933.850900000005</c:v>
                </c:pt>
              </c:numCache>
            </c:numRef>
          </c:bubbleSize>
          <c:bubble3D val="0"/>
          <c:extLst>
            <c:ext xmlns:c15="http://schemas.microsoft.com/office/drawing/2012/chart" uri="{02D57815-91ED-43cb-92C2-25804820EDAC}">
              <c15:datalabelsRange>
                <c15:f>Sheet1!$E$2:$E$29</c15:f>
                <c15:dlblRangeCache>
                  <c:ptCount val="28"/>
                  <c:pt idx="0">
                    <c:v>CA C</c:v>
                  </c:pt>
                  <c:pt idx="1">
                    <c:v>CA B</c:v>
                  </c:pt>
                  <c:pt idx="2">
                    <c:v>CA D</c:v>
                  </c:pt>
                  <c:pt idx="3">
                    <c:v>CA A</c:v>
                  </c:pt>
                  <c:pt idx="4">
                    <c:v>CA E</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6.587119999999999"/>
          <c:min val="10.737680000000001"/>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50463856958583264"/>
        <c:crossBetween val="midCat"/>
      </c:valAx>
      <c:valAx>
        <c:axId val="1011451359"/>
        <c:scaling>
          <c:orientation val="minMax"/>
          <c:max val="0.97319999999999984"/>
          <c:min val="0.14960000000000001"/>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3.52928112727754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FC0B5DE7-CFF1-4470-865A-9CF39DFC1C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EACED616-C7B0-4EF1-890B-7752573474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FF5-4D9B-9947-2A90D7752FBB}"/>
                </c:ext>
              </c:extLst>
            </c:dLbl>
            <c:dLbl>
              <c:idx val="2"/>
              <c:tx>
                <c:rich>
                  <a:bodyPr/>
                  <a:lstStyle/>
                  <a:p>
                    <a:fld id="{9B680129-7750-4170-95DE-A163162614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FF5-4D9B-9947-2A90D7752FBB}"/>
                </c:ext>
              </c:extLst>
            </c:dLbl>
            <c:dLbl>
              <c:idx val="3"/>
              <c:tx>
                <c:rich>
                  <a:bodyPr/>
                  <a:lstStyle/>
                  <a:p>
                    <a:fld id="{06EAD22B-7B6B-41A8-AB95-4811C2FE7E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199B9D0F-3E58-4AAB-B6F4-A7AE47B24C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FB079B62-FF40-49D9-86DA-7D1B8D1B3A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0BA4DFC1-0061-49B9-81BE-C5DD4E1202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BFCACD3F-DC8E-4217-AB9A-E63F891174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9.326300000000003</c:v>
                </c:pt>
              </c:numCache>
            </c:numRef>
          </c:xVal>
          <c:yVal>
            <c:numRef>
              <c:f>Sheet1!$B$2:$B$2</c:f>
              <c:numCache>
                <c:formatCode>General</c:formatCode>
                <c:ptCount val="1"/>
                <c:pt idx="0">
                  <c:v>0.40689999999999998</c:v>
                </c:pt>
              </c:numCache>
            </c:numRef>
          </c:yVal>
          <c:bubbleSize>
            <c:numRef>
              <c:f>Sheet1!$C$2:$C$2</c:f>
              <c:numCache>
                <c:formatCode>General</c:formatCode>
                <c:ptCount val="1"/>
                <c:pt idx="0">
                  <c:v>55615848.209199719</c:v>
                </c:pt>
              </c:numCache>
            </c:numRef>
          </c:bubbleSize>
          <c:bubble3D val="0"/>
          <c:extLst>
            <c:ext xmlns:c15="http://schemas.microsoft.com/office/drawing/2012/chart" uri="{02D57815-91ED-43cb-92C2-25804820EDAC}">
              <c15:datalabelsRange>
                <c15:f>Sheet1!$E$2:$E$29</c15:f>
                <c15:dlblRangeCache>
                  <c:ptCount val="28"/>
                  <c:pt idx="0">
                    <c:v>NICOLAS</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47.191560000000003"/>
          <c:min val="31.46104000000000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689999999999998"/>
        <c:crossBetween val="midCat"/>
      </c:valAx>
      <c:valAx>
        <c:axId val="1011451359"/>
        <c:scaling>
          <c:orientation val="minMax"/>
          <c:max val="0.84827999999999992"/>
          <c:min val="8.5519999999999999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9.32630000000000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rgbClr val="7ECAC4"/>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E6E5E5"/>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011670F8-F569-4302-B7E7-51E26AC4E2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86098D51-F0C5-421D-BC08-B1B4BEF229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15CA878-D14F-451A-A3E9-CC876175D5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AE65275-C3DC-4785-9E61-98FE0B61D8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52243631-33DD-46F8-8574-74634B4DEB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788899F2-D099-404A-9A70-4269D20B8A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C4C2549E-B75D-42EB-B308-746EF81709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ABFD6ACB-30E5-429F-B7E3-605394A294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2.5991</c:v>
                </c:pt>
                <c:pt idx="1">
                  <c:v>12.474500000000001</c:v>
                </c:pt>
                <c:pt idx="2">
                  <c:v>12.5153</c:v>
                </c:pt>
                <c:pt idx="3">
                  <c:v>12.8568</c:v>
                </c:pt>
                <c:pt idx="4">
                  <c:v>12.3</c:v>
                </c:pt>
              </c:numCache>
            </c:numRef>
          </c:xVal>
          <c:yVal>
            <c:numRef>
              <c:f>Sheet1!$B$2:$B$6</c:f>
              <c:numCache>
                <c:formatCode>General</c:formatCode>
                <c:ptCount val="5"/>
                <c:pt idx="0">
                  <c:v>0.49490000000000001</c:v>
                </c:pt>
                <c:pt idx="1">
                  <c:v>0.48480000000000001</c:v>
                </c:pt>
                <c:pt idx="2">
                  <c:v>0.49</c:v>
                </c:pt>
                <c:pt idx="3">
                  <c:v>0.51080000000000003</c:v>
                </c:pt>
                <c:pt idx="4">
                  <c:v>0.47</c:v>
                </c:pt>
              </c:numCache>
            </c:numRef>
          </c:yVal>
          <c:bubbleSize>
            <c:numRef>
              <c:f>Sheet1!$C$2:$C$6</c:f>
              <c:numCache>
                <c:formatCode>General</c:formatCode>
                <c:ptCount val="5"/>
                <c:pt idx="0">
                  <c:v>202366.6917</c:v>
                </c:pt>
                <c:pt idx="1">
                  <c:v>144417.72820000001</c:v>
                </c:pt>
                <c:pt idx="2">
                  <c:v>160521.0486999999</c:v>
                </c:pt>
                <c:pt idx="3">
                  <c:v>167344.33319999999</c:v>
                </c:pt>
                <c:pt idx="4">
                  <c:v>194549.86650000009</c:v>
                </c:pt>
              </c:numCache>
            </c:numRef>
          </c:bubbleSize>
          <c:bubble3D val="0"/>
          <c:extLst>
            <c:ext xmlns:c15="http://schemas.microsoft.com/office/drawing/2012/chart" uri="{02D57815-91ED-43cb-92C2-25804820EDAC}">
              <c15:datalabelsRange>
                <c15:f>Sheet1!$E$2:$E$29</c15:f>
                <c15:dlblRangeCache>
                  <c:ptCount val="28"/>
                  <c:pt idx="0">
                    <c:v>CA C</c:v>
                  </c:pt>
                  <c:pt idx="1">
                    <c:v>CA B</c:v>
                  </c:pt>
                  <c:pt idx="2">
                    <c:v>CA D</c:v>
                  </c:pt>
                  <c:pt idx="3">
                    <c:v>CA A</c:v>
                  </c:pt>
                  <c:pt idx="4">
                    <c:v>CA E</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5.428159999999998"/>
          <c:min val="9.8400000000000016"/>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8980486578293136"/>
        <c:crossBetween val="midCat"/>
      </c:valAx>
      <c:valAx>
        <c:axId val="1011451359"/>
        <c:scaling>
          <c:orientation val="minMax"/>
          <c:max val="0.97295999999999994"/>
          <c:min val="0.1359999999999999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2.5455894604593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05907C39-5A68-495B-B848-ABF596CA49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B5681474-1D26-4C67-B484-1B7963FB01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DD7B8FD5-955D-4C8C-8193-7B10ACC747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EDF2AFD-A745-4FCF-B8DA-7E27565F69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80031B61-0B47-49FB-80F3-B1CFBB3B16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A4D14466-96E1-48CC-BA42-4917465E3B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5C72A13D-F48B-401A-81DF-F568E1F374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87FFA9E7-0D9F-492A-88D9-AEA7B07F46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0.934200000000001</c:v>
                </c:pt>
                <c:pt idx="1">
                  <c:v>49.932400000000001</c:v>
                </c:pt>
                <c:pt idx="2">
                  <c:v>24.6859</c:v>
                </c:pt>
              </c:numCache>
            </c:numRef>
          </c:xVal>
          <c:yVal>
            <c:numRef>
              <c:f>Sheet1!$B$2:$B$4</c:f>
              <c:numCache>
                <c:formatCode>General</c:formatCode>
                <c:ptCount val="3"/>
                <c:pt idx="0">
                  <c:v>0.51700000000000002</c:v>
                </c:pt>
                <c:pt idx="1">
                  <c:v>0.39479999999999998</c:v>
                </c:pt>
                <c:pt idx="2">
                  <c:v>0.53129999999999999</c:v>
                </c:pt>
              </c:numCache>
            </c:numRef>
          </c:yVal>
          <c:bubbleSize>
            <c:numRef>
              <c:f>Sheet1!$C$2:$C$4</c:f>
              <c:numCache>
                <c:formatCode>General</c:formatCode>
                <c:ptCount val="3"/>
                <c:pt idx="0">
                  <c:v>276426.5759</c:v>
                </c:pt>
                <c:pt idx="1">
                  <c:v>5134800.6025000028</c:v>
                </c:pt>
                <c:pt idx="2">
                  <c:v>43052.163600000007</c:v>
                </c:pt>
              </c:numCache>
            </c:numRef>
          </c:bubbleSize>
          <c:bubble3D val="0"/>
          <c:extLst>
            <c:ext xmlns:c15="http://schemas.microsoft.com/office/drawing/2012/chart" uri="{02D57815-91ED-43cb-92C2-25804820EDAC}">
              <c15:datalabelsRange>
                <c15:f>Sheet1!$E$2:$E$29</c15:f>
                <c15:dlblRangeCache>
                  <c:ptCount val="28"/>
                  <c:pt idx="0">
                    <c:v>Mousseux</c:v>
                  </c:pt>
                  <c:pt idx="1">
                    <c:v>Champagnes</c:v>
                  </c:pt>
                  <c:pt idx="2">
                    <c:v>Effervescents Sans Alcool</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9.918880000000001"/>
          <c:min val="8.7473600000000005"/>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207061182969017"/>
        <c:crossBetween val="midCat"/>
      </c:valAx>
      <c:valAx>
        <c:axId val="1011451359"/>
        <c:scaling>
          <c:orientation val="minMax"/>
          <c:max val="0.99755999999999989"/>
          <c:min val="7.5840000000000005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7.75666703942169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BC6D77F-4FAF-4C73-8521-CB898B4ABA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B8111F92-CC45-4762-8811-ADBDC513B7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DEE4C352-3F31-45A0-83C7-D4B79E447A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0CE1BA3-7F84-4860-BE71-A93BF2357E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ACBF5C58-497D-4CFD-9E60-0A40023B41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0DBE2311-5C8B-4E9E-B9B1-42F6B93868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FCB1C23A-7FCF-4A8D-8AB6-EB21DBEA8F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9309E67D-1F9B-4E22-B77B-7AB32FDC9A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0335</c:v>
                </c:pt>
                <c:pt idx="1">
                  <c:v>51.198300000000003</c:v>
                </c:pt>
                <c:pt idx="2">
                  <c:v>24.166399999999999</c:v>
                </c:pt>
              </c:numCache>
            </c:numRef>
          </c:xVal>
          <c:yVal>
            <c:numRef>
              <c:f>Sheet1!$B$2:$B$4</c:f>
              <c:numCache>
                <c:formatCode>General</c:formatCode>
                <c:ptCount val="3"/>
                <c:pt idx="0">
                  <c:v>0.4924</c:v>
                </c:pt>
                <c:pt idx="1">
                  <c:v>0.39929999999999999</c:v>
                </c:pt>
                <c:pt idx="2">
                  <c:v>0.52839999999999998</c:v>
                </c:pt>
              </c:numCache>
            </c:numRef>
          </c:yVal>
          <c:bubbleSize>
            <c:numRef>
              <c:f>Sheet1!$C$2:$C$4</c:f>
              <c:numCache>
                <c:formatCode>General</c:formatCode>
                <c:ptCount val="3"/>
                <c:pt idx="0">
                  <c:v>179051.5662</c:v>
                </c:pt>
                <c:pt idx="1">
                  <c:v>2616182.8419999988</c:v>
                </c:pt>
                <c:pt idx="2">
                  <c:v>25616.334900000002</c:v>
                </c:pt>
              </c:numCache>
            </c:numRef>
          </c:bubbleSize>
          <c:bubble3D val="0"/>
          <c:extLst>
            <c:ext xmlns:c15="http://schemas.microsoft.com/office/drawing/2012/chart" uri="{02D57815-91ED-43cb-92C2-25804820EDAC}">
              <c15:datalabelsRange>
                <c15:f>Sheet1!$E$2:$E$29</c15:f>
                <c15:dlblRangeCache>
                  <c:ptCount val="28"/>
                  <c:pt idx="0">
                    <c:v>Mousseux</c:v>
                  </c:pt>
                  <c:pt idx="1">
                    <c:v>Champagnes</c:v>
                  </c:pt>
                  <c:pt idx="2">
                    <c:v>Effervescents Sans Alcool</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61.437960000000004"/>
          <c:min val="8.8268000000000004"/>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638182440977239"/>
        <c:crossBetween val="midCat"/>
      </c:valAx>
      <c:valAx>
        <c:axId val="1011451359"/>
        <c:scaling>
          <c:orientation val="minMax"/>
          <c:max val="0.99407999999999996"/>
          <c:min val="7.9440000000000011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8.40338836960695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E3A9FB08-3EC7-4415-BD20-819854BBC9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7F14C731-4961-407E-8151-4AE9209399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FEDB132-7077-478C-BFAB-49E7AF0476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B37B8BAB-152E-4CC4-9367-51FB9C34B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B903168A-4240-42E1-B57F-369C5010DC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75AE7C4A-267D-4D12-A0A1-2747D2748D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BD24E6A3-2E37-4423-A14D-1D65D59A6C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2D086FCF-A4AE-4754-A445-A04718EC90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5503</c:v>
                </c:pt>
                <c:pt idx="1">
                  <c:v>49.12</c:v>
                </c:pt>
                <c:pt idx="2">
                  <c:v>24.756900000000002</c:v>
                </c:pt>
              </c:numCache>
            </c:numRef>
          </c:xVal>
          <c:yVal>
            <c:numRef>
              <c:f>Sheet1!$B$2:$B$4</c:f>
              <c:numCache>
                <c:formatCode>General</c:formatCode>
                <c:ptCount val="3"/>
                <c:pt idx="0">
                  <c:v>0.50780000000000003</c:v>
                </c:pt>
                <c:pt idx="1">
                  <c:v>0.39989999999999998</c:v>
                </c:pt>
                <c:pt idx="2">
                  <c:v>0.53159999999999996</c:v>
                </c:pt>
              </c:numCache>
            </c:numRef>
          </c:yVal>
          <c:bubbleSize>
            <c:numRef>
              <c:f>Sheet1!$C$2:$C$4</c:f>
              <c:numCache>
                <c:formatCode>General</c:formatCode>
                <c:ptCount val="3"/>
                <c:pt idx="0">
                  <c:v>370601.60829999979</c:v>
                </c:pt>
                <c:pt idx="1">
                  <c:v>6196835.9148999974</c:v>
                </c:pt>
                <c:pt idx="2">
                  <c:v>53920.4836</c:v>
                </c:pt>
              </c:numCache>
            </c:numRef>
          </c:bubbleSize>
          <c:bubble3D val="0"/>
          <c:extLst>
            <c:ext xmlns:c15="http://schemas.microsoft.com/office/drawing/2012/chart" uri="{02D57815-91ED-43cb-92C2-25804820EDAC}">
              <c15:datalabelsRange>
                <c15:f>Sheet1!$E$2:$E$29</c15:f>
                <c15:dlblRangeCache>
                  <c:ptCount val="28"/>
                  <c:pt idx="0">
                    <c:v>Mousseux</c:v>
                  </c:pt>
                  <c:pt idx="1">
                    <c:v>Champagnes</c:v>
                  </c:pt>
                  <c:pt idx="2">
                    <c:v>Effervescents Sans Alcool</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8.943999999999996"/>
          <c:min val="9.24024"/>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701171955621951"/>
        <c:crossBetween val="midCat"/>
      </c:valAx>
      <c:valAx>
        <c:axId val="1011451359"/>
        <c:scaling>
          <c:orientation val="minMax"/>
          <c:max val="0.99791999999999981"/>
          <c:min val="7.9919999999999991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6.81880115805616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3F428AA0-6FCE-45E2-9CA1-7E86EB8C00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42856196-677D-489B-B1CE-F23DA8F399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05A9E519-8FC5-4484-94C1-B7F2A407C4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6BA2041C-DE4B-4A36-AFB0-943EF064F6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6E2F202C-8FED-464F-9467-0382DD0119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BB5A0D85-86B1-4E2E-83CE-FFCA8ADE61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51BF9E9D-007F-48B3-BD23-20B997B8D5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ECC3092D-6929-40E9-9B76-4BE2A519FF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308</c:v>
                </c:pt>
                <c:pt idx="1">
                  <c:v>47.725900000000003</c:v>
                </c:pt>
                <c:pt idx="2">
                  <c:v>24.770600000000002</c:v>
                </c:pt>
              </c:numCache>
            </c:numRef>
          </c:xVal>
          <c:yVal>
            <c:numRef>
              <c:f>Sheet1!$B$2:$B$4</c:f>
              <c:numCache>
                <c:formatCode>General</c:formatCode>
                <c:ptCount val="3"/>
                <c:pt idx="0">
                  <c:v>0.52210000000000001</c:v>
                </c:pt>
                <c:pt idx="1">
                  <c:v>0.39979999999999999</c:v>
                </c:pt>
                <c:pt idx="2">
                  <c:v>0.53159999999999996</c:v>
                </c:pt>
              </c:numCache>
            </c:numRef>
          </c:yVal>
          <c:bubbleSize>
            <c:numRef>
              <c:f>Sheet1!$C$2:$C$4</c:f>
              <c:numCache>
                <c:formatCode>General</c:formatCode>
                <c:ptCount val="3"/>
                <c:pt idx="0">
                  <c:v>2177503.0832000002</c:v>
                </c:pt>
                <c:pt idx="1">
                  <c:v>36010739.481299996</c:v>
                </c:pt>
                <c:pt idx="2">
                  <c:v>385875.91470000002</c:v>
                </c:pt>
              </c:numCache>
            </c:numRef>
          </c:bubbleSize>
          <c:bubble3D val="0"/>
          <c:extLst>
            <c:ext xmlns:c15="http://schemas.microsoft.com/office/drawing/2012/chart" uri="{02D57815-91ED-43cb-92C2-25804820EDAC}">
              <c15:datalabelsRange>
                <c15:f>Sheet1!$E$2:$E$29</c15:f>
                <c15:dlblRangeCache>
                  <c:ptCount val="28"/>
                  <c:pt idx="0">
                    <c:v>Mousseux</c:v>
                  </c:pt>
                  <c:pt idx="1">
                    <c:v>Champagnes</c:v>
                  </c:pt>
                  <c:pt idx="2">
                    <c:v>Effervescents Sans Alcool</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7.271080000000005"/>
          <c:min val="9.0646400000000007"/>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802227662321933"/>
        <c:crossBetween val="midCat"/>
      </c:valAx>
      <c:valAx>
        <c:axId val="1011451359"/>
        <c:scaling>
          <c:orientation val="minMax"/>
          <c:max val="0.99791999999999981"/>
          <c:min val="7.9840000000000008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5.44176899916856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C516E1A1-1A3D-4E37-94E4-3F74F305D2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F4A7DBD5-DE85-42BA-912E-D76A32B4B6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6DC15A5C-D747-40A7-AA83-6F7CA18000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300B054E-F5F6-42A2-9BD0-858B8B41FD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01483A3C-056D-438A-A730-9BC8D97376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EE240F9B-1CF4-4FA4-B7F8-6C4A94022E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F77830B6-CC90-4251-95B2-DC3BBE4F7B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25BE5ADA-8FBA-4FB3-B2D4-A7B2431136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459</c:v>
                </c:pt>
                <c:pt idx="1">
                  <c:v>46.378500000000003</c:v>
                </c:pt>
                <c:pt idx="2">
                  <c:v>22.4331</c:v>
                </c:pt>
              </c:numCache>
            </c:numRef>
          </c:xVal>
          <c:yVal>
            <c:numRef>
              <c:f>Sheet1!$B$2:$B$4</c:f>
              <c:numCache>
                <c:formatCode>General</c:formatCode>
                <c:ptCount val="3"/>
                <c:pt idx="0">
                  <c:v>0.5081</c:v>
                </c:pt>
                <c:pt idx="1">
                  <c:v>0.39729999999999999</c:v>
                </c:pt>
                <c:pt idx="2">
                  <c:v>0.52410000000000001</c:v>
                </c:pt>
              </c:numCache>
            </c:numRef>
          </c:yVal>
          <c:bubbleSize>
            <c:numRef>
              <c:f>Sheet1!$C$2:$C$4</c:f>
              <c:numCache>
                <c:formatCode>General</c:formatCode>
                <c:ptCount val="3"/>
                <c:pt idx="0">
                  <c:v>669000.77550000022</c:v>
                </c:pt>
                <c:pt idx="1">
                  <c:v>10113337.9398</c:v>
                </c:pt>
                <c:pt idx="2">
                  <c:v>97987.694500000027</c:v>
                </c:pt>
              </c:numCache>
            </c:numRef>
          </c:bubbleSize>
          <c:bubble3D val="0"/>
          <c:extLst>
            <c:ext xmlns:c15="http://schemas.microsoft.com/office/drawing/2012/chart" uri="{02D57815-91ED-43cb-92C2-25804820EDAC}">
              <c15:datalabelsRange>
                <c15:f>Sheet1!$E$2:$E$29</c15:f>
                <c15:dlblRangeCache>
                  <c:ptCount val="28"/>
                  <c:pt idx="0">
                    <c:v>Mousseux</c:v>
                  </c:pt>
                  <c:pt idx="1">
                    <c:v>Champagnes</c:v>
                  </c:pt>
                  <c:pt idx="2">
                    <c:v>Effervescents Sans Alcool</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5.654200000000003"/>
          <c:min val="9.0767199999999999"/>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525473612905982"/>
        <c:crossBetween val="midCat"/>
      </c:valAx>
      <c:valAx>
        <c:axId val="1011451359"/>
        <c:scaling>
          <c:orientation val="minMax"/>
          <c:max val="0.98892000000000002"/>
          <c:min val="7.7840000000000006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4.00879249890532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E1309653-6A1C-472E-B8EE-8EEE2C7AD8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8867EA6A-5866-4D0F-8897-0C12E3CCA6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17FBE010-A3F0-4D5A-BDC9-BE35D76AA5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B9C065EC-8F46-4E9F-9E17-B801463143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C895D4F8-2E08-4033-B962-342EB0D734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01C01877-9875-4143-A2E4-81733343B4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7EF72892-DF9F-46C0-92C8-D6899232EE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17C828D1-BF9D-48AD-A0C6-2DB9DE72F5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026</c:v>
                </c:pt>
                <c:pt idx="1">
                  <c:v>47.464100000000002</c:v>
                </c:pt>
                <c:pt idx="2">
                  <c:v>24.162099999999999</c:v>
                </c:pt>
              </c:numCache>
            </c:numRef>
          </c:xVal>
          <c:yVal>
            <c:numRef>
              <c:f>Sheet1!$B$2:$B$4</c:f>
              <c:numCache>
                <c:formatCode>General</c:formatCode>
                <c:ptCount val="3"/>
                <c:pt idx="0">
                  <c:v>0.50729999999999997</c:v>
                </c:pt>
                <c:pt idx="1">
                  <c:v>0.39900000000000002</c:v>
                </c:pt>
                <c:pt idx="2">
                  <c:v>0.52990000000000004</c:v>
                </c:pt>
              </c:numCache>
            </c:numRef>
          </c:yVal>
          <c:bubbleSize>
            <c:numRef>
              <c:f>Sheet1!$C$2:$C$4</c:f>
              <c:numCache>
                <c:formatCode>General</c:formatCode>
                <c:ptCount val="3"/>
                <c:pt idx="0">
                  <c:v>3435985.7903999761</c:v>
                </c:pt>
                <c:pt idx="1">
                  <c:v>51645324.361399628</c:v>
                </c:pt>
                <c:pt idx="2">
                  <c:v>534538.05740000028</c:v>
                </c:pt>
              </c:numCache>
            </c:numRef>
          </c:bubbleSize>
          <c:bubble3D val="0"/>
          <c:extLst>
            <c:ext xmlns:c15="http://schemas.microsoft.com/office/drawing/2012/chart" uri="{02D57815-91ED-43cb-92C2-25804820EDAC}">
              <c15:datalabelsRange>
                <c15:f>Sheet1!$E$2:$E$29</c15:f>
                <c15:dlblRangeCache>
                  <c:ptCount val="28"/>
                  <c:pt idx="0">
                    <c:v>Mousseux</c:v>
                  </c:pt>
                  <c:pt idx="1">
                    <c:v>Champagnes</c:v>
                  </c:pt>
                  <c:pt idx="2">
                    <c:v>Effervescents Sans Alcool</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6.956920000000004"/>
          <c:min val="9.0420800000000003"/>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694896251786111"/>
        <c:crossBetween val="midCat"/>
      </c:valAx>
      <c:valAx>
        <c:axId val="1011451359"/>
        <c:scaling>
          <c:orientation val="minMax"/>
          <c:max val="0.9958800000000001"/>
          <c:min val="7.9200000000000034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5.00605592848172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700A52FE-A3ED-4359-B457-89DDA13FEB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EA9F2836-8AE5-429E-8063-FA3444AD0E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A4ADFDD-BB69-4941-B768-8DF64864F9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C1C99BB-133F-4A7F-AEB2-D077AA5D90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F16C053B-AF92-43E4-B960-2DF946F35B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E229BDE8-F2AA-4E5F-BAD7-8502C1773E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332E67EB-C02E-4556-984B-108E6EBFE1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2E4AECF-EAD7-4929-B635-9AC6128424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D739B04E-BA98-4AB3-924B-59CDA9267D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790F0608-3CD0-4D94-94DC-08259554AD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753C49AE-F8E1-4066-934A-654DB682B5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6A993F9-D5CE-4679-9F7E-DC87B2C2E3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2AA6815A-FDCF-4A2F-90FE-B411CD0666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724BCF43-15AB-4C96-8894-856ADD48BA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0FE4C464-F116-460A-824C-0CEE75D9FA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C6814F0D-FFFA-4742-9708-1DAB51C714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261CC256-2B50-42EE-B6F5-CDA280A226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EB4BDB31-F764-470F-8612-F93139F0FB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AA5A9CC2-F6C3-47F0-8F4A-D5B928E759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BDA99F4D-05D7-4C74-92ED-2C8E6F4CF3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815990CB-7A2F-4FB9-B99E-F0694D2E8A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E446EE99-7449-490D-9691-E9FD881C51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2BBCFF81-7E0B-4A54-849A-E312903F4C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939C3A27-A53B-46F3-8954-162E55DF6F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E4080C1E-55B1-4363-A358-625A178A23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CEE89E8E-5E93-4B78-B32E-DB47615DB5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E8144B15-74A5-4890-B237-54CC628A57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B1C1EA40-D50C-4CF5-B7F3-F9DC730BA8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CFA7378A-0ED1-438C-9E40-FA9D799C34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F57532D7-8153-481C-B887-0814E98B54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8FFC37CB-6EAD-461A-8F1A-A74F1B9336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9B10C745-0F6E-4414-A787-04EDD50232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51058AC0-D889-4554-BEA5-23BE8E8C4D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5BE05B4E-5F42-4DCC-8EB1-A4EACE466D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2D1CBEE8-1B5D-4964-B921-CC8EC5B7D8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7B8631B6-C6C2-4237-A755-4EC91500A3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3F3B4A51-D856-40A3-9C35-5E3989E37C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A2B5B823-917E-43DD-B592-DFD122C079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F7252310-384F-4C1D-A751-31C5FCB93B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816EDFCC-2F09-40E8-A9EA-B95578B2A1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732EE340-B2F5-45ED-827B-C3F705849B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5A01A627-DD30-4C50-B742-EDB74B0BEF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D2B3EF7C-11A0-4A57-8888-DB2503C814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745A3D26-9B69-40A7-9E19-83EF2087A1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92342A2F-78E7-4FD3-B13C-B370397433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815B1B5B-FDEC-4195-9687-CC54C50FAA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01694C66-C0F7-465B-9065-B819C48569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3F782ACC-02BC-493D-8691-A9B63D7E3E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50F16A7A-0CC4-4BCC-B3F8-EABF5BEDB3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8226AA81-A2A3-43E4-8F7F-87BAEBD721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4E5C1847-A436-45FF-B032-7B2BE8E31B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BBE9FD5B-7CD9-4A6B-B086-36FBF10E0E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6BD53100-D938-41F0-A511-B354F35187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91D66F96-A8E9-4F42-A643-13DD44DC23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465E5A0E-DF3F-439A-B9E6-BC9202DEDA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44E80CCE-ECCB-4927-8C8B-791A7EC174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101C7460-0BBB-4852-8825-FB5B4F180E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2</c:f>
              <c:numCache>
                <c:formatCode>General</c:formatCode>
                <c:ptCount val="21"/>
                <c:pt idx="0">
                  <c:v>9.3899999999999997E-2</c:v>
                </c:pt>
                <c:pt idx="1">
                  <c:v>8.43E-2</c:v>
                </c:pt>
                <c:pt idx="2">
                  <c:v>0.10489999999999999</c:v>
                </c:pt>
                <c:pt idx="3">
                  <c:v>1.43E-2</c:v>
                </c:pt>
                <c:pt idx="4">
                  <c:v>1.5E-3</c:v>
                </c:pt>
                <c:pt idx="5">
                  <c:v>-2.4E-2</c:v>
                </c:pt>
                <c:pt idx="6">
                  <c:v>0.1159</c:v>
                </c:pt>
                <c:pt idx="7">
                  <c:v>1.35E-2</c:v>
                </c:pt>
                <c:pt idx="8">
                  <c:v>4.4999999999999998E-2</c:v>
                </c:pt>
                <c:pt idx="9">
                  <c:v>0.13769999999999999</c:v>
                </c:pt>
                <c:pt idx="10">
                  <c:v>0.14019999999999999</c:v>
                </c:pt>
                <c:pt idx="11">
                  <c:v>0.15679999999999999</c:v>
                </c:pt>
                <c:pt idx="12">
                  <c:v>3.6400000000000002E-2</c:v>
                </c:pt>
                <c:pt idx="13">
                  <c:v>4.0800000000000003E-2</c:v>
                </c:pt>
                <c:pt idx="14">
                  <c:v>8.6400000000000005E-2</c:v>
                </c:pt>
                <c:pt idx="15">
                  <c:v>0.104</c:v>
                </c:pt>
                <c:pt idx="16">
                  <c:v>6.0900000000000003E-2</c:v>
                </c:pt>
                <c:pt idx="17">
                  <c:v>0.14560000000000001</c:v>
                </c:pt>
                <c:pt idx="18">
                  <c:v>2.9899999999999999E-2</c:v>
                </c:pt>
                <c:pt idx="19">
                  <c:v>8.2100000000000006E-2</c:v>
                </c:pt>
                <c:pt idx="20">
                  <c:v>9.5600000000000004E-2</c:v>
                </c:pt>
              </c:numCache>
            </c:numRef>
          </c:xVal>
          <c:yVal>
            <c:numRef>
              <c:f>Sheet1!$B$2:$B$22</c:f>
              <c:numCache>
                <c:formatCode>General</c:formatCode>
                <c:ptCount val="21"/>
                <c:pt idx="0">
                  <c:v>0.50860000000000005</c:v>
                </c:pt>
                <c:pt idx="1">
                  <c:v>0.52210000000000001</c:v>
                </c:pt>
                <c:pt idx="2">
                  <c:v>0.48270000000000002</c:v>
                </c:pt>
                <c:pt idx="3">
                  <c:v>0.28439999999999999</c:v>
                </c:pt>
                <c:pt idx="4">
                  <c:v>0.25640000000000002</c:v>
                </c:pt>
                <c:pt idx="5">
                  <c:v>0.45100000000000001</c:v>
                </c:pt>
                <c:pt idx="6">
                  <c:v>0.45279999999999998</c:v>
                </c:pt>
                <c:pt idx="7">
                  <c:v>0.44919999999999999</c:v>
                </c:pt>
                <c:pt idx="8">
                  <c:v>0.44750000000000001</c:v>
                </c:pt>
                <c:pt idx="9">
                  <c:v>0.4904</c:v>
                </c:pt>
                <c:pt idx="10">
                  <c:v>0.46210000000000001</c:v>
                </c:pt>
                <c:pt idx="11">
                  <c:v>0.4491</c:v>
                </c:pt>
                <c:pt idx="12">
                  <c:v>0.51149999999999995</c:v>
                </c:pt>
                <c:pt idx="13">
                  <c:v>0.21190000000000001</c:v>
                </c:pt>
                <c:pt idx="14">
                  <c:v>0.45100000000000001</c:v>
                </c:pt>
                <c:pt idx="15">
                  <c:v>0.44829999999999998</c:v>
                </c:pt>
                <c:pt idx="16">
                  <c:v>0.48099999999999998</c:v>
                </c:pt>
                <c:pt idx="17">
                  <c:v>0.45279999999999998</c:v>
                </c:pt>
                <c:pt idx="18">
                  <c:v>0.45710000000000001</c:v>
                </c:pt>
                <c:pt idx="19">
                  <c:v>0.43819999999999998</c:v>
                </c:pt>
                <c:pt idx="20">
                  <c:v>0.45029999999999998</c:v>
                </c:pt>
              </c:numCache>
            </c:numRef>
          </c:yVal>
          <c:bubbleSize>
            <c:numRef>
              <c:f>Sheet1!$C$2:$C$22</c:f>
              <c:numCache>
                <c:formatCode>General</c:formatCode>
                <c:ptCount val="21"/>
                <c:pt idx="0">
                  <c:v>1861.5238095238101</c:v>
                </c:pt>
                <c:pt idx="1">
                  <c:v>1655.420875420876</c:v>
                </c:pt>
                <c:pt idx="2">
                  <c:v>3376.9590643274851</c:v>
                </c:pt>
                <c:pt idx="3">
                  <c:v>3678.7795275590552</c:v>
                </c:pt>
                <c:pt idx="4">
                  <c:v>4430.9394904458604</c:v>
                </c:pt>
                <c:pt idx="5">
                  <c:v>3148.787483702738</c:v>
                </c:pt>
                <c:pt idx="6">
                  <c:v>1560.550847457627</c:v>
                </c:pt>
                <c:pt idx="7">
                  <c:v>3041.15</c:v>
                </c:pt>
                <c:pt idx="8">
                  <c:v>1814.1062801932369</c:v>
                </c:pt>
                <c:pt idx="9">
                  <c:v>1171.481481481482</c:v>
                </c:pt>
                <c:pt idx="10">
                  <c:v>1485.238095238095</c:v>
                </c:pt>
                <c:pt idx="11">
                  <c:v>2277.7777777777778</c:v>
                </c:pt>
                <c:pt idx="12">
                  <c:v>2524.7422680412369</c:v>
                </c:pt>
                <c:pt idx="13">
                  <c:v>41115.460921843689</c:v>
                </c:pt>
                <c:pt idx="14">
                  <c:v>6637.264957264957</c:v>
                </c:pt>
                <c:pt idx="15">
                  <c:v>2362.121212121212</c:v>
                </c:pt>
                <c:pt idx="16">
                  <c:v>1793.0085959885389</c:v>
                </c:pt>
                <c:pt idx="17">
                  <c:v>1330.526315789474</c:v>
                </c:pt>
                <c:pt idx="18">
                  <c:v>1162.651296829971</c:v>
                </c:pt>
                <c:pt idx="19">
                  <c:v>1050</c:v>
                </c:pt>
                <c:pt idx="20">
                  <c:v>1170.6878306878309</c:v>
                </c:pt>
              </c:numCache>
            </c:numRef>
          </c:bubbleSize>
          <c:bubble3D val="0"/>
          <c:extLst>
            <c:ext xmlns:c15="http://schemas.microsoft.com/office/drawing/2012/chart" uri="{02D57815-91ED-43cb-92C2-25804820EDAC}">
              <c15:datalabelsRange>
                <c15:f>Sheet1!$E$2:$E$58</c15:f>
                <c15:dlblRangeCache>
                  <c:ptCount val="57"/>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CHAMPAGNE NICOLAS BLC/BL BS ET 1CT X 750ML</c:v>
                  </c:pt>
                  <c:pt idx="12">
                    <c:v>1/2 CHAMPAGNE NICOLAS 1ERE CUV 1CT X 375ML</c:v>
                  </c:pt>
                  <c:pt idx="13">
                    <c:v>CHAMPAGNE E.NICOLAS BRUT 1CT X 750ML</c:v>
                  </c:pt>
                  <c:pt idx="14">
                    <c:v>CHAMPAGNE NICOLAS BLC/BLC BS 1CT X 750ML</c:v>
                  </c:pt>
                  <c:pt idx="15">
                    <c:v>CHAMPAGNE NICOLAS BLC/BLC 2002 1CT X 750ML</c:v>
                  </c:pt>
                  <c:pt idx="16">
                    <c:v>CHAMPAGNE NICOLAS ROSE 1ERE CU 1CT X 750ML</c:v>
                  </c:pt>
                  <c:pt idx="17">
                    <c:v>MG CHAMPAGNE NICOLAS 1E CRU BS 1CT X 1500ML</c:v>
                  </c:pt>
                  <c:pt idx="18">
                    <c:v>CHAMPAGNE NICOLAS 1ER CRU BS 1CT X 750ML</c:v>
                  </c:pt>
                  <c:pt idx="19">
                    <c:v>CHAMPAGNE NICOLAS 1ERE CUV ETU 1CT X 750ML</c:v>
                  </c:pt>
                  <c:pt idx="20">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A65D6BAF-71C7-40DD-89ED-F212C41C44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DBCF6A44-97AD-433D-9EB2-5E4AA4DC25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8AB35A0-A7F2-4388-92E5-38AE81E531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C526656-21DF-425F-B64D-AB05B0FC9D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CEE7EDC-8C64-4DD9-9642-B7075526D4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121B4746-C090-45A2-8EB1-57D24DF32F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BF669C5D-D7E1-421D-AFAE-41E9A904C1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36D358A-9796-429C-9FC5-4595F01E4E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64558855-4136-40B5-A6FB-61BDAF1AB0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121EB773-8AC6-4ECE-9F45-D79584671B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6A0FCCF6-00AA-4E9C-9DC3-079FB194AF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5698F6F-DFFE-4FDF-9DD6-B8F92059BF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2966A86B-B435-4575-B1BB-530B4681F1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B45AAC18-EFEB-4CB4-92A5-8991B30793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2279B726-FC85-4A75-B1B7-C17B22C60A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FC118E91-9A07-4229-931F-5956D92939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B8ABDC6D-C259-4123-82DD-6014B0644F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53765AE7-1290-4189-8FC6-7B0619D318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48C60EAF-8451-4CA7-A0FB-7EFCB97010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C1526038-D66A-43FD-AC7C-CD1254A1BC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14739336-1013-4B01-B43B-3DA631DE5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60077796-AA95-4681-801E-EF1E0CE167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1B778074-EECE-4065-8DB4-FCAE2B3F83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F4A7DBFD-4092-4AC3-8D9F-B64E14C946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3AF76335-A3B2-4F6E-86CC-81B440BBBB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5A8FB152-D02B-40F5-99B4-28671572E8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7661E738-1260-4E2B-B493-AA164DDC3F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89549DB4-E31E-4CC0-A5EA-B0244EEF91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B9056551-0AA2-41CA-B798-7E962B22B5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E9649AC8-BC81-43AD-8A8C-483549C72D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4D34ADB7-317D-4128-8283-04885B6C50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56859279-A5CC-4645-B9B9-28F2233BA4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47186EEF-547C-4EC8-9F4E-C0493C2A4E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40BA3F34-1A5B-4C00-88A0-C779FFD8FA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ED6B889F-4B5E-4DDB-8083-A4709FBF46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B4217CAA-BBAF-48DF-93D4-5066DFAC55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620A1C83-0AF6-484B-AD06-8FC8F5F433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FDE8B2E1-2CD4-43B8-B9C1-05D93D7214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A42CAA5C-80C9-4C16-A659-40A4DDA0E5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140C34AE-9E3E-4AA3-9FB7-7A60B27F36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74E7787D-5509-48AB-AA38-7423CD3D25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520B0D6F-DF4C-4BC8-B1DB-F0CE9D4B56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4CF54420-8576-4B37-B136-34C0A455AE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8AD4CEE3-C85C-4BF5-A06F-1FA8F4EDCB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260EAACA-3C9F-4EB8-AA24-2C1D49171A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38C55552-B7D4-4756-A6A2-DC3FD86BAA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2A71B8D1-1612-4F2C-9FC0-1FFC0A7E37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1D526AD9-5879-4223-8B37-F72BE268D8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67F9F3F0-6168-49FF-8184-D56B492F20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02B9D420-ED81-4093-9000-F6CAD6BE63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5E7EF50F-2611-4780-A7AA-5745AAB81A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D74ED2D4-4845-460C-927D-689BDF78A9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F4091273-4E7D-421B-972B-A304209D7B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1150C8A1-8599-4579-AAB1-0F2F4243CA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E5D6E1E7-127D-4458-BB9D-154997F9C6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9D66374F-07CF-46AE-AF7F-A417C463C1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B3FD26FF-5D59-4CC2-8D45-D183D902B1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2</c:f>
              <c:numCache>
                <c:formatCode>General</c:formatCode>
                <c:ptCount val="21"/>
                <c:pt idx="0">
                  <c:v>8.72E-2</c:v>
                </c:pt>
                <c:pt idx="1">
                  <c:v>7.8E-2</c:v>
                </c:pt>
                <c:pt idx="2">
                  <c:v>9.4200000000000006E-2</c:v>
                </c:pt>
                <c:pt idx="3">
                  <c:v>-2.9999999999999997E-4</c:v>
                </c:pt>
                <c:pt idx="4">
                  <c:v>-7.0000000000000001E-3</c:v>
                </c:pt>
                <c:pt idx="5">
                  <c:v>-5.4399999999999997E-2</c:v>
                </c:pt>
                <c:pt idx="6">
                  <c:v>0.1119</c:v>
                </c:pt>
                <c:pt idx="7">
                  <c:v>1.0500000000000001E-2</c:v>
                </c:pt>
                <c:pt idx="8">
                  <c:v>3.8100000000000002E-2</c:v>
                </c:pt>
                <c:pt idx="9">
                  <c:v>0.1542</c:v>
                </c:pt>
                <c:pt idx="10">
                  <c:v>0.1389</c:v>
                </c:pt>
                <c:pt idx="11">
                  <c:v>0.157</c:v>
                </c:pt>
                <c:pt idx="12">
                  <c:v>3.1800000000000002E-2</c:v>
                </c:pt>
                <c:pt idx="13">
                  <c:v>3.7499999999999999E-2</c:v>
                </c:pt>
                <c:pt idx="14">
                  <c:v>8.2900000000000001E-2</c:v>
                </c:pt>
                <c:pt idx="15">
                  <c:v>7.9899999999999999E-2</c:v>
                </c:pt>
                <c:pt idx="16">
                  <c:v>4.1599999999999998E-2</c:v>
                </c:pt>
                <c:pt idx="17">
                  <c:v>0.1699</c:v>
                </c:pt>
                <c:pt idx="18">
                  <c:v>-1.7100000000000001E-2</c:v>
                </c:pt>
                <c:pt idx="19">
                  <c:v>5.0200000000000002E-2</c:v>
                </c:pt>
                <c:pt idx="20">
                  <c:v>9.9400000000000002E-2</c:v>
                </c:pt>
              </c:numCache>
            </c:numRef>
          </c:xVal>
          <c:yVal>
            <c:numRef>
              <c:f>Sheet1!$B$2:$B$22</c:f>
              <c:numCache>
                <c:formatCode>General</c:formatCode>
                <c:ptCount val="21"/>
                <c:pt idx="0">
                  <c:v>0.50860000000000005</c:v>
                </c:pt>
                <c:pt idx="1">
                  <c:v>0.52270000000000005</c:v>
                </c:pt>
                <c:pt idx="2">
                  <c:v>0.48220000000000002</c:v>
                </c:pt>
                <c:pt idx="3">
                  <c:v>0.28420000000000001</c:v>
                </c:pt>
                <c:pt idx="4">
                  <c:v>0.25650000000000001</c:v>
                </c:pt>
                <c:pt idx="5">
                  <c:v>0.45069999999999999</c:v>
                </c:pt>
                <c:pt idx="6">
                  <c:v>0.45279999999999998</c:v>
                </c:pt>
                <c:pt idx="7">
                  <c:v>0.44919999999999999</c:v>
                </c:pt>
                <c:pt idx="8">
                  <c:v>0.45029999999999998</c:v>
                </c:pt>
                <c:pt idx="9">
                  <c:v>0.48680000000000001</c:v>
                </c:pt>
                <c:pt idx="10">
                  <c:v>0.45979999999999999</c:v>
                </c:pt>
                <c:pt idx="11">
                  <c:v>0.4491</c:v>
                </c:pt>
                <c:pt idx="12">
                  <c:v>0.51039999999999996</c:v>
                </c:pt>
                <c:pt idx="13">
                  <c:v>0.21199999999999999</c:v>
                </c:pt>
                <c:pt idx="14">
                  <c:v>0.4511</c:v>
                </c:pt>
                <c:pt idx="15">
                  <c:v>0.45760000000000001</c:v>
                </c:pt>
                <c:pt idx="16">
                  <c:v>0.47760000000000002</c:v>
                </c:pt>
                <c:pt idx="17">
                  <c:v>0.45279999999999998</c:v>
                </c:pt>
                <c:pt idx="18">
                  <c:v>0.4582</c:v>
                </c:pt>
                <c:pt idx="19">
                  <c:v>0.43819999999999998</c:v>
                </c:pt>
                <c:pt idx="20">
                  <c:v>0.44950000000000001</c:v>
                </c:pt>
              </c:numCache>
            </c:numRef>
          </c:yVal>
          <c:bubbleSize>
            <c:numRef>
              <c:f>Sheet1!$C$2:$C$22</c:f>
              <c:numCache>
                <c:formatCode>General</c:formatCode>
                <c:ptCount val="21"/>
                <c:pt idx="0">
                  <c:v>423.53571428571422</c:v>
                </c:pt>
                <c:pt idx="1">
                  <c:v>408.96</c:v>
                </c:pt>
                <c:pt idx="2">
                  <c:v>793.125</c:v>
                </c:pt>
                <c:pt idx="3">
                  <c:v>784.08333333333337</c:v>
                </c:pt>
                <c:pt idx="4">
                  <c:v>1087.5081967213109</c:v>
                </c:pt>
                <c:pt idx="5">
                  <c:v>775.16216216216219</c:v>
                </c:pt>
                <c:pt idx="6">
                  <c:v>840.27272727272725</c:v>
                </c:pt>
                <c:pt idx="7">
                  <c:v>759.57142857142844</c:v>
                </c:pt>
                <c:pt idx="8">
                  <c:v>541.31578947368416</c:v>
                </c:pt>
                <c:pt idx="9">
                  <c:v>344.125</c:v>
                </c:pt>
                <c:pt idx="10">
                  <c:v>421.66666666666669</c:v>
                </c:pt>
                <c:pt idx="11">
                  <c:v>409</c:v>
                </c:pt>
                <c:pt idx="12">
                  <c:v>680.5</c:v>
                </c:pt>
                <c:pt idx="13">
                  <c:v>8910.3333333333339</c:v>
                </c:pt>
                <c:pt idx="14">
                  <c:v>1670.5438596491231</c:v>
                </c:pt>
                <c:pt idx="15">
                  <c:v>627.125</c:v>
                </c:pt>
                <c:pt idx="16">
                  <c:v>450.67857142857139</c:v>
                </c:pt>
                <c:pt idx="17">
                  <c:v>210.33333333333329</c:v>
                </c:pt>
                <c:pt idx="18">
                  <c:v>264.47826086956519</c:v>
                </c:pt>
                <c:pt idx="19">
                  <c:v>339.72727272727269</c:v>
                </c:pt>
                <c:pt idx="20">
                  <c:v>339.18181818181819</c:v>
                </c:pt>
              </c:numCache>
            </c:numRef>
          </c:bubbleSize>
          <c:bubble3D val="0"/>
          <c:extLst>
            <c:ext xmlns:c15="http://schemas.microsoft.com/office/drawing/2012/chart" uri="{02D57815-91ED-43cb-92C2-25804820EDAC}">
              <c15:datalabelsRange>
                <c15:f>Sheet1!$E$2:$E$58</c15:f>
                <c15:dlblRangeCache>
                  <c:ptCount val="57"/>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CHAMPAGNE NICOLAS BLC/BL BS ET 1CT X 750ML</c:v>
                  </c:pt>
                  <c:pt idx="12">
                    <c:v>1/2 CHAMPAGNE NICOLAS 1ERE CUV 1CT X 375ML</c:v>
                  </c:pt>
                  <c:pt idx="13">
                    <c:v>CHAMPAGNE E.NICOLAS BRUT 1CT X 750ML</c:v>
                  </c:pt>
                  <c:pt idx="14">
                    <c:v>CHAMPAGNE NICOLAS BLC/BLC BS 1CT X 750ML</c:v>
                  </c:pt>
                  <c:pt idx="15">
                    <c:v>CHAMPAGNE NICOLAS BLC/BLC 2002 1CT X 750ML</c:v>
                  </c:pt>
                  <c:pt idx="16">
                    <c:v>CHAMPAGNE NICOLAS ROSE 1ERE CU 1CT X 750ML</c:v>
                  </c:pt>
                  <c:pt idx="17">
                    <c:v>MG CHAMPAGNE NICOLAS 1E CRU BS 1CT X 1500ML</c:v>
                  </c:pt>
                  <c:pt idx="18">
                    <c:v>CHAMPAGNE NICOLAS 1ER CRU BS 1CT X 750ML</c:v>
                  </c:pt>
                  <c:pt idx="19">
                    <c:v>CHAMPAGNE NICOLAS 1ERE CUV ETU 1CT X 750ML</c:v>
                  </c:pt>
                  <c:pt idx="20">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C0F96B95-6129-42C3-82C5-9DBB97F7EF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7479612F-F905-4B47-B9B6-CE2EF091BB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BA329FF-45E5-4C96-8867-8A1D4E3D68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0BFA4CC-09BC-432C-AB62-93905DB127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B01C2345-1920-4046-806C-8E2CA3C720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1002DFA0-A8A7-40D6-B709-081C7E6CB3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16EF22AF-D67A-469C-ADDA-A336A91539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F35F47B-CF2D-4276-8A65-EFF12C6298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87A4D838-F8DD-44CB-85ED-C5AAF248FB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7B563232-06B7-474E-A14C-709D578F88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695C9398-2BDB-40CA-9783-59F3D8D06D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A8400B0-F734-4B92-938A-33A411A4E1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A4624F8C-5C35-4A1A-8E39-AE589BBDFF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D9ACA4E3-04CE-4199-84C1-7C82059664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807E860B-9081-4AD1-9B09-A76B0B193F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31E231AC-EA09-4188-A554-5201944017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45D403BD-3A9C-453E-A818-5FDD362BC0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7EE3ED26-6A85-4131-BBE0-6C7BF25E4E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50D68986-BA8C-40B1-95F3-1F9BEF82A2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43519ECD-AC1B-4A71-9145-5AD8AF0F41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32CA9C23-0462-4046-B47F-716425C68F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3ECCB760-B93B-4BF4-9281-5DA434AF90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210E7F09-F33B-4DC4-AEA3-AAEC1E3A5E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8B612988-BE51-43B8-964F-F80E7B884E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F3035E91-0C45-4D43-9F81-782F07E737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5C7267FA-384A-42C4-87F8-B1B5BE4F9E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D95A82AC-A2DD-4B89-AD7C-0469580986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13FA33C8-A3DC-4EC6-9CD9-EA725F51CD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AE875E42-C4EA-4F64-99B9-12855AA68E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8209C2F3-4ACC-47C5-BD00-A3BB2EFD6C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387D2A6E-165B-48DC-B678-8E81E40DE2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C3885331-9E82-4C9A-9F9A-1DC8D2C43A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4DA92B3A-E0FB-42FF-97F2-9B12B602AC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6E01D7EC-6205-4B03-8A48-589C864E46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AD10296C-1F99-4C96-ABCC-1BFD85F498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5398E5FC-19D3-4346-BD18-DAAB9508B9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3B424F0A-B66C-4B27-BFF1-5F486BAC54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B6959B5B-19F2-423D-B719-8DF8FF1F42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A6D91B01-B5F1-4DCC-BCFB-485549CCA5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2CA089E7-21FE-4FAC-A3CE-4C95D7AE1B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D98526FD-E93E-4C08-A6E5-2EE6B1E00D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9A36000D-1F5A-4AA7-A84B-B8850FB298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A37255AB-D96F-4321-A8FA-3D78099AF4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2DEF5D25-74A7-45B8-AAC8-D5ADB20F01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EE86B0C9-1660-469D-833F-DD32137ABC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1810FF3D-DB6D-4692-877D-20971C1D44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D9BA54C7-2ADC-4B00-BBA7-FBA1780E95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148F6846-40EE-4F98-955B-56DF17DD86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4BDE7B7D-CA9A-4324-8285-87764D4493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D06AB9AD-2B2C-48B3-842D-9437D161EB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2CC44A02-23C3-41A0-A619-5BE4F0E556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DF8CC3AA-8A3F-4A0B-955C-BA0CC15BDC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9684E818-470E-4482-86D4-7FDEFDAF94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BBC81100-6CDD-4B96-B183-2B5155C4BE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718D2344-B7DC-4288-89D7-DD1022E60C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BB0D6050-D570-4293-BDC1-02C42720A7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E16F4BA5-3874-4729-8584-9344DD3818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1052</c:v>
                </c:pt>
                <c:pt idx="1">
                  <c:v>0.13800000000000001</c:v>
                </c:pt>
                <c:pt idx="2">
                  <c:v>0.126</c:v>
                </c:pt>
                <c:pt idx="3">
                  <c:v>4.2700000000000002E-2</c:v>
                </c:pt>
                <c:pt idx="4">
                  <c:v>9.1999999999999998E-3</c:v>
                </c:pt>
                <c:pt idx="5">
                  <c:v>4.4000000000000003E-3</c:v>
                </c:pt>
                <c:pt idx="6">
                  <c:v>5.8299999999999998E-2</c:v>
                </c:pt>
                <c:pt idx="7">
                  <c:v>8.1100000000000005E-2</c:v>
                </c:pt>
                <c:pt idx="8">
                  <c:v>0.04</c:v>
                </c:pt>
                <c:pt idx="9">
                  <c:v>9.3799999999999994E-2</c:v>
                </c:pt>
                <c:pt idx="10">
                  <c:v>5.3999999999999999E-2</c:v>
                </c:pt>
              </c:numCache>
            </c:numRef>
          </c:xVal>
          <c:yVal>
            <c:numRef>
              <c:f>Sheet1!$B$2:$B$12</c:f>
              <c:numCache>
                <c:formatCode>General</c:formatCode>
                <c:ptCount val="11"/>
                <c:pt idx="0">
                  <c:v>0.50860000000000005</c:v>
                </c:pt>
                <c:pt idx="1">
                  <c:v>0.52339999999999998</c:v>
                </c:pt>
                <c:pt idx="2">
                  <c:v>0.48280000000000001</c:v>
                </c:pt>
                <c:pt idx="3">
                  <c:v>0.2848</c:v>
                </c:pt>
                <c:pt idx="4">
                  <c:v>0.2576</c:v>
                </c:pt>
                <c:pt idx="5">
                  <c:v>0.45090000000000002</c:v>
                </c:pt>
                <c:pt idx="6">
                  <c:v>0.45350000000000001</c:v>
                </c:pt>
                <c:pt idx="7">
                  <c:v>0.50380000000000003</c:v>
                </c:pt>
                <c:pt idx="8">
                  <c:v>0.21249999999999999</c:v>
                </c:pt>
                <c:pt idx="9">
                  <c:v>0.4516</c:v>
                </c:pt>
                <c:pt idx="10">
                  <c:v>0.47899999999999998</c:v>
                </c:pt>
              </c:numCache>
            </c:numRef>
          </c:yVal>
          <c:bubbleSize>
            <c:numRef>
              <c:f>Sheet1!$C$2:$C$12</c:f>
              <c:numCache>
                <c:formatCode>General</c:formatCode>
                <c:ptCount val="11"/>
                <c:pt idx="0">
                  <c:v>50.150943396226417</c:v>
                </c:pt>
                <c:pt idx="1">
                  <c:v>48.139534883720927</c:v>
                </c:pt>
                <c:pt idx="2">
                  <c:v>103.61764705882349</c:v>
                </c:pt>
                <c:pt idx="3">
                  <c:v>117.4</c:v>
                </c:pt>
                <c:pt idx="4">
                  <c:v>163.08536585365849</c:v>
                </c:pt>
                <c:pt idx="5">
                  <c:v>134.71052631578951</c:v>
                </c:pt>
                <c:pt idx="6">
                  <c:v>78.130434782608702</c:v>
                </c:pt>
                <c:pt idx="7">
                  <c:v>38.918032786885249</c:v>
                </c:pt>
                <c:pt idx="8">
                  <c:v>1744.57</c:v>
                </c:pt>
                <c:pt idx="9">
                  <c:v>276.32307692307688</c:v>
                </c:pt>
                <c:pt idx="10">
                  <c:v>61.307692307692307</c:v>
                </c:pt>
              </c:numCache>
            </c:numRef>
          </c:bubbleSize>
          <c:bubble3D val="0"/>
          <c:extLst>
            <c:ext xmlns:c15="http://schemas.microsoft.com/office/drawing/2012/chart" uri="{02D57815-91ED-43cb-92C2-25804820EDAC}">
              <c15:datalabelsRange>
                <c15:f>Sheet1!$E$2:$E$58</c15:f>
                <c15:dlblRangeCache>
                  <c:ptCount val="57"/>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CHAMPAGNE NICOLAS BLC DE NOIRS 1CT X 750ML</c:v>
                  </c:pt>
                  <c:pt idx="7">
                    <c:v>1/2 CHAMPAGNE NICOLAS 1ERE CUV 1CT X 375ML</c:v>
                  </c:pt>
                  <c:pt idx="8">
                    <c:v>CHAMPAGNE E.NICOLAS BRUT 1CT X 750ML</c:v>
                  </c:pt>
                  <c:pt idx="9">
                    <c:v>CHAMPAGNE NICOLAS BLC/BLC BS 1CT X 750ML</c:v>
                  </c:pt>
                  <c:pt idx="10">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CB360903-0910-4A3A-9B33-DDACF8857C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0C4AD480-6E7F-4F06-9955-64A281F1AA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61C3500-48A6-4EE3-9A7B-89C545ED4F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3A49F11-1408-4960-9CCA-7D92C9F929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3168D648-998C-4356-935E-939C20594F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D61BEFA1-A4E1-4B8B-A9F4-21B0A3383F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C6566440-F5B1-4BF1-8E05-00D4758EF9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33D9BBC-B096-42BF-8016-42A6F7568C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77BC0A93-AC95-4188-9008-37F360B8C9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D7F29456-6EB7-4088-9463-1735F12260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82E27881-3998-4754-981E-E7DC000E34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3619E5C-7709-44D3-90EB-663049A803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B4BC5757-5EB7-46D1-BB91-BA1B403D7E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2A389724-A06D-4586-B386-4C5A49124F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E6B9651D-2ABF-4968-B228-54178C19F3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64EA3002-4FB0-44A1-ABC8-A50301A978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43654084-B69A-47DE-8225-29C3D4B59F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883F02A0-F185-41FB-B8C8-5FCDC049EF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159EC7DA-7352-422E-A30E-21ABE6AACD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2C7E2EC2-ADF1-42B0-A0D4-0D055B0BF1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D1A37965-5F75-4B95-A7B7-4EAC835F2E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54587600-5943-4546-8B9D-09446D1874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417DF7BE-855B-4C15-A2CA-67A6F53748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C4DEB79B-A486-4E39-9968-43B6F3B9EC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C1950249-37D6-42B4-A331-ACE8988C64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689FAF03-3275-409E-9BD3-D6B90F7D08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EB976ACE-F35F-4496-B1C5-25F624E3C5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ED3BCDA8-8F97-4954-9F2B-E95C3A318D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514253AA-A789-4BA2-8679-6138212A68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14E2FA34-1851-4C62-BDA6-375C36A349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0D268A18-696A-434F-BAD6-B07AA8C5FC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1E8DE8FB-8120-4145-8B55-B5EBFBA612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98747477-90C9-417E-B8BE-09261D940A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1F6E4545-1D25-4AC4-88DF-7FCC6E55B6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DAE09E5E-278F-40A8-82C6-13E2FA9B21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68349E75-FD87-4D89-9596-0CF390A0F7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570ED3DF-BAEB-4F10-87D5-19F61C5110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8CD9CD77-CE9E-4D16-BF4E-3814D175DA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A8FE2153-E7C5-48FD-BD09-8ACB3F48E3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CECA1384-3331-4B34-82F8-A245062ACB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AF64F65F-1E8E-4E1C-B554-3FEC9A4E19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7DD72B92-DF8A-4B28-B320-76A89E98B3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D88942C6-E2BC-45BD-B4BA-33B155A08A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89800930-0FF7-490A-9D8C-E9BE64368D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6B1EF7EA-7AE4-4D7B-B25D-337B36217A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A27E35CE-C812-4DDB-A24E-6F54E36EBA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D3562896-D690-45D2-ACB6-37ACF97B2C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ADA84DB2-5B6D-483D-BDE2-65156100F1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9F8622FD-D897-43A0-804C-21C1B38655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BABCBBF2-F416-4674-85CE-41863B77BC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C3740522-5DB0-4765-9E84-279D208540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68E1A7BB-5AD2-4548-96E7-FF5DE443D6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CD493A38-B9AE-4C7A-AA37-55175CE792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6B24DCEA-C685-4F86-A9AE-2BF5C60609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E55862F8-3A02-405A-AFBA-2B1286D53C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9DE34F41-214E-447E-998B-AEDDFD4289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DB8DCD37-B571-4D53-9D59-C61F12E956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6</c:f>
              <c:numCache>
                <c:formatCode>General</c:formatCode>
                <c:ptCount val="15"/>
                <c:pt idx="0">
                  <c:v>0.1079</c:v>
                </c:pt>
                <c:pt idx="1">
                  <c:v>0.1056</c:v>
                </c:pt>
                <c:pt idx="2">
                  <c:v>0.15040000000000001</c:v>
                </c:pt>
                <c:pt idx="3">
                  <c:v>4.1099999999999998E-2</c:v>
                </c:pt>
                <c:pt idx="4">
                  <c:v>5.4999999999999997E-3</c:v>
                </c:pt>
                <c:pt idx="5">
                  <c:v>2.5700000000000001E-2</c:v>
                </c:pt>
                <c:pt idx="6">
                  <c:v>3.73E-2</c:v>
                </c:pt>
                <c:pt idx="7">
                  <c:v>4.24E-2</c:v>
                </c:pt>
                <c:pt idx="8">
                  <c:v>3.5900000000000001E-2</c:v>
                </c:pt>
                <c:pt idx="9">
                  <c:v>4.3099999999999999E-2</c:v>
                </c:pt>
                <c:pt idx="10">
                  <c:v>9.01E-2</c:v>
                </c:pt>
                <c:pt idx="11">
                  <c:v>9.0200000000000002E-2</c:v>
                </c:pt>
                <c:pt idx="12">
                  <c:v>8.43E-2</c:v>
                </c:pt>
                <c:pt idx="13">
                  <c:v>7.1400000000000005E-2</c:v>
                </c:pt>
                <c:pt idx="14">
                  <c:v>9.01E-2</c:v>
                </c:pt>
              </c:numCache>
            </c:numRef>
          </c:xVal>
          <c:yVal>
            <c:numRef>
              <c:f>Sheet1!$B$2:$B$16</c:f>
              <c:numCache>
                <c:formatCode>General</c:formatCode>
                <c:ptCount val="15"/>
                <c:pt idx="0">
                  <c:v>0.50860000000000005</c:v>
                </c:pt>
                <c:pt idx="1">
                  <c:v>0.52029999999999998</c:v>
                </c:pt>
                <c:pt idx="2">
                  <c:v>0.48230000000000001</c:v>
                </c:pt>
                <c:pt idx="3">
                  <c:v>0.28339999999999999</c:v>
                </c:pt>
                <c:pt idx="4">
                  <c:v>0.25619999999999998</c:v>
                </c:pt>
                <c:pt idx="5">
                  <c:v>0.45079999999999998</c:v>
                </c:pt>
                <c:pt idx="6">
                  <c:v>0.44919999999999999</c:v>
                </c:pt>
                <c:pt idx="7">
                  <c:v>0.44929999999999998</c:v>
                </c:pt>
                <c:pt idx="8">
                  <c:v>0.51529999999999998</c:v>
                </c:pt>
                <c:pt idx="9">
                  <c:v>0.21149999999999999</c:v>
                </c:pt>
                <c:pt idx="10">
                  <c:v>0.45019999999999999</c:v>
                </c:pt>
                <c:pt idx="11">
                  <c:v>0.47220000000000001</c:v>
                </c:pt>
                <c:pt idx="12">
                  <c:v>0.4819</c:v>
                </c:pt>
                <c:pt idx="13">
                  <c:v>0.45910000000000001</c:v>
                </c:pt>
                <c:pt idx="14">
                  <c:v>0.4516</c:v>
                </c:pt>
              </c:numCache>
            </c:numRef>
          </c:yVal>
          <c:bubbleSize>
            <c:numRef>
              <c:f>Sheet1!$C$2:$C$16</c:f>
              <c:numCache>
                <c:formatCode>General</c:formatCode>
                <c:ptCount val="15"/>
                <c:pt idx="0">
                  <c:v>132.2051282051282</c:v>
                </c:pt>
                <c:pt idx="1">
                  <c:v>67.909090909090907</c:v>
                </c:pt>
                <c:pt idx="2">
                  <c:v>150.4736842105263</c:v>
                </c:pt>
                <c:pt idx="3">
                  <c:v>194</c:v>
                </c:pt>
                <c:pt idx="4">
                  <c:v>283.578125</c:v>
                </c:pt>
                <c:pt idx="5">
                  <c:v>169.55</c:v>
                </c:pt>
                <c:pt idx="6">
                  <c:v>280.66666666666669</c:v>
                </c:pt>
                <c:pt idx="7">
                  <c:v>133.56521739130429</c:v>
                </c:pt>
                <c:pt idx="8">
                  <c:v>136.18604651162789</c:v>
                </c:pt>
                <c:pt idx="9">
                  <c:v>2484.3200000000002</c:v>
                </c:pt>
                <c:pt idx="10">
                  <c:v>394.05084745762713</c:v>
                </c:pt>
                <c:pt idx="11">
                  <c:v>51.499999999999993</c:v>
                </c:pt>
                <c:pt idx="12">
                  <c:v>100.0263157894737</c:v>
                </c:pt>
                <c:pt idx="13">
                  <c:v>95.55</c:v>
                </c:pt>
                <c:pt idx="14">
                  <c:v>61.825000000000003</c:v>
                </c:pt>
              </c:numCache>
            </c:numRef>
          </c:bubbleSize>
          <c:bubble3D val="0"/>
          <c:extLst>
            <c:ext xmlns:c15="http://schemas.microsoft.com/office/drawing/2012/chart" uri="{02D57815-91ED-43cb-92C2-25804820EDAC}">
              <c15:datalabelsRange>
                <c15:f>Sheet1!$E$2:$E$58</c15:f>
                <c15:dlblRangeCache>
                  <c:ptCount val="57"/>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CHAMPAGNE NICOLAS BIO NAT 2017 1CT X 750ML</c:v>
                  </c:pt>
                  <c:pt idx="7">
                    <c:v>CHAMPAGNE NICOLAS BLC DE NOIRS 1CT X 750ML</c:v>
                  </c:pt>
                  <c:pt idx="8">
                    <c:v>1/2 CHAMPAGNE NICOLAS 1ERE CUV 1CT X 375ML</c:v>
                  </c:pt>
                  <c:pt idx="9">
                    <c:v>CHAMPAGNE E.NICOLAS BRUT 1CT X 750ML</c:v>
                  </c:pt>
                  <c:pt idx="10">
                    <c:v>CHAMPAGNE NICOLAS BLC/BLC BS 1CT X 750ML</c:v>
                  </c:pt>
                  <c:pt idx="11">
                    <c:v>CHAMPAGNE NICOLAS BLC/BLC 2002 1CT X 750ML</c:v>
                  </c:pt>
                  <c:pt idx="12">
                    <c:v>CHAMPAGNE NICOLAS ROSE 1ERE CU 1CT X 750ML</c:v>
                  </c:pt>
                  <c:pt idx="13">
                    <c:v>CHAMPAGNE NICOLAS 1ER CRU BS 1CT X 750ML</c:v>
                  </c:pt>
                  <c:pt idx="14">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6A68CC0C-586D-4AC7-9251-5272EC6693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B037C986-CA7B-4175-8CC8-13C1E2E422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006B476-F2C4-45FF-A481-DFD9EE3788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67D3EDA-71CE-4283-B4D0-824FF13740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A3BA2783-6EF5-4675-B47A-9EE4D9903C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AA455CB9-FB0D-490A-8ABC-8F0A129992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D5CC94E5-BB0E-41A9-B257-F6BE3D92A9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5A5A041-54F9-4407-8EE7-F931488C98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1CBF2174-2429-4802-BCFD-3F7DD68266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75FA8A62-D930-48B9-BF88-8769BAEF96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5AC554E5-E9E6-4BFB-92C0-2EF1A7F429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C9F9CD4-11D2-4B01-AA51-923C9253C6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289385EC-2DA3-41B3-91AD-F46EF89767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3D07C592-1D2C-4CCB-9329-0AC9E3EC48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A33A850E-13D5-4AF8-BAD0-D162B3738E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A6DA5E97-B63A-4F3B-8E2F-F41D5C0058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01382045-2F88-4EE8-A66D-8723C18E7D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EBA4822A-181B-4334-BA87-0B8FDDB111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7D6DBE13-3852-47A0-A0FD-F4E635DB2A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8BED877E-47F5-41F3-BA00-F78FB2BB23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EFA7EC7A-9F6A-43B5-B6EF-E0384DDE9C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CD1B005A-7FFB-47E3-97E3-AEA8B4E1DE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2DE7DC7E-99A9-43C1-894A-EBE765177B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7AB644E2-4BD8-43AD-9576-3E5533DCA7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47C57A78-E39F-47F3-8A00-88A6CD0EDB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E3D813A6-3A63-4D5F-AD46-FD0928F0F3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0FD8670D-445B-465B-A209-15BA08737D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D1FD3CB1-9B7C-45CD-913B-08076D3A7B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2E0E11A6-4490-48AA-A8F3-6B989C7E2B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876AF5F6-DE06-4816-8FE4-67016F4EDE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9DC65488-1181-4BEA-B665-709D2EA1AE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63B067C1-EAAC-428E-BEDC-B40F2BEA31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DDCEABF0-9C7E-43A8-AA98-B8DA9A5DE3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A18820D4-1186-4381-80BB-50E25F2B30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4E0B0FD4-AE37-40AE-BCEE-115D5509E5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0CF4CB1D-E5E8-4207-B8AB-174ED468E4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BF802E0F-604F-499C-901B-B5724ED868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ED7814F2-C7D1-4920-9A87-E4BF072CCD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85C5FC63-BD9D-406C-AE87-7C73951D7C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438AD6C9-1EB2-4EEE-A5CA-548DB196CE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A6989444-71F6-4B81-B2D9-664BCCE9A5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7C8FB833-97B1-4554-B87D-F6C4A31A5C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8591018D-D811-402A-9193-B24AF52C24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94C0EEC9-48CD-467C-BAD4-B71C444AEB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3B634785-A7B4-45E9-864C-5D35F3C6DD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AF92F523-B8B8-4031-9449-D6C48AFACF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CA770EEA-5E72-4217-8345-0F424A2AEB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AFAE12AA-8647-423C-ACCB-E5641C273C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979E6582-279C-4F85-8DE3-B5BB5B7C74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BC294B7F-D779-47F0-9BC1-CE081107DD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F7B219B4-3347-43BF-BCE9-F2F01BD023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82F78093-870A-4ADF-B049-F5B217C637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1B2EA001-FDFE-4914-B060-A90ED19C69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A34A7103-DF77-41BC-99C0-64862C0E00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262918CB-048F-477D-A97E-125105F199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A4CA9B16-FE64-4CE3-9023-CFF3BCD8FD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F8F5F6AA-AE8C-4585-B191-06DCB257FC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7</c:f>
              <c:numCache>
                <c:formatCode>General</c:formatCode>
                <c:ptCount val="16"/>
                <c:pt idx="0">
                  <c:v>9.06E-2</c:v>
                </c:pt>
                <c:pt idx="1">
                  <c:v>8.43E-2</c:v>
                </c:pt>
                <c:pt idx="2">
                  <c:v>0.1232</c:v>
                </c:pt>
                <c:pt idx="3">
                  <c:v>2.2599999999999999E-2</c:v>
                </c:pt>
                <c:pt idx="4">
                  <c:v>3.8E-3</c:v>
                </c:pt>
                <c:pt idx="5">
                  <c:v>7.7000000000000002E-3</c:v>
                </c:pt>
                <c:pt idx="6">
                  <c:v>0.13250000000000001</c:v>
                </c:pt>
                <c:pt idx="7">
                  <c:v>1.6500000000000001E-2</c:v>
                </c:pt>
                <c:pt idx="8">
                  <c:v>5.1900000000000002E-2</c:v>
                </c:pt>
                <c:pt idx="9">
                  <c:v>3.2500000000000001E-2</c:v>
                </c:pt>
                <c:pt idx="10">
                  <c:v>4.2900000000000001E-2</c:v>
                </c:pt>
                <c:pt idx="11">
                  <c:v>8.4000000000000005E-2</c:v>
                </c:pt>
                <c:pt idx="12">
                  <c:v>0.11799999999999999</c:v>
                </c:pt>
                <c:pt idx="13">
                  <c:v>9.06E-2</c:v>
                </c:pt>
                <c:pt idx="14">
                  <c:v>9.8000000000000004E-2</c:v>
                </c:pt>
                <c:pt idx="15">
                  <c:v>0.1158</c:v>
                </c:pt>
              </c:numCache>
            </c:numRef>
          </c:xVal>
          <c:yVal>
            <c:numRef>
              <c:f>Sheet1!$B$2:$B$17</c:f>
              <c:numCache>
                <c:formatCode>General</c:formatCode>
                <c:ptCount val="16"/>
                <c:pt idx="0">
                  <c:v>0.50860000000000005</c:v>
                </c:pt>
                <c:pt idx="1">
                  <c:v>0.5222</c:v>
                </c:pt>
                <c:pt idx="2">
                  <c:v>0.48139999999999999</c:v>
                </c:pt>
                <c:pt idx="3">
                  <c:v>0.28410000000000002</c:v>
                </c:pt>
                <c:pt idx="4">
                  <c:v>0.25700000000000001</c:v>
                </c:pt>
                <c:pt idx="5">
                  <c:v>0.45229999999999998</c:v>
                </c:pt>
                <c:pt idx="6">
                  <c:v>0.45279999999999998</c:v>
                </c:pt>
                <c:pt idx="7">
                  <c:v>0.44919999999999999</c:v>
                </c:pt>
                <c:pt idx="8">
                  <c:v>0.44409999999999999</c:v>
                </c:pt>
                <c:pt idx="9">
                  <c:v>0.5161</c:v>
                </c:pt>
                <c:pt idx="10">
                  <c:v>0.21190000000000001</c:v>
                </c:pt>
                <c:pt idx="11">
                  <c:v>0.45090000000000002</c:v>
                </c:pt>
                <c:pt idx="12">
                  <c:v>0.45429999999999998</c:v>
                </c:pt>
                <c:pt idx="13">
                  <c:v>0.48259999999999997</c:v>
                </c:pt>
                <c:pt idx="14">
                  <c:v>0.45129999999999998</c:v>
                </c:pt>
                <c:pt idx="15">
                  <c:v>0.44969999999999999</c:v>
                </c:pt>
              </c:numCache>
            </c:numRef>
          </c:yVal>
          <c:bubbleSize>
            <c:numRef>
              <c:f>Sheet1!$C$2:$C$17</c:f>
              <c:numCache>
                <c:formatCode>General</c:formatCode>
                <c:ptCount val="16"/>
                <c:pt idx="0">
                  <c:v>217.27272727272731</c:v>
                </c:pt>
                <c:pt idx="1">
                  <c:v>204.14285714285711</c:v>
                </c:pt>
                <c:pt idx="2">
                  <c:v>248.9</c:v>
                </c:pt>
                <c:pt idx="3">
                  <c:v>337.32142857142861</c:v>
                </c:pt>
                <c:pt idx="4">
                  <c:v>468.76785714285711</c:v>
                </c:pt>
                <c:pt idx="5">
                  <c:v>280.97402597402589</c:v>
                </c:pt>
                <c:pt idx="6">
                  <c:v>243.15789473684211</c:v>
                </c:pt>
                <c:pt idx="7">
                  <c:v>315.39999999999998</c:v>
                </c:pt>
                <c:pt idx="8">
                  <c:v>73.270270270270274</c:v>
                </c:pt>
                <c:pt idx="9">
                  <c:v>281.55102040816331</c:v>
                </c:pt>
                <c:pt idx="10">
                  <c:v>4501.0200000000004</c:v>
                </c:pt>
                <c:pt idx="11">
                  <c:v>631.52941176470586</c:v>
                </c:pt>
                <c:pt idx="12">
                  <c:v>263.92307692307691</c:v>
                </c:pt>
                <c:pt idx="13">
                  <c:v>175.04761904761901</c:v>
                </c:pt>
                <c:pt idx="14">
                  <c:v>102.3333333333333</c:v>
                </c:pt>
                <c:pt idx="15">
                  <c:v>182.625</c:v>
                </c:pt>
              </c:numCache>
            </c:numRef>
          </c:bubbleSize>
          <c:bubble3D val="0"/>
          <c:extLst>
            <c:ext xmlns:c15="http://schemas.microsoft.com/office/drawing/2012/chart" uri="{02D57815-91ED-43cb-92C2-25804820EDAC}">
              <c15:datalabelsRange>
                <c15:f>Sheet1!$E$2:$E$58</c15:f>
                <c15:dlblRangeCache>
                  <c:ptCount val="57"/>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1/2 CHAMPAGNE NICOLAS 1ERE CUV 1CT X 375ML</c:v>
                  </c:pt>
                  <c:pt idx="10">
                    <c:v>CHAMPAGNE E.NICOLAS BRUT 1CT X 750ML</c:v>
                  </c:pt>
                  <c:pt idx="11">
                    <c:v>CHAMPAGNE NICOLAS BLC/BLC BS 1CT X 750ML</c:v>
                  </c:pt>
                  <c:pt idx="12">
                    <c:v>CHAMPAGNE NICOLAS BLC/BLC 2002 1CT X 750ML</c:v>
                  </c:pt>
                  <c:pt idx="13">
                    <c:v>CHAMPAGNE NICOLAS ROSE 1ERE CU 1CT X 750ML</c:v>
                  </c:pt>
                  <c:pt idx="14">
                    <c:v>CHAMPAGNE NICOLAS 1ER CRU BS 1CT X 750ML</c:v>
                  </c:pt>
                  <c:pt idx="15">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E94860BC-EBA2-425B-A72C-E97F35EA6C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2F520E0F-592A-44F5-8E98-09DB7DE709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9B0E1B6-96CA-4C2C-97D3-4C69C2C331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7409F030-3FF8-496F-BCB7-2C5C7BA89D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8C8D621F-FE00-40EB-817C-AD97A071AE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26A2F7EC-87AC-4059-97BF-82A6DCFAE9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EDBEAA49-A27D-4354-84F4-56FBAC0958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6C67A9A0-B68E-4662-9F0A-C8C43DC949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289300000000001</c:v>
                </c:pt>
                <c:pt idx="1">
                  <c:v>46.108400000000003</c:v>
                </c:pt>
                <c:pt idx="2">
                  <c:v>24.3825</c:v>
                </c:pt>
              </c:numCache>
            </c:numRef>
          </c:xVal>
          <c:yVal>
            <c:numRef>
              <c:f>Sheet1!$B$2:$B$4</c:f>
              <c:numCache>
                <c:formatCode>General</c:formatCode>
                <c:ptCount val="3"/>
                <c:pt idx="0">
                  <c:v>0.51190000000000002</c:v>
                </c:pt>
                <c:pt idx="1">
                  <c:v>0.4002</c:v>
                </c:pt>
                <c:pt idx="2">
                  <c:v>0.52969999999999995</c:v>
                </c:pt>
              </c:numCache>
            </c:numRef>
          </c:yVal>
          <c:bubbleSize>
            <c:numRef>
              <c:f>Sheet1!$C$2:$C$4</c:f>
              <c:numCache>
                <c:formatCode>General</c:formatCode>
                <c:ptCount val="3"/>
                <c:pt idx="0">
                  <c:v>1631970.0319999999</c:v>
                </c:pt>
                <c:pt idx="1">
                  <c:v>22328881.9472</c:v>
                </c:pt>
                <c:pt idx="2">
                  <c:v>258039.53330000001</c:v>
                </c:pt>
              </c:numCache>
            </c:numRef>
          </c:bubbleSize>
          <c:bubble3D val="0"/>
          <c:extLst>
            <c:ext xmlns:c15="http://schemas.microsoft.com/office/drawing/2012/chart" uri="{02D57815-91ED-43cb-92C2-25804820EDAC}">
              <c15:datalabelsRange>
                <c15:f>Sheet1!$E$2:$E$29</c15:f>
                <c15:dlblRangeCache>
                  <c:ptCount val="28"/>
                  <c:pt idx="0">
                    <c:v>Mousseux</c:v>
                  </c:pt>
                  <c:pt idx="1">
                    <c:v>Champagnes</c:v>
                  </c:pt>
                  <c:pt idx="2">
                    <c:v>Effervescents Sans Alcool</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5.330080000000002"/>
          <c:min val="9.0314400000000017"/>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910656667855416"/>
        <c:crossBetween val="midCat"/>
      </c:valAx>
      <c:valAx>
        <c:axId val="1011451359"/>
        <c:scaling>
          <c:orientation val="minMax"/>
          <c:max val="0.99563999999999986"/>
          <c:min val="8.0160000000000009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3.53066563897394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B377E16D-4993-456D-B8BC-9C219A34F5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F7CC9E84-C34A-4EDB-A5E7-09D2F9ED9A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808CFFB-3031-4B55-9458-FA4A6F4673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56789B8-4B16-4CE3-A148-703A704589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8000D789-93E1-45C6-954B-49EBBA83B5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FDAE1594-1624-40F8-A572-0F9D85B128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A4F2DC3B-5769-4933-BC41-ED5621B332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B5C33C6-3E4F-4095-8A1A-C0B6E2385B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5B4C3764-C57E-4693-80B8-E99343E634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C0E681A2-19B7-43F2-98AA-28FCAF94FC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0B15DD31-70C3-48F5-B911-492E8FB24D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9774D99-B043-4182-A786-6E36D1DB57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CE19AC8E-69B9-467A-91C1-F00AA88D52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A263F317-CFD2-4E02-9F40-D3BB621B87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5440715C-88B3-4EC1-B644-947E268727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1F6142C6-096F-406E-A3B1-FB62AE7B29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8CB9676E-879F-4D16-9F9A-0461626178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08A9C21B-612A-4878-9666-F559CC1370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CB0E4122-FFDB-4751-842D-9FA2057605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4F4DE6E3-95C9-4CD8-83B2-8E2BC337E2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18F1FE08-6B92-40DF-96CD-EE9D7CDD53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44A692CC-2020-4FE9-A347-C25B073B2C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ED0756B0-F902-46F6-89BC-12A7B822FC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3699071C-DED9-40C7-AFB2-D4798BBBED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97D25703-6AB8-4DF6-931C-F8FCB16DCC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ACC2D5FC-7FC8-4713-94ED-8E57113694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5EE8B2BE-3ADD-4C82-B4DF-8D916599C4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80BAA4A6-C79A-493E-A4B9-B5A1D05F89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448C69D4-0A62-40F0-BA94-CE020933EF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D8A410FF-2E4F-4800-BA08-69F2BE79EC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690126AB-6251-4590-A168-7E7BFD6178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E714A1B5-6873-48D3-A321-3FBAA688CD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53C5A393-BC03-4FC2-8F83-0D940F07D4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2A7D2C39-AC49-413F-8C5F-D1D20DA782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45A0E18B-26EF-4FE1-961B-545EBD4C48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190CDA55-5081-4EF9-910F-99F30F9074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A5720547-42D0-4316-83A3-4B931FB820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644987C5-771F-45F2-A2F9-46898B54EB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78D38E8B-5D36-4FE3-8403-923B37E09D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DEE8527A-CF71-48B4-BF93-ED9A986E4E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2D222242-A7D8-4D8A-A474-C288DFB22A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39FBC1DC-B478-44EB-B2AA-D99B1EF5B4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1CF6912D-0CB7-47C4-AB2A-A43CB85628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61F4FFD5-1568-4178-9B60-D12F6FED46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87DEAD49-8C62-4960-85A7-512F09B1C9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C42AAD55-6400-4128-BFAA-61D5FCCD13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9233A041-06C5-4E9F-B7DC-9ADAA3FBC3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73E0FF2B-B31B-43CB-AE34-29F6B649A7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A42E2797-8B81-42E5-9F32-03B1287990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D74B7B93-25C4-4805-8D09-89C7623DD4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722FBFA8-9F35-4FAE-9066-DB2CCC9FB1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BC9DB9B6-428E-4399-8243-F768130BAF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DDDF8999-8500-4524-A19D-81F470A434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B722256D-A3E0-4454-BA58-5E37BE8F21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F927CFD5-6038-4FE0-83FF-1BCC255908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75EBA145-2D06-43DE-908F-04873A7082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9E9E2660-F617-4CE7-89C3-501C2B0F72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7</c:f>
              <c:numCache>
                <c:formatCode>General</c:formatCode>
                <c:ptCount val="16"/>
                <c:pt idx="0">
                  <c:v>9.4399999999999998E-2</c:v>
                </c:pt>
                <c:pt idx="1">
                  <c:v>9.9599999999999994E-2</c:v>
                </c:pt>
                <c:pt idx="2">
                  <c:v>0.1147</c:v>
                </c:pt>
                <c:pt idx="3">
                  <c:v>1.3899999999999999E-2</c:v>
                </c:pt>
                <c:pt idx="4">
                  <c:v>2.8999999999999998E-3</c:v>
                </c:pt>
                <c:pt idx="5">
                  <c:v>1.9599999999999999E-2</c:v>
                </c:pt>
                <c:pt idx="6">
                  <c:v>0.12470000000000001</c:v>
                </c:pt>
                <c:pt idx="7">
                  <c:v>3.1899999999999998E-2</c:v>
                </c:pt>
                <c:pt idx="8">
                  <c:v>6.3600000000000004E-2</c:v>
                </c:pt>
                <c:pt idx="9">
                  <c:v>4.3099999999999999E-2</c:v>
                </c:pt>
                <c:pt idx="10">
                  <c:v>3.8199999999999998E-2</c:v>
                </c:pt>
                <c:pt idx="11">
                  <c:v>8.6499999999999994E-2</c:v>
                </c:pt>
                <c:pt idx="12">
                  <c:v>0.1056</c:v>
                </c:pt>
                <c:pt idx="13">
                  <c:v>9.5100000000000004E-2</c:v>
                </c:pt>
                <c:pt idx="14">
                  <c:v>4.07E-2</c:v>
                </c:pt>
                <c:pt idx="15">
                  <c:v>0.15770000000000001</c:v>
                </c:pt>
              </c:numCache>
            </c:numRef>
          </c:xVal>
          <c:yVal>
            <c:numRef>
              <c:f>Sheet1!$B$2:$B$17</c:f>
              <c:numCache>
                <c:formatCode>General</c:formatCode>
                <c:ptCount val="16"/>
                <c:pt idx="0">
                  <c:v>0.50860000000000005</c:v>
                </c:pt>
                <c:pt idx="1">
                  <c:v>0.52449999999999997</c:v>
                </c:pt>
                <c:pt idx="2">
                  <c:v>0.48499999999999999</c:v>
                </c:pt>
                <c:pt idx="3">
                  <c:v>0.28510000000000002</c:v>
                </c:pt>
                <c:pt idx="4">
                  <c:v>0.25769999999999998</c:v>
                </c:pt>
                <c:pt idx="5">
                  <c:v>0.45190000000000002</c:v>
                </c:pt>
                <c:pt idx="6">
                  <c:v>0.45279999999999998</c:v>
                </c:pt>
                <c:pt idx="7">
                  <c:v>0.44919999999999999</c:v>
                </c:pt>
                <c:pt idx="8">
                  <c:v>0.44540000000000002</c:v>
                </c:pt>
                <c:pt idx="9">
                  <c:v>0.50839999999999996</c:v>
                </c:pt>
                <c:pt idx="10">
                  <c:v>0.2127</c:v>
                </c:pt>
                <c:pt idx="11">
                  <c:v>0.45150000000000001</c:v>
                </c:pt>
                <c:pt idx="12">
                  <c:v>0.45179999999999998</c:v>
                </c:pt>
                <c:pt idx="13">
                  <c:v>0.4829</c:v>
                </c:pt>
                <c:pt idx="14">
                  <c:v>0.4551</c:v>
                </c:pt>
                <c:pt idx="15">
                  <c:v>0.4496</c:v>
                </c:pt>
              </c:numCache>
            </c:numRef>
          </c:yVal>
          <c:bubbleSize>
            <c:numRef>
              <c:f>Sheet1!$C$2:$C$17</c:f>
              <c:numCache>
                <c:formatCode>General</c:formatCode>
                <c:ptCount val="16"/>
                <c:pt idx="0">
                  <c:v>214.32432432432429</c:v>
                </c:pt>
                <c:pt idx="1">
                  <c:v>105.609756097561</c:v>
                </c:pt>
                <c:pt idx="2">
                  <c:v>330.95</c:v>
                </c:pt>
                <c:pt idx="3">
                  <c:v>383.10256410256409</c:v>
                </c:pt>
                <c:pt idx="4">
                  <c:v>355.97674418604652</c:v>
                </c:pt>
                <c:pt idx="5">
                  <c:v>284.11538461538458</c:v>
                </c:pt>
                <c:pt idx="6">
                  <c:v>189.34615384615381</c:v>
                </c:pt>
                <c:pt idx="7">
                  <c:v>262.10526315789468</c:v>
                </c:pt>
                <c:pt idx="8">
                  <c:v>98.5</c:v>
                </c:pt>
                <c:pt idx="9">
                  <c:v>210.5454545454545</c:v>
                </c:pt>
                <c:pt idx="10">
                  <c:v>4592.25</c:v>
                </c:pt>
                <c:pt idx="11">
                  <c:v>578.94520547945206</c:v>
                </c:pt>
                <c:pt idx="12">
                  <c:v>217.29411764705881</c:v>
                </c:pt>
                <c:pt idx="13">
                  <c:v>173.7441860465116</c:v>
                </c:pt>
                <c:pt idx="14">
                  <c:v>174.64</c:v>
                </c:pt>
                <c:pt idx="15">
                  <c:v>138.5625</c:v>
                </c:pt>
              </c:numCache>
            </c:numRef>
          </c:bubbleSize>
          <c:bubble3D val="0"/>
          <c:extLst>
            <c:ext xmlns:c15="http://schemas.microsoft.com/office/drawing/2012/chart" uri="{02D57815-91ED-43cb-92C2-25804820EDAC}">
              <c15:datalabelsRange>
                <c15:f>Sheet1!$E$2:$E$58</c15:f>
                <c15:dlblRangeCache>
                  <c:ptCount val="57"/>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1/2 CHAMPAGNE NICOLAS 1ERE CUV 1CT X 375ML</c:v>
                  </c:pt>
                  <c:pt idx="10">
                    <c:v>CHAMPAGNE E.NICOLAS BRUT 1CT X 750ML</c:v>
                  </c:pt>
                  <c:pt idx="11">
                    <c:v>CHAMPAGNE NICOLAS BLC/BLC BS 1CT X 750ML</c:v>
                  </c:pt>
                  <c:pt idx="12">
                    <c:v>CHAMPAGNE NICOLAS BLC/BLC 2002 1CT X 750ML</c:v>
                  </c:pt>
                  <c:pt idx="13">
                    <c:v>CHAMPAGNE NICOLAS ROSE 1ERE CU 1CT X 750ML</c:v>
                  </c:pt>
                  <c:pt idx="14">
                    <c:v>CHAMPAGNE NICOLAS 1ER CRU BS 1CT X 750ML</c:v>
                  </c:pt>
                  <c:pt idx="15">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D3B90D1D-E80C-41D2-9176-367DE664BD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684AEEAC-D3FF-4C16-808F-B4ED52856B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E88A5E7-80C0-4644-8AA9-CB51906210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F4D1A72-588E-4102-8FF7-D505FC40D0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124BE1B4-03FE-4EB5-9D3F-BAF3317A5F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54DF817A-AFBC-494C-82A4-B7A4FDB03B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0DA1A5A4-EB8F-49E7-9701-00413B6EF8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D61E5F6-4EF4-4E60-A15C-2DA48A962F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AF4B2CE0-7AAB-4530-BAE9-614C63807D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36002997-CE89-4842-9A2F-109B7F0B20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E8A5F55B-AB3D-4F5A-A7F2-2AE833FF28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03392F8-A328-422B-A213-F1E111AEDC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27E68C9D-F6E5-4072-9E0F-8D7B667FEC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FD11EC64-56F9-4DC8-B0C0-11D2ED110A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3226A87D-90C2-4A97-8CE9-F04BB8EFA6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F9ECF8D2-804B-44F9-9C45-2020A4AFEB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73582FF5-415B-45FD-B65A-E63D48A159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79C3A6A6-47D3-4D03-B993-871C24CA6E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ED360BB5-D744-43AE-9750-E7CED33BE5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D94AFFFC-8382-44B8-9D72-457AE99C60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8B5BE61F-7CCE-4E2C-A44D-9DEF394324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4B7C9EE5-BB8F-40CA-BA58-F40488ABA0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A535118E-1E78-4557-998B-87850DD9B1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D0D32DB4-DF6D-49CF-BA25-3E45DB8A7A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186C4C6C-8E5C-497B-B83E-4BD2A3995F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BB35A529-823A-4A34-97FC-12D6370E7A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EA8C3745-60C2-45D9-8283-F2EDAC773A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BBCEA7C6-00E5-457B-AAF6-B829DBF092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78D8F11D-DE83-4166-8AE1-C2F516A13F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FACC1DE0-EB04-4825-AA3B-F477E3288C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E11CDA13-153B-488E-ABB3-08112CDAA3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807B4B77-DDD9-44DD-80EE-A957FD362D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CA85CAC0-FFDD-449A-8207-C30769F076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53ACB6A6-8607-40D0-9F87-36D4F623A6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2696B233-1293-42C3-8E42-9E757D1B5E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4CEAB0D4-D90E-463B-A536-1FEB2E0AAC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A61E3BCC-D580-4019-8B11-1600B0DAC9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E404DA39-05EC-412B-9B80-259E763206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A0EC524B-126E-482D-9AB1-89B5D51026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196944C3-751E-4F81-8D0E-0147F9FC25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88311E53-7E6C-4877-824D-F8B94AA1F4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155F609E-CBD9-4C59-AF5C-2FCE775375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00A170A0-3A44-4AC8-BC9E-5D43063D22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0DA6CD5D-F113-48C6-A0A3-96A0A1FD18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2CF5836B-77A0-4CA3-B5F0-F1292B148D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2912ABF1-99F9-4CF1-942A-1A898B14FF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33B68ABA-E6DA-4C08-9244-6FA549445F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02AB0836-34EA-4D50-91C7-4FE6C8C46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57D59C25-1685-41B2-AD05-13388B8EF2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E3DD1F3E-09A9-4451-9DBA-263D24151B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8D24F011-81A5-4E7A-86B5-72209CB234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118A68E3-6E30-41D9-8273-BF7DCE9B43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1B936FCE-29E9-410F-BC10-93F0A9E402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8E43558F-9B94-423E-ABC6-9D8077D8D4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A4C16F81-43B9-4DA0-A5DA-EE64F3BFED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AE26EC93-ADE2-48CD-98D9-1E25EBB857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C6F39928-D7A3-46F7-8E4D-1DCAE233F8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2</c:f>
              <c:numCache>
                <c:formatCode>General</c:formatCode>
                <c:ptCount val="21"/>
                <c:pt idx="0">
                  <c:v>8.1299999999999997E-2</c:v>
                </c:pt>
                <c:pt idx="1">
                  <c:v>6.93E-2</c:v>
                </c:pt>
                <c:pt idx="2">
                  <c:v>7.2999999999999995E-2</c:v>
                </c:pt>
                <c:pt idx="3">
                  <c:v>4.1000000000000003E-3</c:v>
                </c:pt>
                <c:pt idx="4">
                  <c:v>8.0000000000000004E-4</c:v>
                </c:pt>
                <c:pt idx="5">
                  <c:v>-3.6600000000000001E-2</c:v>
                </c:pt>
                <c:pt idx="6">
                  <c:v>9.8299999999999998E-2</c:v>
                </c:pt>
                <c:pt idx="7">
                  <c:v>-3.7000000000000002E-3</c:v>
                </c:pt>
                <c:pt idx="8">
                  <c:v>3.6200000000000003E-2</c:v>
                </c:pt>
                <c:pt idx="9">
                  <c:v>0.1014</c:v>
                </c:pt>
                <c:pt idx="10">
                  <c:v>8.9899999999999994E-2</c:v>
                </c:pt>
                <c:pt idx="11">
                  <c:v>0.1348</c:v>
                </c:pt>
                <c:pt idx="12">
                  <c:v>2.6200000000000001E-2</c:v>
                </c:pt>
                <c:pt idx="13">
                  <c:v>4.24E-2</c:v>
                </c:pt>
                <c:pt idx="14">
                  <c:v>8.14E-2</c:v>
                </c:pt>
                <c:pt idx="15">
                  <c:v>5.2400000000000002E-2</c:v>
                </c:pt>
                <c:pt idx="16">
                  <c:v>4.7100000000000003E-2</c:v>
                </c:pt>
                <c:pt idx="17">
                  <c:v>0.1241</c:v>
                </c:pt>
                <c:pt idx="18">
                  <c:v>1.3100000000000001E-2</c:v>
                </c:pt>
                <c:pt idx="19">
                  <c:v>5.6800000000000003E-2</c:v>
                </c:pt>
                <c:pt idx="20">
                  <c:v>5.4199999999999998E-2</c:v>
                </c:pt>
              </c:numCache>
            </c:numRef>
          </c:xVal>
          <c:yVal>
            <c:numRef>
              <c:f>Sheet1!$B$2:$B$22</c:f>
              <c:numCache>
                <c:formatCode>General</c:formatCode>
                <c:ptCount val="21"/>
                <c:pt idx="0">
                  <c:v>0.50860000000000005</c:v>
                </c:pt>
                <c:pt idx="1">
                  <c:v>0.52110000000000001</c:v>
                </c:pt>
                <c:pt idx="2">
                  <c:v>0.48199999999999998</c:v>
                </c:pt>
                <c:pt idx="3">
                  <c:v>0.28389999999999999</c:v>
                </c:pt>
                <c:pt idx="4">
                  <c:v>0.25590000000000002</c:v>
                </c:pt>
                <c:pt idx="5">
                  <c:v>0.45090000000000002</c:v>
                </c:pt>
                <c:pt idx="6">
                  <c:v>0.45279999999999998</c:v>
                </c:pt>
                <c:pt idx="7">
                  <c:v>0.44919999999999999</c:v>
                </c:pt>
                <c:pt idx="8">
                  <c:v>0.44569999999999999</c:v>
                </c:pt>
                <c:pt idx="9">
                  <c:v>0.4894</c:v>
                </c:pt>
                <c:pt idx="10">
                  <c:v>0.46010000000000001</c:v>
                </c:pt>
                <c:pt idx="11">
                  <c:v>0.4491</c:v>
                </c:pt>
                <c:pt idx="12">
                  <c:v>0.51319999999999999</c:v>
                </c:pt>
                <c:pt idx="13">
                  <c:v>0.21160000000000001</c:v>
                </c:pt>
                <c:pt idx="14">
                  <c:v>0.45079999999999998</c:v>
                </c:pt>
                <c:pt idx="15">
                  <c:v>0.4446</c:v>
                </c:pt>
                <c:pt idx="16">
                  <c:v>0.48120000000000002</c:v>
                </c:pt>
                <c:pt idx="17">
                  <c:v>0.45279999999999998</c:v>
                </c:pt>
                <c:pt idx="18">
                  <c:v>0.45739999999999997</c:v>
                </c:pt>
                <c:pt idx="19">
                  <c:v>0.43819999999999998</c:v>
                </c:pt>
                <c:pt idx="20">
                  <c:v>0.45029999999999998</c:v>
                </c:pt>
              </c:numCache>
            </c:numRef>
          </c:yVal>
          <c:bubbleSize>
            <c:numRef>
              <c:f>Sheet1!$C$2:$C$22</c:f>
              <c:numCache>
                <c:formatCode>General</c:formatCode>
                <c:ptCount val="21"/>
                <c:pt idx="0">
                  <c:v>1603.583333333333</c:v>
                </c:pt>
                <c:pt idx="1">
                  <c:v>1250.962962962963</c:v>
                </c:pt>
                <c:pt idx="2">
                  <c:v>2556.3571428571431</c:v>
                </c:pt>
                <c:pt idx="3">
                  <c:v>3170.375</c:v>
                </c:pt>
                <c:pt idx="4">
                  <c:v>2988.0338983050851</c:v>
                </c:pt>
                <c:pt idx="5">
                  <c:v>2029.1923076923081</c:v>
                </c:pt>
                <c:pt idx="6">
                  <c:v>1121.3888888888889</c:v>
                </c:pt>
                <c:pt idx="7">
                  <c:v>2824.0666666666671</c:v>
                </c:pt>
                <c:pt idx="8">
                  <c:v>1489.3888888888889</c:v>
                </c:pt>
                <c:pt idx="9">
                  <c:v>1025</c:v>
                </c:pt>
                <c:pt idx="10">
                  <c:v>1141.2222222222219</c:v>
                </c:pt>
                <c:pt idx="11">
                  <c:v>2045</c:v>
                </c:pt>
                <c:pt idx="12">
                  <c:v>2088.78125</c:v>
                </c:pt>
                <c:pt idx="13">
                  <c:v>27681.21212121212</c:v>
                </c:pt>
                <c:pt idx="14">
                  <c:v>4890.9272727272719</c:v>
                </c:pt>
                <c:pt idx="15">
                  <c:v>2986</c:v>
                </c:pt>
                <c:pt idx="16">
                  <c:v>1302.878787878788</c:v>
                </c:pt>
                <c:pt idx="17">
                  <c:v>1233.5</c:v>
                </c:pt>
                <c:pt idx="18">
                  <c:v>770.59375</c:v>
                </c:pt>
                <c:pt idx="19">
                  <c:v>879.18181818181813</c:v>
                </c:pt>
                <c:pt idx="20">
                  <c:v>891.5</c:v>
                </c:pt>
              </c:numCache>
            </c:numRef>
          </c:bubbleSize>
          <c:bubble3D val="0"/>
          <c:extLst>
            <c:ext xmlns:c15="http://schemas.microsoft.com/office/drawing/2012/chart" uri="{02D57815-91ED-43cb-92C2-25804820EDAC}">
              <c15:datalabelsRange>
                <c15:f>Sheet1!$E$2:$E$58</c15:f>
                <c15:dlblRangeCache>
                  <c:ptCount val="57"/>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CHAMPAGNE NICOLAS BLC/BL BS ET 1CT X 750ML</c:v>
                  </c:pt>
                  <c:pt idx="12">
                    <c:v>1/2 CHAMPAGNE NICOLAS 1ERE CUV 1CT X 375ML</c:v>
                  </c:pt>
                  <c:pt idx="13">
                    <c:v>CHAMPAGNE E.NICOLAS BRUT 1CT X 750ML</c:v>
                  </c:pt>
                  <c:pt idx="14">
                    <c:v>CHAMPAGNE NICOLAS BLC/BLC BS 1CT X 750ML</c:v>
                  </c:pt>
                  <c:pt idx="15">
                    <c:v>CHAMPAGNE NICOLAS BLC/BLC 2002 1CT X 750ML</c:v>
                  </c:pt>
                  <c:pt idx="16">
                    <c:v>CHAMPAGNE NICOLAS ROSE 1ERE CU 1CT X 750ML</c:v>
                  </c:pt>
                  <c:pt idx="17">
                    <c:v>MG CHAMPAGNE NICOLAS 1E CRU BS 1CT X 1500ML</c:v>
                  </c:pt>
                  <c:pt idx="18">
                    <c:v>CHAMPAGNE NICOLAS 1ER CRU BS 1CT X 750ML</c:v>
                  </c:pt>
                  <c:pt idx="19">
                    <c:v>CHAMPAGNE NICOLAS 1ERE CUV ETU 1CT X 750ML</c:v>
                  </c:pt>
                  <c:pt idx="20">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35A90ED1-6E60-446B-B40A-DABD328D68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E2DE2E26-F7C9-41A9-9131-1F5246836D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C53DA22-6301-4F54-B57E-7AB03A0343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373CD70-FF8C-4538-A316-362E414431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0D7B8470-DF4A-42F2-88BC-0E3B87DF8B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73360DD2-8E73-4697-8DA5-DF8C84604C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4FE8F627-E275-4F98-80E1-00D48388D2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327764E-2D12-4174-B942-EDF9EB9203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F812DD14-0146-4AF3-B9EC-41BBE3B1DC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C3C47534-5C70-4491-B3E4-9786E2F829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04302D5C-4B47-4FDF-8E4C-EC44A71CE2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591D604-389F-4413-9A3A-BCB14DB1E2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43D6E018-C06F-4634-8EC2-6E8E945B42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687E748A-E21A-4AC7-878E-24F39D79C0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702AD855-3752-41D3-92BF-F51FC62968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1E4CA43A-A9EA-47E1-A037-8C421BFC70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9EAF8883-C157-479F-A325-BCB20F93B8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77F23628-5358-4415-A23A-964F8B3867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8A227A76-EC66-4C81-AF64-F3B06BC1C6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9539A79D-3FF5-409C-970F-A90465AEAC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1D132C51-6DE2-4C25-8F1D-04EDCC3D18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3E348293-9BAD-4AF2-BEAF-279EEDE150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8B2A5AC6-5547-4E71-8F84-C8F88092DE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21CB3E2C-B74D-4775-8C72-7B428BE83D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C3F1D835-886E-4E12-8E08-5D7E455578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4AA72DE4-B0E9-4756-A178-F1DA383D85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B7A65290-BD53-497D-B5A2-49A0DCBA21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B1403C9D-3984-44D1-8870-5EF0B07A15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93C0BF43-98B7-4262-A885-6A8DEDA1CE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13B60DE7-0F20-44F5-93E1-F911E6F264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76ED493B-0876-49BC-872E-15043A4A55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853A2FD9-2BA7-4DCF-AE56-6EDE031B60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8C1454B4-BC0C-4468-B92E-A641725030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654E410B-D3CC-4E98-929F-1074170E15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F0C0B042-FCF7-439E-81A8-2C8A29B9C6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95929996-CC9D-4E6D-BBAD-CBF1493819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C5AAA7BE-DFB3-442E-9C61-B2709B3AFB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A2F7C0DF-E82F-4CB6-8CB1-3387F8A704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531FFCEB-47D9-4CE6-A1F9-29D5EA33EF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2A9928B1-4FCA-4F79-BB01-6C2A6678B6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55BAC4AA-0E94-4420-A59F-6E26327432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EEAB581B-401D-49A4-BF86-0FD8E8A811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BAC10DB6-EC78-41E6-B858-ACD21CADEC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F52ABD87-FFB7-400F-9127-7F67498FE9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CA0E1305-8E86-4702-9545-072D527600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7166EC7E-D6EC-43C6-AF12-C0F8BA986D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E69D7BAF-F950-4468-95CB-A4C346D770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4EB450FE-E93B-4365-AAF0-D38127CEEA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44978839-DC55-43DB-B52B-6D01146ACE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C3BA9D61-C729-4552-BD03-01D32C8EA3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2844C3F2-3A36-434D-92BD-139F402C9E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876957E4-B536-4966-B749-470FDC307D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528C7A07-DDE3-4065-9C8B-42A71D7CB2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D2F14E83-E6B5-46C8-A2A9-6E5F541809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3CB6560A-D377-4A0C-9907-9B6DDBC69D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B64C2AE3-FA7D-4844-B9FA-6A62EA207A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E526D0A4-196E-46BA-86B4-95735B1560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6</c:f>
              <c:numCache>
                <c:formatCode>General</c:formatCode>
                <c:ptCount val="15"/>
                <c:pt idx="0">
                  <c:v>0.1051</c:v>
                </c:pt>
                <c:pt idx="1">
                  <c:v>0.1186</c:v>
                </c:pt>
                <c:pt idx="2">
                  <c:v>0.1236</c:v>
                </c:pt>
                <c:pt idx="3">
                  <c:v>1.77E-2</c:v>
                </c:pt>
                <c:pt idx="4">
                  <c:v>6.7999999999999996E-3</c:v>
                </c:pt>
                <c:pt idx="5">
                  <c:v>2.92E-2</c:v>
                </c:pt>
                <c:pt idx="6">
                  <c:v>0.13519999999999999</c:v>
                </c:pt>
                <c:pt idx="7">
                  <c:v>3.4200000000000001E-2</c:v>
                </c:pt>
                <c:pt idx="8">
                  <c:v>7.4700000000000003E-2</c:v>
                </c:pt>
                <c:pt idx="9">
                  <c:v>5.5E-2</c:v>
                </c:pt>
                <c:pt idx="10">
                  <c:v>4.4699999999999997E-2</c:v>
                </c:pt>
                <c:pt idx="11">
                  <c:v>9.6600000000000005E-2</c:v>
                </c:pt>
                <c:pt idx="12">
                  <c:v>0.21210000000000001</c:v>
                </c:pt>
                <c:pt idx="13">
                  <c:v>1.4999999999999999E-2</c:v>
                </c:pt>
                <c:pt idx="14">
                  <c:v>0.1195</c:v>
                </c:pt>
              </c:numCache>
            </c:numRef>
          </c:xVal>
          <c:yVal>
            <c:numRef>
              <c:f>Sheet1!$B$2:$B$16</c:f>
              <c:numCache>
                <c:formatCode>General</c:formatCode>
                <c:ptCount val="15"/>
                <c:pt idx="0">
                  <c:v>0.50860000000000005</c:v>
                </c:pt>
                <c:pt idx="1">
                  <c:v>0.52449999999999997</c:v>
                </c:pt>
                <c:pt idx="2">
                  <c:v>0.48259999999999997</c:v>
                </c:pt>
                <c:pt idx="3">
                  <c:v>0.2843</c:v>
                </c:pt>
                <c:pt idx="4">
                  <c:v>0.25740000000000002</c:v>
                </c:pt>
                <c:pt idx="5">
                  <c:v>0.45190000000000002</c:v>
                </c:pt>
                <c:pt idx="6">
                  <c:v>0.45279999999999998</c:v>
                </c:pt>
                <c:pt idx="7">
                  <c:v>0.44919999999999999</c:v>
                </c:pt>
                <c:pt idx="8">
                  <c:v>0.44750000000000001</c:v>
                </c:pt>
                <c:pt idx="9">
                  <c:v>0.50780000000000003</c:v>
                </c:pt>
                <c:pt idx="10">
                  <c:v>0.21260000000000001</c:v>
                </c:pt>
                <c:pt idx="11">
                  <c:v>0.45079999999999998</c:v>
                </c:pt>
                <c:pt idx="12">
                  <c:v>0.46400000000000002</c:v>
                </c:pt>
                <c:pt idx="13">
                  <c:v>0.4763</c:v>
                </c:pt>
                <c:pt idx="14">
                  <c:v>0.4526</c:v>
                </c:pt>
              </c:numCache>
            </c:numRef>
          </c:yVal>
          <c:bubbleSize>
            <c:numRef>
              <c:f>Sheet1!$C$2:$C$16</c:f>
              <c:numCache>
                <c:formatCode>General</c:formatCode>
                <c:ptCount val="15"/>
                <c:pt idx="0">
                  <c:v>93.030303030303031</c:v>
                </c:pt>
                <c:pt idx="1">
                  <c:v>66.042553191489361</c:v>
                </c:pt>
                <c:pt idx="2">
                  <c:v>181.44444444444451</c:v>
                </c:pt>
                <c:pt idx="3">
                  <c:v>239.52500000000001</c:v>
                </c:pt>
                <c:pt idx="4">
                  <c:v>238.43055555555549</c:v>
                </c:pt>
                <c:pt idx="5">
                  <c:v>221.125</c:v>
                </c:pt>
                <c:pt idx="6">
                  <c:v>216.78571428571419</c:v>
                </c:pt>
                <c:pt idx="7">
                  <c:v>133.11538461538461</c:v>
                </c:pt>
                <c:pt idx="8">
                  <c:v>92.63636363636364</c:v>
                </c:pt>
                <c:pt idx="9">
                  <c:v>105.625</c:v>
                </c:pt>
                <c:pt idx="10">
                  <c:v>1794.81</c:v>
                </c:pt>
                <c:pt idx="11">
                  <c:v>265.66666666666669</c:v>
                </c:pt>
                <c:pt idx="12">
                  <c:v>106.21052631578949</c:v>
                </c:pt>
                <c:pt idx="13">
                  <c:v>85.72</c:v>
                </c:pt>
                <c:pt idx="14">
                  <c:v>82.030303030303031</c:v>
                </c:pt>
              </c:numCache>
            </c:numRef>
          </c:bubbleSize>
          <c:bubble3D val="0"/>
          <c:extLst>
            <c:ext xmlns:c15="http://schemas.microsoft.com/office/drawing/2012/chart" uri="{02D57815-91ED-43cb-92C2-25804820EDAC}">
              <c15:datalabelsRange>
                <c15:f>Sheet1!$E$2:$E$58</c15:f>
                <c15:dlblRangeCache>
                  <c:ptCount val="57"/>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1/2 CHAMPAGNE NICOLAS 1ERE CUV 1CT X 375ML</c:v>
                  </c:pt>
                  <c:pt idx="10">
                    <c:v>CHAMPAGNE E.NICOLAS BRUT 1CT X 750ML</c:v>
                  </c:pt>
                  <c:pt idx="11">
                    <c:v>CHAMPAGNE NICOLAS BLC/BLC BS 1CT X 750ML</c:v>
                  </c:pt>
                  <c:pt idx="12">
                    <c:v>CHAMPAGNE NICOLAS BLC/BLC 2002 1CT X 750ML</c:v>
                  </c:pt>
                  <c:pt idx="13">
                    <c:v>CHAMPAGNE NICOLAS ROSE 1ERE CU 1CT X 750ML</c:v>
                  </c:pt>
                  <c:pt idx="14">
                    <c:v>CHAMPAGNE NICOLAS 1ER CRU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86E801CE-12D0-478C-9B7E-A2A7B11F86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77AFEB1B-D23E-4915-871F-1D0B6FBA66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D759D97-13C2-4AB2-B449-50C60EFA66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AB3A0E8-EF7E-4DFA-B3F0-073BD994EC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3F7BF0D3-0D3C-486D-8A3D-A993EF8B9C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4A48E999-BF17-44DA-9753-5D1B5D5CC4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CDFDE3DB-186E-482D-8916-E4CFF63568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2877375-1156-496C-BA0F-9705C1EF94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CC706481-3DFF-498C-82B1-2ACA3DD1EE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8606CAD7-02DC-4F1D-8BCA-0D59E8DD4E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9A98E24-56C9-45E0-9A5E-0DC59D4492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239E26EA-3D29-4A65-9BA1-754A0EFA25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2F4435F2-6B2B-4554-A3B3-62D008341E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FB4CE285-486D-4801-9946-AD3951DA4A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13BA0A14-A5D6-4C14-A8D0-EA2FEF5F7C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60C537E0-2D6B-41AC-9F28-FD42A5773D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A1D72E60-B948-45BC-9BC3-7CB3FBCB36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AEAE838D-0A5A-4774-B1DB-9BA4C0A2B3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EE24D814-5F92-46EA-B98C-E2516F9E8B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4A72C9D6-728A-4DAC-AEFE-C78C62882A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3ED2338B-8E8F-4E27-91DA-FD27D6FE99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8A8193E0-9CF0-472B-A201-A560CCD363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B939315D-3EE6-4C4A-B098-DFEAF698B3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3B17CE79-1502-4A77-86C1-360EC9D7DF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3E5F31A0-9236-423D-9A8C-D8076202CB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3D9ED1E7-FDBA-46EA-9D96-D42C53046E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85C0A3F1-A7A2-40BE-8BE6-893365FD38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6235053F-05EE-4D93-8237-23EE5980C5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D36AE2CC-FC07-4506-97B4-B46EE0961D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41D614A7-C483-422B-9975-2EBD85FCBB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1EA117A5-1356-43BA-8055-1921FF6FF0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3DBD5C71-589A-40F8-8EDA-F745A17B96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1A84EB7D-B196-4B82-A616-2C6DD22F32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E02AF785-BB07-4E68-B564-C1C7177211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A1B30F6F-4F98-4803-ADA9-2E0535232E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4EF78226-94ED-484F-A741-D40C4D8EB9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08923221-9F7A-42AE-9D2B-7E6389E836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4A0C8B29-2A5C-4C90-988A-C19EEAF9E8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FF39795A-BDD0-496D-841C-F44022250A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1500990E-60FC-4BB1-89E1-ACBFFEFBE9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D2724C10-3A21-4D45-A9CB-FC516FFE75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37194881-CD30-40A6-AE47-EA07D59A12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908420CE-7D90-464D-AB1C-AED0882E3A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D9EC20FE-66E7-4363-A7FF-A309AF0C63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8C761A06-01DC-4A40-A025-23046EE2D4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CCCC4EB9-1479-4A85-8A33-9C9E0034BE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8D9E7F15-7105-4FFF-8593-95C89503C4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857621E0-8149-4770-A0C1-90D0FAF2A9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6E30E46D-A93F-42B2-916B-3A1D5E43B0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B69972F3-C6D4-4BE7-BD5C-89E187FD37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CBB0BC2F-F0CD-41AD-948B-6B943BA40F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FE8507AF-B603-4503-8531-09843F94C2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BF188F77-1062-4E0B-BEA3-4EA33C51B6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0D3E0301-5F60-4BB3-B966-CAEE038D46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FDC85D91-7DD0-4990-B2C5-3EBD676759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83B5CF9E-C92F-46BE-898D-47E298BBA1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B7AEF94B-D3FB-4E80-8A31-A64CC4776F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0</c:f>
              <c:numCache>
                <c:formatCode>General</c:formatCode>
                <c:ptCount val="9"/>
                <c:pt idx="0">
                  <c:v>0.1099</c:v>
                </c:pt>
                <c:pt idx="1">
                  <c:v>5.33E-2</c:v>
                </c:pt>
                <c:pt idx="2">
                  <c:v>6.0000000000000001E-3</c:v>
                </c:pt>
                <c:pt idx="3">
                  <c:v>-1.66E-2</c:v>
                </c:pt>
                <c:pt idx="4">
                  <c:v>7.51E-2</c:v>
                </c:pt>
                <c:pt idx="5">
                  <c:v>3.39E-2</c:v>
                </c:pt>
                <c:pt idx="6">
                  <c:v>9.69E-2</c:v>
                </c:pt>
                <c:pt idx="7">
                  <c:v>5.9799999999999999E-2</c:v>
                </c:pt>
                <c:pt idx="8">
                  <c:v>6.3899999999999998E-2</c:v>
                </c:pt>
              </c:numCache>
            </c:numRef>
          </c:xVal>
          <c:yVal>
            <c:numRef>
              <c:f>Sheet1!$B$2:$B$10</c:f>
              <c:numCache>
                <c:formatCode>General</c:formatCode>
                <c:ptCount val="9"/>
                <c:pt idx="0">
                  <c:v>0.48430000000000001</c:v>
                </c:pt>
                <c:pt idx="1">
                  <c:v>0.28599999999999998</c:v>
                </c:pt>
                <c:pt idx="2">
                  <c:v>0.25690000000000002</c:v>
                </c:pt>
                <c:pt idx="3">
                  <c:v>0.45069999999999999</c:v>
                </c:pt>
                <c:pt idx="4">
                  <c:v>0.50629999999999997</c:v>
                </c:pt>
                <c:pt idx="5">
                  <c:v>0.21290000000000001</c:v>
                </c:pt>
                <c:pt idx="6">
                  <c:v>0.45129999999999998</c:v>
                </c:pt>
                <c:pt idx="7">
                  <c:v>0.47910000000000003</c:v>
                </c:pt>
                <c:pt idx="8">
                  <c:v>0.45860000000000001</c:v>
                </c:pt>
              </c:numCache>
            </c:numRef>
          </c:yVal>
          <c:bubbleSize>
            <c:numRef>
              <c:f>Sheet1!$C$2:$C$10</c:f>
              <c:numCache>
                <c:formatCode>General</c:formatCode>
                <c:ptCount val="9"/>
                <c:pt idx="0">
                  <c:v>91.3125</c:v>
                </c:pt>
                <c:pt idx="1">
                  <c:v>92.722222222222229</c:v>
                </c:pt>
                <c:pt idx="2">
                  <c:v>165.33823529411771</c:v>
                </c:pt>
                <c:pt idx="3">
                  <c:v>128.18072289156629</c:v>
                </c:pt>
                <c:pt idx="4">
                  <c:v>73.235294117647058</c:v>
                </c:pt>
                <c:pt idx="5">
                  <c:v>1647.1</c:v>
                </c:pt>
                <c:pt idx="6">
                  <c:v>157.69642857142861</c:v>
                </c:pt>
                <c:pt idx="7">
                  <c:v>40</c:v>
                </c:pt>
                <c:pt idx="8">
                  <c:v>45.39473684210526</c:v>
                </c:pt>
              </c:numCache>
            </c:numRef>
          </c:bubbleSize>
          <c:bubble3D val="0"/>
          <c:extLst>
            <c:ext xmlns:c15="http://schemas.microsoft.com/office/drawing/2012/chart" uri="{02D57815-91ED-43cb-92C2-25804820EDAC}">
              <c15:datalabelsRange>
                <c15:f>Sheet1!$E$2:$E$58</c15:f>
                <c15:dlblRangeCache>
                  <c:ptCount val="57"/>
                  <c:pt idx="0">
                    <c:v>MG CHAMPAGNE NICOLAS BLC/BL BS 1CT X 1500ML</c:v>
                  </c:pt>
                  <c:pt idx="1">
                    <c:v>MG CHAMPAGNE E.NICOLAS BRUT 1CT X 1500ML</c:v>
                  </c:pt>
                  <c:pt idx="2">
                    <c:v>CHAMPAGNE E.NICOLAS ROSE 1CT X 750ML</c:v>
                  </c:pt>
                  <c:pt idx="3">
                    <c:v>CHAMPAGNE NICOLAS 1ERE CUVEE 1CT X 750ML</c:v>
                  </c:pt>
                  <c:pt idx="4">
                    <c:v>1/2 CHAMPAGNE NICOLAS 1ERE CUV 1CT X 375ML</c:v>
                  </c:pt>
                  <c:pt idx="5">
                    <c:v>CHAMPAGNE E.NICOLAS BRUT 1CT X 750ML</c:v>
                  </c:pt>
                  <c:pt idx="6">
                    <c:v>CHAMPAGNE NICOLAS BLC/BLC BS 1CT X 750ML</c:v>
                  </c:pt>
                  <c:pt idx="7">
                    <c:v>CHAMPAGNE NICOLAS ROSE 1ERE CU 1CT X 750ML</c:v>
                  </c:pt>
                  <c:pt idx="8">
                    <c:v>CHAMPAGNE NICOLAS 1ER CRU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1E99C041-53B5-4741-9A9A-2558341291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83B7E829-501A-4E90-A4DE-DA249806E0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4C298A4-C54F-42C5-B64B-5F8FBCF852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D5D30F9-00A6-4432-B438-ACE07A57EB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0C14BFB4-1CC2-4BBA-A9DF-7DE46E9726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4C6E52DF-9A12-4F52-9489-F2CA1E6A4F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576D2047-BCF2-408E-9332-7BA5EB21EE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CE2E138-497D-41E3-93ED-923D913194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D14781AE-28D8-4168-BBE0-F5705758BD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697BF0AC-4601-43DE-8B2E-3349066587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D85C06D6-DE36-494F-980C-9BE5A13A94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66DA519A-2897-44D6-A32A-08C6BD109A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11FB8E35-C9CC-4B4B-B98B-44AD8BE308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5E6BA2EA-F925-484D-851B-1CD08F0D09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7D43A0D7-2116-4001-BD5E-BCD595D97D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D7F24B31-A489-4C13-86D5-E96201402E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7F847B52-BFCD-4C0A-B0DF-BA6AC6BC00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C8B361A8-9F52-4A43-B617-A937ACFDB7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CE670B5F-C5B6-4499-B5FB-C69DA7ABE7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7EFCE2CF-09A8-4403-8713-7579E1F8D9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96E1112E-82D6-4A52-B5B9-5736247761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C69070B2-BEE2-4CF4-99B6-0F105599D3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89F84897-EFD8-4A84-A189-8761072457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950FA328-74FE-4551-8A9B-112EE6AC25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0027F0FC-BC70-45C0-8B6F-1A7BD3AFCF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CF5FA097-3282-41C0-BD09-0AA4B02851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42CCE4B2-C063-4D63-8782-6008931D87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7EAA8BAE-ABDF-4E8D-A0C0-29CB149C62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8A60382E-DE3B-4760-8CDC-E3AA1E3EA6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1E965C7A-4121-4BAC-A0F7-3814F67575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EF407EE6-28A3-4A4C-8FBE-0AF5A53A18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345BC40E-131B-431B-B2F4-DA35BBEDC4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FEE3D2A5-6815-4D0D-837D-6723183DCA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343B7CAC-8AD1-418F-B9D1-0D6948D3EC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CBCBFF3C-8DB6-4083-966B-86D286C6F7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43195FEC-85BF-4CBA-BF07-ED0FAEA589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DDCA2892-6C63-4822-B4E7-BAE44BCB68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E5DBFF8B-EB5F-4CB3-9C85-0DBA249D99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46880682-FA5F-4597-878F-F9F95C69A9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3606C116-BBBA-49F0-81BB-F2639DA642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CCA0DA4B-9523-4371-932A-1F6FA39240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D9341252-4636-451F-8E18-353F1F432F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E630B6CD-84A6-46A6-AE7C-860252C231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C73132C4-0D1A-47A8-BDA4-333546EC75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561CF3A5-F71D-4605-A477-51019B871F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EF7F9E2D-5F06-4A32-ACFF-4A41DFF6BC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FB624EE6-21EB-466C-AA55-54F7DE82F0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0DE29A63-FC7D-4DF7-B2D6-8CFF2EBCFC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0FCA6B03-1E46-47E9-94B8-B7244984D6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3A2BE1A7-1AAC-49ED-96E4-6F4564BBD9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4D55B42C-D992-491D-BDB1-8F1D970F01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3F9A6058-C25A-4822-9DEA-64915B3A46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CB9C5180-4140-4180-9351-216E54A539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5A317731-4567-4424-B3FD-4A46C5171D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CBD70A4E-5457-4578-965A-1388A0AC48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489BEEF9-62F3-442F-B82C-D9E764DD00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22ACCD10-5A6D-4206-974D-F3A99529C8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9.3700000000000006E-2</c:v>
                </c:pt>
                <c:pt idx="1">
                  <c:v>2.0000000000000001E-4</c:v>
                </c:pt>
                <c:pt idx="2">
                  <c:v>-2.8000000000000001E-2</c:v>
                </c:pt>
                <c:pt idx="3">
                  <c:v>5.3699999999999998E-2</c:v>
                </c:pt>
                <c:pt idx="4">
                  <c:v>4.4499999999999998E-2</c:v>
                </c:pt>
                <c:pt idx="5">
                  <c:v>4.02E-2</c:v>
                </c:pt>
                <c:pt idx="6">
                  <c:v>6.1899999999999997E-2</c:v>
                </c:pt>
                <c:pt idx="7">
                  <c:v>1.84E-2</c:v>
                </c:pt>
                <c:pt idx="8">
                  <c:v>9.8900000000000002E-2</c:v>
                </c:pt>
                <c:pt idx="9">
                  <c:v>0.14449999999999999</c:v>
                </c:pt>
              </c:numCache>
            </c:numRef>
          </c:xVal>
          <c:yVal>
            <c:numRef>
              <c:f>Sheet1!$B$2:$B$11</c:f>
              <c:numCache>
                <c:formatCode>General</c:formatCode>
                <c:ptCount val="10"/>
                <c:pt idx="0">
                  <c:v>0.52470000000000006</c:v>
                </c:pt>
                <c:pt idx="1">
                  <c:v>0.28439999999999999</c:v>
                </c:pt>
                <c:pt idx="2">
                  <c:v>0.25650000000000001</c:v>
                </c:pt>
                <c:pt idx="3">
                  <c:v>0.45150000000000001</c:v>
                </c:pt>
                <c:pt idx="4">
                  <c:v>0.44919999999999999</c:v>
                </c:pt>
                <c:pt idx="5">
                  <c:v>0.45829999999999999</c:v>
                </c:pt>
                <c:pt idx="6">
                  <c:v>0.50839999999999996</c:v>
                </c:pt>
                <c:pt idx="7">
                  <c:v>0.21179999999999999</c:v>
                </c:pt>
                <c:pt idx="8">
                  <c:v>0.45240000000000002</c:v>
                </c:pt>
                <c:pt idx="9">
                  <c:v>0.48170000000000002</c:v>
                </c:pt>
              </c:numCache>
            </c:numRef>
          </c:yVal>
          <c:bubbleSize>
            <c:numRef>
              <c:f>Sheet1!$C$2:$C$11</c:f>
              <c:numCache>
                <c:formatCode>General</c:formatCode>
                <c:ptCount val="10"/>
                <c:pt idx="0">
                  <c:v>56.647058823529413</c:v>
                </c:pt>
                <c:pt idx="1">
                  <c:v>69.28125</c:v>
                </c:pt>
                <c:pt idx="2">
                  <c:v>197.51351351351349</c:v>
                </c:pt>
                <c:pt idx="3">
                  <c:v>54.000000000000007</c:v>
                </c:pt>
                <c:pt idx="4">
                  <c:v>88.074074074074076</c:v>
                </c:pt>
                <c:pt idx="5">
                  <c:v>55.523809523809533</c:v>
                </c:pt>
                <c:pt idx="6">
                  <c:v>35.32</c:v>
                </c:pt>
                <c:pt idx="7">
                  <c:v>1057.96</c:v>
                </c:pt>
                <c:pt idx="8">
                  <c:v>192.4651162790698</c:v>
                </c:pt>
                <c:pt idx="9">
                  <c:v>56.44</c:v>
                </c:pt>
              </c:numCache>
            </c:numRef>
          </c:bubbleSize>
          <c:bubble3D val="0"/>
          <c:extLst>
            <c:ext xmlns:c15="http://schemas.microsoft.com/office/drawing/2012/chart" uri="{02D57815-91ED-43cb-92C2-25804820EDAC}">
              <c15:datalabelsRange>
                <c15:f>Sheet1!$E$2:$E$58</c15:f>
                <c15:dlblRangeCache>
                  <c:ptCount val="57"/>
                  <c:pt idx="0">
                    <c:v>1/2 CHAMP NICOLAS ROSE 1E C BS 1CT X 375ML</c:v>
                  </c:pt>
                  <c:pt idx="1">
                    <c:v>MG CHAMPAGNE E.NICOLAS BRUT 1CT X 1500ML</c:v>
                  </c:pt>
                  <c:pt idx="2">
                    <c:v>CHAMPAGNE E.NICOLAS ROSE 1CT X 750ML</c:v>
                  </c:pt>
                  <c:pt idx="3">
                    <c:v>CHAMPAGNE NICOLAS 1ERE CUVEE 1CT X 750ML</c:v>
                  </c:pt>
                  <c:pt idx="4">
                    <c:v>CHAMPAGNE NICOLAS BIO NAT 2017 1CT X 750ML</c:v>
                  </c:pt>
                  <c:pt idx="5">
                    <c:v>CHAMPAGNE NICOLAS BLC DE NOIRS 1CT X 750ML</c:v>
                  </c:pt>
                  <c:pt idx="6">
                    <c:v>1/2 CHAMPAGNE NICOLAS 1ERE CUV 1CT X 375ML</c:v>
                  </c:pt>
                  <c:pt idx="7">
                    <c:v>CHAMPAGNE E.NICOLAS BRUT 1CT X 750ML</c:v>
                  </c:pt>
                  <c:pt idx="8">
                    <c:v>CHAMPAGNE NICOLAS BLC/BLC BS 1CT X 750ML</c:v>
                  </c:pt>
                  <c:pt idx="9">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3FEFF1F6-72D8-49E3-BE73-DB23F0370C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0A682FEF-9384-4558-9AA7-C2234E8E75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A0CFC0D-7071-4021-81BB-FD4E0035EE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4ACC433-A2A3-4E34-9D88-375BDFC48A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2B4CF2E3-BF91-43F6-9C19-8B0A0193DB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2209A929-0238-48D7-9936-0746D8D974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DE163A06-539D-4BC9-AD93-F2977F7C1D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E28C433-C520-49A5-9E10-DE558B6232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A27175B-3C5E-41FF-B740-F8A008C6D6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41B64A54-861B-4BC1-873A-1659A9736B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FF483B08-9D8C-4EE0-91CA-F17FA2CBD6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BA795F9-E687-4ACA-BD09-DF4C46C180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8061780C-394C-4076-A5BC-0806F0D350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E3FEECC6-3D3F-4FD9-BCB0-EAF702C7F8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5C12B294-0DFE-462A-87C6-5C41058506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D2F53DA6-6808-4348-ABFB-1BC498A4B9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359B038B-B208-4148-8A14-4BCD654D1D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C0F8B159-E380-4CAD-A945-C2E58BF6EF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DF704A42-7D23-4505-8DB9-415521B1F0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29F06D2B-424B-4568-8E31-AA7C918894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69B485E2-BE57-4D0B-AB5A-E656D757AA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4B55A058-1E3A-4C29-B6B4-5AE3502CF7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AC8ABFF8-F5BA-48C1-8903-D61A8F9A10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05EAE98D-C204-4CEB-A28D-A9A821211F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D006F7EA-1B70-4DA9-B596-ACF4EB6229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3592504C-5C76-4450-99CC-DEE92FA421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33F9235C-C451-4798-8D6F-FAB08D1F06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EFB53A22-8EC5-4977-80D5-9D5311CDEB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7368E18C-6B48-4B0D-BCCB-93CC40730A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C33E788A-D4A5-4950-B1ED-93C1A6A423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B838011B-B5FD-4A69-8707-2202F7E8DE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1DC2FC37-3D06-4457-B770-1E8BC5FAB3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67A9D02B-A8B2-49FB-BE2E-59FDC34F4A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E475207A-EE9C-4354-BB5F-B189DFB67C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334B9C6D-D98E-4DA7-ACB2-C7BBE327B8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BD365703-A2A0-46D2-923F-BEB4228C9A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7963C8CF-16A3-4950-84E6-627C2A8EE0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50C2D2CC-C13C-400B-985A-B857A677FA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4F78BDA3-F036-43A2-8D7F-4AF76535BD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02638275-42BF-482C-B958-21A24A21E6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3AD1C007-E9E5-4F9B-B5EC-56234585EF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244D3B7D-1EF3-4FC4-85EB-AA96B11252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0C99E773-FC30-4728-A905-9ED1C09426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905BF119-0286-4AD8-BD22-3B507314B2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48D19EE1-AF16-4F8A-AFBC-58B8187A56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6AE14EB2-7222-44F1-8DA7-6580734F2C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1490554A-4065-4966-9707-5CE1EDC048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0FACD21F-5A47-48AC-9B53-EEDD91EB33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9D0584F2-66FE-4122-AC16-94D5BED4AA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31ADA2BC-B2C3-4F54-8073-96DF647123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C9F920F9-2CFB-4551-AF25-13ED630AEA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5795C4F4-CFEB-4506-8F77-6A5E97396A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931B00A9-C701-410A-8DC4-96A5EC978F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51F59363-0950-404E-BD5C-E8B6364FC5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3725D282-C89D-4176-A3A7-1465C9C2FA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761AB2BD-D80C-478D-B524-A84849A8F0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5903A3CE-45A5-47B5-A1A5-58292F080B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1</c:f>
              <c:numCache>
                <c:formatCode>General</c:formatCode>
                <c:ptCount val="20"/>
                <c:pt idx="0">
                  <c:v>9.0800000000000006E-2</c:v>
                </c:pt>
                <c:pt idx="1">
                  <c:v>8.2600000000000007E-2</c:v>
                </c:pt>
                <c:pt idx="2">
                  <c:v>9.3299999999999994E-2</c:v>
                </c:pt>
                <c:pt idx="3">
                  <c:v>1.52E-2</c:v>
                </c:pt>
                <c:pt idx="4">
                  <c:v>2.0999999999999999E-3</c:v>
                </c:pt>
                <c:pt idx="5">
                  <c:v>-2.2700000000000001E-2</c:v>
                </c:pt>
                <c:pt idx="6">
                  <c:v>0.1225</c:v>
                </c:pt>
                <c:pt idx="7">
                  <c:v>8.8999999999999999E-3</c:v>
                </c:pt>
                <c:pt idx="8">
                  <c:v>6.2399999999999997E-2</c:v>
                </c:pt>
                <c:pt idx="9">
                  <c:v>7.9799999999999996E-2</c:v>
                </c:pt>
                <c:pt idx="10">
                  <c:v>0.1055</c:v>
                </c:pt>
                <c:pt idx="11">
                  <c:v>3.2399999999999998E-2</c:v>
                </c:pt>
                <c:pt idx="12">
                  <c:v>4.3900000000000002E-2</c:v>
                </c:pt>
                <c:pt idx="13">
                  <c:v>8.6699999999999999E-2</c:v>
                </c:pt>
                <c:pt idx="14">
                  <c:v>0.1168</c:v>
                </c:pt>
                <c:pt idx="15">
                  <c:v>5.16E-2</c:v>
                </c:pt>
                <c:pt idx="16">
                  <c:v>0.13689999999999999</c:v>
                </c:pt>
                <c:pt idx="17">
                  <c:v>3.2800000000000003E-2</c:v>
                </c:pt>
                <c:pt idx="18">
                  <c:v>5.0799999999999998E-2</c:v>
                </c:pt>
                <c:pt idx="19">
                  <c:v>7.0499999999999993E-2</c:v>
                </c:pt>
              </c:numCache>
            </c:numRef>
          </c:xVal>
          <c:yVal>
            <c:numRef>
              <c:f>Sheet1!$B$2:$B$21</c:f>
              <c:numCache>
                <c:formatCode>General</c:formatCode>
                <c:ptCount val="20"/>
                <c:pt idx="0">
                  <c:v>0.50860000000000005</c:v>
                </c:pt>
                <c:pt idx="1">
                  <c:v>0.52200000000000002</c:v>
                </c:pt>
                <c:pt idx="2">
                  <c:v>0.48499999999999999</c:v>
                </c:pt>
                <c:pt idx="3">
                  <c:v>0.28399999999999997</c:v>
                </c:pt>
                <c:pt idx="4">
                  <c:v>0.25659999999999999</c:v>
                </c:pt>
                <c:pt idx="5">
                  <c:v>0.45140000000000002</c:v>
                </c:pt>
                <c:pt idx="6">
                  <c:v>0.45279999999999998</c:v>
                </c:pt>
                <c:pt idx="7">
                  <c:v>0.44919999999999999</c:v>
                </c:pt>
                <c:pt idx="8">
                  <c:v>0.44619999999999999</c:v>
                </c:pt>
                <c:pt idx="9">
                  <c:v>0.4839</c:v>
                </c:pt>
                <c:pt idx="10">
                  <c:v>0.46800000000000003</c:v>
                </c:pt>
                <c:pt idx="11">
                  <c:v>0.50990000000000002</c:v>
                </c:pt>
                <c:pt idx="12">
                  <c:v>0.21199999999999999</c:v>
                </c:pt>
                <c:pt idx="13">
                  <c:v>0.45129999999999998</c:v>
                </c:pt>
                <c:pt idx="14">
                  <c:v>0.4556</c:v>
                </c:pt>
                <c:pt idx="15">
                  <c:v>0.48309999999999997</c:v>
                </c:pt>
                <c:pt idx="16">
                  <c:v>0.45279999999999998</c:v>
                </c:pt>
                <c:pt idx="17">
                  <c:v>0.45479999999999998</c:v>
                </c:pt>
                <c:pt idx="18">
                  <c:v>0.43819999999999998</c:v>
                </c:pt>
                <c:pt idx="19">
                  <c:v>0.44890000000000002</c:v>
                </c:pt>
              </c:numCache>
            </c:numRef>
          </c:yVal>
          <c:bubbleSize>
            <c:numRef>
              <c:f>Sheet1!$C$2:$C$21</c:f>
              <c:numCache>
                <c:formatCode>General</c:formatCode>
                <c:ptCount val="20"/>
                <c:pt idx="0">
                  <c:v>653.5333333333333</c:v>
                </c:pt>
                <c:pt idx="1">
                  <c:v>442.88888888888891</c:v>
                </c:pt>
                <c:pt idx="2">
                  <c:v>1009.75</c:v>
                </c:pt>
                <c:pt idx="3">
                  <c:v>1152.0666666666671</c:v>
                </c:pt>
                <c:pt idx="4">
                  <c:v>999.24528301886789</c:v>
                </c:pt>
                <c:pt idx="5">
                  <c:v>714.12903225806451</c:v>
                </c:pt>
                <c:pt idx="6">
                  <c:v>1150.333333333333</c:v>
                </c:pt>
                <c:pt idx="7">
                  <c:v>745.88888888888891</c:v>
                </c:pt>
                <c:pt idx="8">
                  <c:v>474.61538461538458</c:v>
                </c:pt>
                <c:pt idx="9">
                  <c:v>249</c:v>
                </c:pt>
                <c:pt idx="10">
                  <c:v>628</c:v>
                </c:pt>
                <c:pt idx="11">
                  <c:v>760.28</c:v>
                </c:pt>
                <c:pt idx="12">
                  <c:v>7373.9494949494947</c:v>
                </c:pt>
                <c:pt idx="13">
                  <c:v>1265.294117647059</c:v>
                </c:pt>
                <c:pt idx="14">
                  <c:v>1255.666666666667</c:v>
                </c:pt>
                <c:pt idx="15">
                  <c:v>494.53571428571422</c:v>
                </c:pt>
                <c:pt idx="16">
                  <c:v>556.33333333333337</c:v>
                </c:pt>
                <c:pt idx="17">
                  <c:v>297.49999999999989</c:v>
                </c:pt>
                <c:pt idx="18">
                  <c:v>254.6</c:v>
                </c:pt>
                <c:pt idx="19">
                  <c:v>535</c:v>
                </c:pt>
              </c:numCache>
            </c:numRef>
          </c:bubbleSize>
          <c:bubble3D val="0"/>
          <c:extLst>
            <c:ext xmlns:c15="http://schemas.microsoft.com/office/drawing/2012/chart" uri="{02D57815-91ED-43cb-92C2-25804820EDAC}">
              <c15:datalabelsRange>
                <c15:f>Sheet1!$E$2:$E$58</c15:f>
                <c15:dlblRangeCache>
                  <c:ptCount val="57"/>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1/2 CHAMPAGNE NICOLAS 1ERE CUV 1CT X 375ML</c:v>
                  </c:pt>
                  <c:pt idx="12">
                    <c:v>CHAMPAGNE E.NICOLAS BRUT 1CT X 750ML</c:v>
                  </c:pt>
                  <c:pt idx="13">
                    <c:v>CHAMPAGNE NICOLAS BLC/BLC BS 1CT X 750ML</c:v>
                  </c:pt>
                  <c:pt idx="14">
                    <c:v>CHAMPAGNE NICOLAS BLC/BLC 2002 1CT X 750ML</c:v>
                  </c:pt>
                  <c:pt idx="15">
                    <c:v>CHAMPAGNE NICOLAS ROSE 1ERE CU 1CT X 750ML</c:v>
                  </c:pt>
                  <c:pt idx="16">
                    <c:v>MG CHAMPAGNE NICOLAS 1E CRU BS 1CT X 1500ML</c:v>
                  </c:pt>
                  <c:pt idx="17">
                    <c:v>CHAMPAGNE NICOLAS 1ER CRU BS 1CT X 750ML</c:v>
                  </c:pt>
                  <c:pt idx="18">
                    <c:v>CHAMPAGNE NICOLAS 1ERE CUV ETU 1CT X 750ML</c:v>
                  </c:pt>
                  <c:pt idx="19">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473B87CC-FD5D-4092-B87D-B39C6C9DC3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C249D896-7AC8-468E-9784-5C5A0FD641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A5BC764-EF98-4067-AD39-38D8662915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B9D92F8-030F-45F5-B181-4344388DF5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B71DBA38-95B8-40DA-88C3-3FB6F0CBA1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60ABAE7E-6AF4-430F-B3F6-927BA17141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4CE793DB-6824-4861-B403-D3994E798B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DA7B30E-5DDB-4E97-991D-F9C4459D7A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4935882B-0CC8-4F4C-8B6A-5E682CC2B4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1C3F991D-2ECA-402C-8FAC-29910A97CE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D3ECAC18-4DCC-4751-B812-42F7786FF0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DA353F3-2FE7-4131-8F3B-13637C78F7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ABB952B5-D948-4E9C-9B59-B39464427A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19847227-FC7E-4B1D-B03F-B5FF453E42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C45B9462-5CD3-4AEB-ADEB-37C98B70B3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00FDEDF9-36ED-414E-87BF-8A6BDFFC1E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44FCA1F1-BB31-43A6-87C6-E85200765D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8C77264E-F3B1-45FA-86F6-6FA67D384B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B6BBC63A-8024-4C40-AD1E-4B09F61082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B0C97AA0-751C-4FC7-951A-E657F94312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4F4AFC34-5CD6-4FD2-B49A-916D2CE648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D5B28940-4191-4A39-A6F2-04BC674359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5371B405-ED49-4822-A922-18D7A3B9BE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F54D640F-8425-4668-A50D-99762C0542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C70E714B-EDCB-4823-8A4B-FAE6CCFF09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7D80F1FC-E347-4696-A7DC-244F4AE6AD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2F79F58C-99E5-42B7-ADA1-4FCE57AB83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49425B69-3CFD-4E16-9359-595D4E6178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C469C49C-306D-42F1-870C-726D283BBC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9CCF4246-7BD7-4A0A-AE39-C44A18B19F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5017CE5D-DBEC-4842-B8B6-27DE9E7E0A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947D83B3-3A2A-459A-8505-7F613DB6A6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83D216A3-E53F-46F8-8CE6-3555DC0CE7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AC5F2492-FCA1-42F3-92AE-8DC6C2F94A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EAAAD712-9F77-4DCE-91DF-6FB87EC975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D7752265-C8FF-4DFE-A14B-F7BDEC87DB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A9A0F059-5A22-4AB4-8439-393C26ED1B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3DCF48D8-3FED-4088-B489-97F2A8B58A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2FCDC9A3-4369-40F4-8410-6628B7E162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5692955B-3D66-420D-9AA7-7A891F1EE0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AF552C9F-61FE-4552-A0CB-D74C21E639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D4A13CF0-C12D-403F-B7AA-3FEC658DFB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5C5EA903-4F42-43E4-9BBB-4EBE66A0FE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26201F51-911F-4968-A99A-F681B2BE20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D3A118C0-57C0-4EDD-9E5F-9C46203759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58F849F3-EAC0-475A-A59E-2925397178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67721DF5-269F-4104-BED8-EC9CB09C60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0693007A-3EEB-4636-ABC8-F7D59F23A0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DCEBDF43-5DD9-47C3-ADC8-3454AAD8DC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2AA793A7-B8D0-4180-B4CE-00ECAC0204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33CC0311-AFAB-456C-9382-8BE9516E69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51B39C22-ACA4-4D3C-926E-D0A7047702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6F37A081-9338-4D30-89CC-4F35715E35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28A47B6E-A452-4245-B470-25EB24F523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8658C9C0-FF68-46DB-8DB5-01A103980B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5193023E-D257-4D84-B202-F9C5894AFD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A2CFCE67-E42B-4665-A100-D941A7383B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8</c:f>
              <c:numCache>
                <c:formatCode>General</c:formatCode>
                <c:ptCount val="17"/>
                <c:pt idx="0">
                  <c:v>8.2100000000000006E-2</c:v>
                </c:pt>
                <c:pt idx="1">
                  <c:v>7.2700000000000001E-2</c:v>
                </c:pt>
                <c:pt idx="2">
                  <c:v>8.3199999999999996E-2</c:v>
                </c:pt>
                <c:pt idx="3">
                  <c:v>2.5000000000000001E-3</c:v>
                </c:pt>
                <c:pt idx="4">
                  <c:v>-3.8999999999999998E-3</c:v>
                </c:pt>
                <c:pt idx="5">
                  <c:v>-2.7699999999999999E-2</c:v>
                </c:pt>
                <c:pt idx="6">
                  <c:v>0.1125</c:v>
                </c:pt>
                <c:pt idx="7">
                  <c:v>3.0999999999999999E-3</c:v>
                </c:pt>
                <c:pt idx="8">
                  <c:v>3.3000000000000002E-2</c:v>
                </c:pt>
                <c:pt idx="9">
                  <c:v>0.1081</c:v>
                </c:pt>
                <c:pt idx="10">
                  <c:v>2.9000000000000001E-2</c:v>
                </c:pt>
                <c:pt idx="11">
                  <c:v>3.8600000000000002E-2</c:v>
                </c:pt>
                <c:pt idx="12">
                  <c:v>8.1100000000000005E-2</c:v>
                </c:pt>
                <c:pt idx="13">
                  <c:v>7.0199999999999999E-2</c:v>
                </c:pt>
                <c:pt idx="14">
                  <c:v>3.2800000000000003E-2</c:v>
                </c:pt>
                <c:pt idx="15">
                  <c:v>4.2099999999999999E-2</c:v>
                </c:pt>
                <c:pt idx="16">
                  <c:v>8.5000000000000006E-2</c:v>
                </c:pt>
              </c:numCache>
            </c:numRef>
          </c:xVal>
          <c:yVal>
            <c:numRef>
              <c:f>Sheet1!$B$2:$B$18</c:f>
              <c:numCache>
                <c:formatCode>General</c:formatCode>
                <c:ptCount val="17"/>
                <c:pt idx="0">
                  <c:v>0.50860000000000005</c:v>
                </c:pt>
                <c:pt idx="1">
                  <c:v>0.52210000000000001</c:v>
                </c:pt>
                <c:pt idx="2">
                  <c:v>0.48159999999999997</c:v>
                </c:pt>
                <c:pt idx="3">
                  <c:v>0.2843</c:v>
                </c:pt>
                <c:pt idx="4">
                  <c:v>0.25659999999999999</c:v>
                </c:pt>
                <c:pt idx="5">
                  <c:v>0.45100000000000001</c:v>
                </c:pt>
                <c:pt idx="6">
                  <c:v>0.45279999999999998</c:v>
                </c:pt>
                <c:pt idx="7">
                  <c:v>0.44919999999999999</c:v>
                </c:pt>
                <c:pt idx="8">
                  <c:v>0.44850000000000001</c:v>
                </c:pt>
                <c:pt idx="9">
                  <c:v>0.46260000000000001</c:v>
                </c:pt>
                <c:pt idx="10">
                  <c:v>0.51259999999999994</c:v>
                </c:pt>
                <c:pt idx="11">
                  <c:v>0.21190000000000001</c:v>
                </c:pt>
                <c:pt idx="12">
                  <c:v>0.45079999999999998</c:v>
                </c:pt>
                <c:pt idx="13">
                  <c:v>0.43940000000000001</c:v>
                </c:pt>
                <c:pt idx="14">
                  <c:v>0.47860000000000003</c:v>
                </c:pt>
                <c:pt idx="15">
                  <c:v>0.46010000000000001</c:v>
                </c:pt>
                <c:pt idx="16">
                  <c:v>0.45</c:v>
                </c:pt>
              </c:numCache>
            </c:numRef>
          </c:yVal>
          <c:bubbleSize>
            <c:numRef>
              <c:f>Sheet1!$C$2:$C$18</c:f>
              <c:numCache>
                <c:formatCode>General</c:formatCode>
                <c:ptCount val="17"/>
                <c:pt idx="0">
                  <c:v>443.71428571428572</c:v>
                </c:pt>
                <c:pt idx="1">
                  <c:v>325.47619047619048</c:v>
                </c:pt>
                <c:pt idx="2">
                  <c:v>697.86956521739125</c:v>
                </c:pt>
                <c:pt idx="3">
                  <c:v>784.41176470588232</c:v>
                </c:pt>
                <c:pt idx="4">
                  <c:v>1000.931506849315</c:v>
                </c:pt>
                <c:pt idx="5">
                  <c:v>757.83333333333337</c:v>
                </c:pt>
                <c:pt idx="6">
                  <c:v>369.25</c:v>
                </c:pt>
                <c:pt idx="7">
                  <c:v>502.89285714285711</c:v>
                </c:pt>
                <c:pt idx="8">
                  <c:v>431.2</c:v>
                </c:pt>
                <c:pt idx="9">
                  <c:v>377.28571428571422</c:v>
                </c:pt>
                <c:pt idx="10">
                  <c:v>511.97674418604652</c:v>
                </c:pt>
                <c:pt idx="11">
                  <c:v>10463.09</c:v>
                </c:pt>
                <c:pt idx="12">
                  <c:v>1545.1</c:v>
                </c:pt>
                <c:pt idx="13">
                  <c:v>905.142857142857</c:v>
                </c:pt>
                <c:pt idx="14">
                  <c:v>364.28571428571428</c:v>
                </c:pt>
                <c:pt idx="15">
                  <c:v>148.58064516129031</c:v>
                </c:pt>
                <c:pt idx="16">
                  <c:v>207.47619047619051</c:v>
                </c:pt>
              </c:numCache>
            </c:numRef>
          </c:bubbleSize>
          <c:bubble3D val="0"/>
          <c:extLst>
            <c:ext xmlns:c15="http://schemas.microsoft.com/office/drawing/2012/chart" uri="{02D57815-91ED-43cb-92C2-25804820EDAC}">
              <c15:datalabelsRange>
                <c15:f>Sheet1!$E$2:$E$58</c15:f>
                <c15:dlblRangeCache>
                  <c:ptCount val="57"/>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RE ET 1CT X 750ML</c:v>
                  </c:pt>
                  <c:pt idx="10">
                    <c:v>1/2 CHAMPAGNE NICOLAS 1ERE CUV 1CT X 375ML</c:v>
                  </c:pt>
                  <c:pt idx="11">
                    <c:v>CHAMPAGNE E.NICOLAS BRUT 1CT X 750ML</c:v>
                  </c:pt>
                  <c:pt idx="12">
                    <c:v>CHAMPAGNE NICOLAS BLC/BLC BS 1CT X 750ML</c:v>
                  </c:pt>
                  <c:pt idx="13">
                    <c:v>CHAMPAGNE NICOLAS BLC/BLC 2002 1CT X 750ML</c:v>
                  </c:pt>
                  <c:pt idx="14">
                    <c:v>CHAMPAGNE NICOLAS ROSE 1ERE CU 1CT X 750ML</c:v>
                  </c:pt>
                  <c:pt idx="15">
                    <c:v>CHAMPAGNE NICOLAS 1ER CRU BS 1CT X 750ML</c:v>
                  </c:pt>
                  <c:pt idx="16">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659F6F62-802F-4480-8C4B-13B29F4CF5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D779107B-EB62-481A-9296-787461AC7F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B61C900-358E-4473-B32E-A41CDD01D7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A064959-D8BC-4C7D-AC94-7C5F9C9326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4E18D4A9-D4CC-41D3-97CB-330500C789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A8BDE6BF-63F3-4692-9BFA-3B429DB296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1B2AA604-2FD5-4CE2-ACB2-5BE0C350BE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DAE804A-65F7-4E2E-A69D-2F9AAA1696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78C6D7BC-F0BD-4832-A55B-D556B3E354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0855BD7B-999B-40CA-8270-EA5342E2E9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4497657E-90C8-4C78-9300-0FF7127A66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C79FA7E-F96D-4E6F-9CCB-9A49843D20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4C976FA1-9CBD-4057-9F0C-C560FBE95C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5B07630D-AA2C-4BFC-B498-DC3DA0FEAF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30D97ED2-B7FF-4803-9101-0F75A35940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5BAE9059-7BA8-49C0-BC4C-3E19251BED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F56AACD0-4AA8-4DF4-BD9A-04C8252E82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B9CAFC9D-B7F0-4F4F-9CD8-5E7F78E2AB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08B025A5-EBE2-49F9-AD26-9A14D3067E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D9735F50-8448-4070-9769-A31C1826BD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3353A341-6345-43FE-A7BE-392173D089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E33E5BFA-6763-4884-8784-9291B01EA2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1A2FDF06-DBDF-496A-BDD2-75D6313A9D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FC23273E-357F-4A7F-AE71-DF5B08EE0A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5A12372E-CB05-47B6-B30F-1C6A05001B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16B33729-FC5D-4C3E-83D9-6F0141A7F5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0B163D59-E878-4F95-9B9D-4B2D59E8E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58E7BB3E-8309-4A5C-9CED-33BAE1A7B8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E09FA694-068D-4AC4-81C2-E47D2D6649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F4D73585-0B05-4108-B1F6-29A9E7FC4A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58121AF4-E3D8-4C83-B209-B26BE5E93D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4C183438-C90F-4A9D-92A2-1133FD20E3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2949155D-8935-4C40-9704-6737F66E9E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FAF5DC5A-C0B8-4573-B6B5-3A407861AB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EDED4045-8B8A-49D4-9385-D431B4CEE7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E8B9AE0E-B236-4D99-8B6C-22F3FA6BB9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2AED51C3-3E38-4503-8927-4D7AB0A6C4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9D8D06A1-B367-464A-9CC6-1AA51D55CA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24476E4D-ABA0-4ED0-920D-2766EC5A28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DE8C11C1-1A13-430F-AFEE-B9A45EAC53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C79F9333-C4D4-48E8-87FD-F3F157D975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5FC94120-8D8B-495A-A1BE-A87B1AA1ED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9FFC3418-9B6E-4DAA-892B-F6C1DFA1AA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73301807-E93A-4760-8449-72C383F2A4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36762684-0DAA-43AB-B38E-B7193DAD72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CF586581-FC3F-4B12-B148-8D5E14CF76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C9E3E78A-CD74-4D84-A08C-77E0F1EB17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DC6AB568-9320-4E1F-8BF9-B742863329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6C180CAB-D0DB-455B-8FC6-37834F201B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226A2114-A1D2-4C4E-85CE-A3F6C7D410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9F593E52-7B66-418B-9DAD-FE84F11F22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088E0E68-916E-46F7-ABE3-109DD20114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0BE43162-334E-4E9A-AE1D-E115C634B4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13638363-F909-476B-AB53-0011044DAC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4145B506-F757-47CB-80EE-43E84CEA79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BAC12B4E-ABF1-4226-8CCF-78775DBE31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59127DC8-1FC3-473F-B4BE-E630FF7979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8</c:f>
              <c:numCache>
                <c:formatCode>General</c:formatCode>
                <c:ptCount val="17"/>
                <c:pt idx="0">
                  <c:v>9.3399999999999997E-2</c:v>
                </c:pt>
                <c:pt idx="1">
                  <c:v>8.6699999999999999E-2</c:v>
                </c:pt>
                <c:pt idx="2">
                  <c:v>0.1007</c:v>
                </c:pt>
                <c:pt idx="3">
                  <c:v>2.3599999999999999E-2</c:v>
                </c:pt>
                <c:pt idx="4">
                  <c:v>3.0999999999999999E-3</c:v>
                </c:pt>
                <c:pt idx="5">
                  <c:v>-3.0800000000000001E-2</c:v>
                </c:pt>
                <c:pt idx="6">
                  <c:v>0.1338</c:v>
                </c:pt>
                <c:pt idx="7">
                  <c:v>1.4200000000000001E-2</c:v>
                </c:pt>
                <c:pt idx="8">
                  <c:v>4.9299999999999997E-2</c:v>
                </c:pt>
                <c:pt idx="9">
                  <c:v>0.15390000000000001</c:v>
                </c:pt>
                <c:pt idx="10">
                  <c:v>3.2199999999999999E-2</c:v>
                </c:pt>
                <c:pt idx="11">
                  <c:v>3.95E-2</c:v>
                </c:pt>
                <c:pt idx="12">
                  <c:v>8.3299999999999999E-2</c:v>
                </c:pt>
                <c:pt idx="13">
                  <c:v>9.7799999999999998E-2</c:v>
                </c:pt>
                <c:pt idx="14">
                  <c:v>7.0400000000000004E-2</c:v>
                </c:pt>
                <c:pt idx="15">
                  <c:v>4.7899999999999998E-2</c:v>
                </c:pt>
                <c:pt idx="16">
                  <c:v>6.83E-2</c:v>
                </c:pt>
              </c:numCache>
            </c:numRef>
          </c:xVal>
          <c:yVal>
            <c:numRef>
              <c:f>Sheet1!$B$2:$B$18</c:f>
              <c:numCache>
                <c:formatCode>General</c:formatCode>
                <c:ptCount val="17"/>
                <c:pt idx="0">
                  <c:v>0.50860000000000005</c:v>
                </c:pt>
                <c:pt idx="1">
                  <c:v>0.52200000000000002</c:v>
                </c:pt>
                <c:pt idx="2">
                  <c:v>0.47920000000000001</c:v>
                </c:pt>
                <c:pt idx="3">
                  <c:v>0.28410000000000002</c:v>
                </c:pt>
                <c:pt idx="4">
                  <c:v>0.25619999999999998</c:v>
                </c:pt>
                <c:pt idx="5">
                  <c:v>0.45090000000000002</c:v>
                </c:pt>
                <c:pt idx="6">
                  <c:v>0.45279999999999998</c:v>
                </c:pt>
                <c:pt idx="7">
                  <c:v>0.44919999999999999</c:v>
                </c:pt>
                <c:pt idx="8">
                  <c:v>0.4456</c:v>
                </c:pt>
                <c:pt idx="9">
                  <c:v>0.45200000000000001</c:v>
                </c:pt>
                <c:pt idx="10">
                  <c:v>0.51119999999999999</c:v>
                </c:pt>
                <c:pt idx="11">
                  <c:v>0.21179999999999999</c:v>
                </c:pt>
                <c:pt idx="12">
                  <c:v>0.45100000000000001</c:v>
                </c:pt>
                <c:pt idx="13">
                  <c:v>0.42849999999999999</c:v>
                </c:pt>
                <c:pt idx="14">
                  <c:v>0.48180000000000001</c:v>
                </c:pt>
                <c:pt idx="15">
                  <c:v>0.45950000000000002</c:v>
                </c:pt>
                <c:pt idx="16">
                  <c:v>0.44940000000000002</c:v>
                </c:pt>
              </c:numCache>
            </c:numRef>
          </c:yVal>
          <c:bubbleSize>
            <c:numRef>
              <c:f>Sheet1!$C$2:$C$18</c:f>
              <c:numCache>
                <c:formatCode>General</c:formatCode>
                <c:ptCount val="17"/>
                <c:pt idx="0">
                  <c:v>226.33333333333329</c:v>
                </c:pt>
                <c:pt idx="1">
                  <c:v>210.625</c:v>
                </c:pt>
                <c:pt idx="2">
                  <c:v>456.84210526315792</c:v>
                </c:pt>
                <c:pt idx="3">
                  <c:v>461.28571428571428</c:v>
                </c:pt>
                <c:pt idx="4">
                  <c:v>516.91999999999996</c:v>
                </c:pt>
                <c:pt idx="5">
                  <c:v>361.03296703296701</c:v>
                </c:pt>
                <c:pt idx="6">
                  <c:v>409.58333333333331</c:v>
                </c:pt>
                <c:pt idx="7">
                  <c:v>378.90476190476193</c:v>
                </c:pt>
                <c:pt idx="8">
                  <c:v>256.38095238095241</c:v>
                </c:pt>
                <c:pt idx="9">
                  <c:v>176.1875</c:v>
                </c:pt>
                <c:pt idx="10">
                  <c:v>364.95555555555558</c:v>
                </c:pt>
                <c:pt idx="11">
                  <c:v>6289.38</c:v>
                </c:pt>
                <c:pt idx="12">
                  <c:v>791.89855072463763</c:v>
                </c:pt>
                <c:pt idx="13">
                  <c:v>578.6</c:v>
                </c:pt>
                <c:pt idx="14">
                  <c:v>272.1875</c:v>
                </c:pt>
                <c:pt idx="15">
                  <c:v>103.7045454545455</c:v>
                </c:pt>
                <c:pt idx="16">
                  <c:v>210.52173913043481</c:v>
                </c:pt>
              </c:numCache>
            </c:numRef>
          </c:bubbleSize>
          <c:bubble3D val="0"/>
          <c:extLst>
            <c:ext xmlns:c15="http://schemas.microsoft.com/office/drawing/2012/chart" uri="{02D57815-91ED-43cb-92C2-25804820EDAC}">
              <c15:datalabelsRange>
                <c15:f>Sheet1!$E$2:$E$58</c15:f>
                <c15:dlblRangeCache>
                  <c:ptCount val="57"/>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RE ET 1CT X 750ML</c:v>
                  </c:pt>
                  <c:pt idx="10">
                    <c:v>1/2 CHAMPAGNE NICOLAS 1ERE CUV 1CT X 375ML</c:v>
                  </c:pt>
                  <c:pt idx="11">
                    <c:v>CHAMPAGNE E.NICOLAS BRUT 1CT X 750ML</c:v>
                  </c:pt>
                  <c:pt idx="12">
                    <c:v>CHAMPAGNE NICOLAS BLC/BLC BS 1CT X 750ML</c:v>
                  </c:pt>
                  <c:pt idx="13">
                    <c:v>CHAMPAGNE NICOLAS BLC/BLC 2002 1CT X 750ML</c:v>
                  </c:pt>
                  <c:pt idx="14">
                    <c:v>CHAMPAGNE NICOLAS ROSE 1ERE CU 1CT X 750ML</c:v>
                  </c:pt>
                  <c:pt idx="15">
                    <c:v>CHAMPAGNE NICOLAS 1ER CRU BS 1CT X 750ML</c:v>
                  </c:pt>
                  <c:pt idx="16">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D706DA31-DD69-4480-8CF1-4BB212A38A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32DAFAC5-19DF-4E25-B013-FCFA4446A6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FAD45FD-81F9-4DC5-A46C-5A7BF14228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DB9736E-9B47-46C5-B929-539F5E4927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C01F50AF-193E-46FD-9E56-14E5D8B536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729116B7-BD02-499E-BB60-0123135060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EF641C34-AF7A-4145-BA70-D4A7DA6764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CE0117B-504B-4AEF-B8D8-28216DF7E5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265E7317-685C-434B-9CE3-2F424F46AE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8766CF85-F1BC-48A5-BC44-C6F147A79E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EE0D06FF-3975-4E4C-B9BE-004D5F3442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A6B7BA0-DEA0-4435-88B2-9003412680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48C5B855-FBE3-48EB-B2AE-C629C6BC23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B1013A8E-7594-42D7-BEF9-5F9269DBE4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D441638F-0076-419B-AA20-F4478DE384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4246CF73-D25A-44C9-84AD-ACA3E041E9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A817B9AE-B6E3-4E6B-ACA8-51AEF2743C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52EBFF54-DB0A-469D-8FC0-9F6DEEEE9A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0EAA6DB6-409D-4F70-ABD3-2AA20CDF69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C1A9F189-4DB0-4C99-8179-D83F461F43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BEE8C3FB-E3C3-401B-85AB-1690BF2971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19D3D8C8-4DE8-44BE-B732-B233888DDB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E4B468F0-5B23-4773-A796-21B44402E1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03BA928E-8F97-44FC-81CC-5983068721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6E3BEEA7-1DF5-4AA0-B35A-E6959B2562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BC563656-9027-4381-BE0A-5D58233607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4621C69C-5984-4D58-842E-139639BB25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76342B61-04A6-4460-A929-93CD0C47E1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DE174CDB-189D-44C2-8C48-C890239F27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A7AA70DF-A343-4FA6-93F2-0CD84CFBB6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3959F83B-007C-4D2F-B50E-1642D5AAD9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D4688A24-0687-4352-A76C-5351613CB8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8685FD89-4F8E-46EA-BDB8-8D72DC4DCA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0AC8576B-E6D6-41C7-941E-B500A04115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B48E10B4-447E-43B3-A942-1E120BB0B7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7E800E37-6E84-48D2-87BD-BDCE70ECF3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F0A12115-5764-4D92-BB69-6493894D6C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1FFE5B2D-2B94-4AC9-965C-A28606D13F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A2AD8E8C-74C7-4779-B909-F09001EEDE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6D71EF4E-BEC0-4EA5-92F4-F12FD06BE3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B321A905-F50D-4C3A-B28A-C0108A10D9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3BC34E3F-0EDA-4DA3-B46D-EFDA7D0EBB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E155F1F7-C443-477A-BADA-FCBEA523B0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EC39B197-D36E-4C47-A106-0D4CAAC7F5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04BBAEC5-BA9F-49EC-93A3-5727466E0F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77E74B15-EA63-43B7-ABE6-C01A4CBEE1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D644095B-448E-4634-AFCE-209D382304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C35A383F-EF52-4F17-829A-D3026579CB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649D55FD-2F05-4CDB-9FDC-EA56D7F5BB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D0C99D73-0A51-4187-9BB3-0BF0FD7C26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7A31E32A-B98B-4852-BBD7-3F82911027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6C501B3A-C290-45E9-95F5-154057B44F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A83CAFF8-F266-4411-9ED2-C603E61C56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D75BEE92-C5A8-4E3D-BAF2-BBC3AD2B6A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EE6D4670-4219-4E3B-AD6B-D942CBF372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C04181EE-7FB1-43E8-971F-EA8BF22D32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16B9DF92-DD19-4C58-A41C-1655BC9752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1</c:f>
              <c:numCache>
                <c:formatCode>General</c:formatCode>
                <c:ptCount val="20"/>
                <c:pt idx="0">
                  <c:v>8.5599999999999996E-2</c:v>
                </c:pt>
                <c:pt idx="1">
                  <c:v>8.3099999999999993E-2</c:v>
                </c:pt>
                <c:pt idx="2">
                  <c:v>8.14E-2</c:v>
                </c:pt>
                <c:pt idx="3">
                  <c:v>1.1900000000000001E-2</c:v>
                </c:pt>
                <c:pt idx="4">
                  <c:v>2.9999999999999997E-4</c:v>
                </c:pt>
                <c:pt idx="5">
                  <c:v>-2.1999999999999999E-2</c:v>
                </c:pt>
                <c:pt idx="6">
                  <c:v>0.122</c:v>
                </c:pt>
                <c:pt idx="7">
                  <c:v>1.0500000000000001E-2</c:v>
                </c:pt>
                <c:pt idx="8">
                  <c:v>5.5899999999999998E-2</c:v>
                </c:pt>
                <c:pt idx="9">
                  <c:v>0.13300000000000001</c:v>
                </c:pt>
                <c:pt idx="10">
                  <c:v>0.15110000000000001</c:v>
                </c:pt>
                <c:pt idx="11">
                  <c:v>3.4599999999999999E-2</c:v>
                </c:pt>
                <c:pt idx="12">
                  <c:v>4.2799999999999998E-2</c:v>
                </c:pt>
                <c:pt idx="13">
                  <c:v>8.4500000000000006E-2</c:v>
                </c:pt>
                <c:pt idx="14">
                  <c:v>9.9699999999999997E-2</c:v>
                </c:pt>
                <c:pt idx="15">
                  <c:v>5.4399999999999997E-2</c:v>
                </c:pt>
                <c:pt idx="16">
                  <c:v>0.1585</c:v>
                </c:pt>
                <c:pt idx="17">
                  <c:v>-1.43E-2</c:v>
                </c:pt>
                <c:pt idx="18">
                  <c:v>4.3299999999999998E-2</c:v>
                </c:pt>
                <c:pt idx="19">
                  <c:v>0.13100000000000001</c:v>
                </c:pt>
              </c:numCache>
            </c:numRef>
          </c:xVal>
          <c:yVal>
            <c:numRef>
              <c:f>Sheet1!$B$2:$B$21</c:f>
              <c:numCache>
                <c:formatCode>General</c:formatCode>
                <c:ptCount val="20"/>
                <c:pt idx="0">
                  <c:v>0.50860000000000005</c:v>
                </c:pt>
                <c:pt idx="1">
                  <c:v>0.52390000000000003</c:v>
                </c:pt>
                <c:pt idx="2">
                  <c:v>0.48349999999999999</c:v>
                </c:pt>
                <c:pt idx="3">
                  <c:v>0.28460000000000002</c:v>
                </c:pt>
                <c:pt idx="4">
                  <c:v>0.25650000000000001</c:v>
                </c:pt>
                <c:pt idx="5">
                  <c:v>0.45090000000000002</c:v>
                </c:pt>
                <c:pt idx="6">
                  <c:v>0.45279999999999998</c:v>
                </c:pt>
                <c:pt idx="7">
                  <c:v>0.44919999999999999</c:v>
                </c:pt>
                <c:pt idx="8">
                  <c:v>0.4486</c:v>
                </c:pt>
                <c:pt idx="9">
                  <c:v>0.4889</c:v>
                </c:pt>
                <c:pt idx="10">
                  <c:v>0.4491</c:v>
                </c:pt>
                <c:pt idx="11">
                  <c:v>0.5111</c:v>
                </c:pt>
                <c:pt idx="12">
                  <c:v>0.21179999999999999</c:v>
                </c:pt>
                <c:pt idx="13">
                  <c:v>0.45140000000000002</c:v>
                </c:pt>
                <c:pt idx="14">
                  <c:v>0.45100000000000001</c:v>
                </c:pt>
                <c:pt idx="15">
                  <c:v>0.4829</c:v>
                </c:pt>
                <c:pt idx="16">
                  <c:v>0.45279999999999998</c:v>
                </c:pt>
                <c:pt idx="17">
                  <c:v>0.45750000000000002</c:v>
                </c:pt>
                <c:pt idx="18">
                  <c:v>0.43819999999999998</c:v>
                </c:pt>
                <c:pt idx="19">
                  <c:v>0.45469999999999999</c:v>
                </c:pt>
              </c:numCache>
            </c:numRef>
          </c:yVal>
          <c:bubbleSize>
            <c:numRef>
              <c:f>Sheet1!$C$2:$C$21</c:f>
              <c:numCache>
                <c:formatCode>General</c:formatCode>
                <c:ptCount val="20"/>
                <c:pt idx="0">
                  <c:v>642</c:v>
                </c:pt>
                <c:pt idx="1">
                  <c:v>464.65</c:v>
                </c:pt>
                <c:pt idx="2">
                  <c:v>1263.2</c:v>
                </c:pt>
                <c:pt idx="3">
                  <c:v>1184</c:v>
                </c:pt>
                <c:pt idx="4">
                  <c:v>1188.088888888889</c:v>
                </c:pt>
                <c:pt idx="5">
                  <c:v>658.12727272727261</c:v>
                </c:pt>
                <c:pt idx="6">
                  <c:v>1187.833333333333</c:v>
                </c:pt>
                <c:pt idx="7">
                  <c:v>1202.5999999999999</c:v>
                </c:pt>
                <c:pt idx="8">
                  <c:v>783.42857142857133</c:v>
                </c:pt>
                <c:pt idx="9">
                  <c:v>839.75</c:v>
                </c:pt>
                <c:pt idx="10">
                  <c:v>818.25</c:v>
                </c:pt>
                <c:pt idx="11">
                  <c:v>800.18181818181813</c:v>
                </c:pt>
                <c:pt idx="12">
                  <c:v>7707.4123711340208</c:v>
                </c:pt>
                <c:pt idx="13">
                  <c:v>2260.5294117647059</c:v>
                </c:pt>
                <c:pt idx="14">
                  <c:v>790.33333333333337</c:v>
                </c:pt>
                <c:pt idx="15">
                  <c:v>480.29411764705878</c:v>
                </c:pt>
                <c:pt idx="16">
                  <c:v>663.75</c:v>
                </c:pt>
                <c:pt idx="17">
                  <c:v>357.30232558139528</c:v>
                </c:pt>
                <c:pt idx="18">
                  <c:v>383.23076923076923</c:v>
                </c:pt>
                <c:pt idx="19">
                  <c:v>832.5</c:v>
                </c:pt>
              </c:numCache>
            </c:numRef>
          </c:bubbleSize>
          <c:bubble3D val="0"/>
          <c:extLst>
            <c:ext xmlns:c15="http://schemas.microsoft.com/office/drawing/2012/chart" uri="{02D57815-91ED-43cb-92C2-25804820EDAC}">
              <c15:datalabelsRange>
                <c15:f>Sheet1!$E$2:$E$58</c15:f>
                <c15:dlblRangeCache>
                  <c:ptCount val="57"/>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BLC/BL BS ET 1CT X 750ML</c:v>
                  </c:pt>
                  <c:pt idx="11">
                    <c:v>1/2 CHAMPAGNE NICOLAS 1ERE CUV 1CT X 375ML</c:v>
                  </c:pt>
                  <c:pt idx="12">
                    <c:v>CHAMPAGNE E.NICOLAS BRUT 1CT X 750ML</c:v>
                  </c:pt>
                  <c:pt idx="13">
                    <c:v>CHAMPAGNE NICOLAS BLC/BLC BS 1CT X 750ML</c:v>
                  </c:pt>
                  <c:pt idx="14">
                    <c:v>CHAMPAGNE NICOLAS BLC/BLC 2002 1CT X 750ML</c:v>
                  </c:pt>
                  <c:pt idx="15">
                    <c:v>CHAMPAGNE NICOLAS ROSE 1ERE CU 1CT X 750ML</c:v>
                  </c:pt>
                  <c:pt idx="16">
                    <c:v>MG CHAMPAGNE NICOLAS 1E CRU BS 1CT X 1500ML</c:v>
                  </c:pt>
                  <c:pt idx="17">
                    <c:v>CHAMPAGNE NICOLAS 1ER CRU BS 1CT X 750ML</c:v>
                  </c:pt>
                  <c:pt idx="18">
                    <c:v>CHAMPAGNE NICOLAS 1ERE CUV ETU 1CT X 750ML</c:v>
                  </c:pt>
                  <c:pt idx="19">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8E4039FD-D0AB-4DC6-B60D-46619B8184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2274883C-81A8-49B6-8A6F-0BD1F73FB9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C906A84-2F4E-4F2E-8566-3798C8207C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80F5F65-2944-4F1B-AE86-7E7D999D25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C5B2E9D3-0025-4913-A36A-11080D6A0E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05C37DAF-5235-47B9-9E2B-92A7B8696C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99B05A33-D071-4FAD-995F-C217137FB3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0410123-2FDD-448F-95A6-3E00D73B97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1FBEADCD-D014-47C1-9E22-9687D59AD9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C6F16046-6141-4B29-837D-DEE03E83E6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37F869E7-5861-4564-9F91-745871B593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3BFA40E-BA01-44BA-9025-96FA3F0A7B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5439CE28-FB1A-482E-8338-B583B7C9DF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71AD306E-18F0-4ED9-881B-41331DCDC5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1A556F90-1F95-4A4D-9A1B-7C6417160D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1FA35F90-4042-4EA3-987D-04FA3B9201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B1F21953-6F0D-4811-BF8F-24C2EB922B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4C7D6A49-F725-4E5B-9337-7F865D99B0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4AA638F0-ED97-41E0-8814-CCA2F604F4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55936E56-F9B3-4258-A3BA-4B2B115417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68953490-F824-4AB3-9713-E771AAD903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07496418-EF87-4237-BCF7-3834F68F50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7A28176C-83E4-443B-97C4-4F856AAB5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44B6A5C2-5299-45DB-88AA-DD76BA86F0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C3BC65F2-85B3-43F7-B3BB-A7036D84BC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872BB275-306B-49B7-91E4-2B807F2394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5DE48FC9-4005-4509-9EA6-C2BBA255FA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95C07F1C-2AC7-45E8-A7CE-67BA072EA3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55ACD0E4-8ECE-4C5A-84EE-7D0CEE191F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D5BB7973-72D5-40F4-8CC6-65BE9D601B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B359A1A5-3D6C-4070-96A4-509BEFF2EE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37113AEA-C97C-426D-8193-2358E0B1F0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ED29D55D-E265-48FF-B197-DC7566D87E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38CB5A76-17CD-4366-A3E5-1C2437ADB7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EF5DD22F-2714-4DD1-935C-02116E424B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DF1DD66D-5702-4036-8B55-09DE8CFC06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5CE7F2A4-D66D-4D0F-92E1-7972148A98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D56651C4-7ECB-4525-BFC4-AF23557B0D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7FCB810C-A61E-4F50-93ED-957DC39C1A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06F465DC-9769-4424-A48D-35F3CF78D9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13D3BA55-0D51-42E5-9778-D62925F07C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ED5C5646-152C-455F-AF41-39508A8A48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DBB3466A-964C-4815-9C0C-47303F39E3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0354F70E-AE7C-4A18-A135-5E2E316677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F24C5D06-B7E2-4B7F-A571-C4BACA98D3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A660734F-3E1A-4B95-BA9F-CC09CD54DB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8F15F22A-F8DC-4F15-A7E3-2F39C16E89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C409E043-1289-4619-9DB6-91EF8EADF4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31FCEA60-9F8B-40DE-83A8-6E224C6219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BF85F4D4-DA66-4B2E-BB91-67F2938472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6011B3A6-71DD-458C-AED6-A3A73B7083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0B322C0D-9509-4E76-B904-E84B68DDC0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DB865DDE-9C9D-4F38-9F4A-0D266143A9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29A726B2-0E19-4C32-A440-0343CFEF23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7D84BF0B-00DC-4744-BAF0-4234568ED0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9C5374A1-6197-403B-BA91-D3ABCAE179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84B8E67C-D02F-406F-A402-6134B8E6D4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0</c:f>
              <c:numCache>
                <c:formatCode>General</c:formatCode>
                <c:ptCount val="19"/>
                <c:pt idx="0">
                  <c:v>8.8300000000000003E-2</c:v>
                </c:pt>
                <c:pt idx="1">
                  <c:v>7.3800000000000004E-2</c:v>
                </c:pt>
                <c:pt idx="2">
                  <c:v>8.7999999999999995E-2</c:v>
                </c:pt>
                <c:pt idx="3">
                  <c:v>5.5999999999999999E-3</c:v>
                </c:pt>
                <c:pt idx="4">
                  <c:v>1.6000000000000001E-3</c:v>
                </c:pt>
                <c:pt idx="5">
                  <c:v>-2.69E-2</c:v>
                </c:pt>
                <c:pt idx="6">
                  <c:v>0.13969999999999999</c:v>
                </c:pt>
                <c:pt idx="7">
                  <c:v>1.4200000000000001E-2</c:v>
                </c:pt>
                <c:pt idx="8">
                  <c:v>4.5900000000000003E-2</c:v>
                </c:pt>
                <c:pt idx="9">
                  <c:v>0.1424</c:v>
                </c:pt>
                <c:pt idx="10">
                  <c:v>0.15690000000000001</c:v>
                </c:pt>
                <c:pt idx="11">
                  <c:v>2.9700000000000001E-2</c:v>
                </c:pt>
                <c:pt idx="12">
                  <c:v>0.04</c:v>
                </c:pt>
                <c:pt idx="13">
                  <c:v>8.2600000000000007E-2</c:v>
                </c:pt>
                <c:pt idx="14">
                  <c:v>9.8799999999999999E-2</c:v>
                </c:pt>
                <c:pt idx="15">
                  <c:v>6.0999999999999999E-2</c:v>
                </c:pt>
                <c:pt idx="16">
                  <c:v>5.8700000000000002E-2</c:v>
                </c:pt>
                <c:pt idx="17">
                  <c:v>8.72E-2</c:v>
                </c:pt>
                <c:pt idx="18">
                  <c:v>9.2100000000000001E-2</c:v>
                </c:pt>
              </c:numCache>
            </c:numRef>
          </c:xVal>
          <c:yVal>
            <c:numRef>
              <c:f>Sheet1!$B$2:$B$20</c:f>
              <c:numCache>
                <c:formatCode>General</c:formatCode>
                <c:ptCount val="19"/>
                <c:pt idx="0">
                  <c:v>0.50860000000000005</c:v>
                </c:pt>
                <c:pt idx="1">
                  <c:v>0.52090000000000003</c:v>
                </c:pt>
                <c:pt idx="2">
                  <c:v>0.48480000000000001</c:v>
                </c:pt>
                <c:pt idx="3">
                  <c:v>0.28460000000000002</c:v>
                </c:pt>
                <c:pt idx="4">
                  <c:v>0.25609999999999999</c:v>
                </c:pt>
                <c:pt idx="5">
                  <c:v>0.45090000000000002</c:v>
                </c:pt>
                <c:pt idx="6">
                  <c:v>0.45279999999999998</c:v>
                </c:pt>
                <c:pt idx="7">
                  <c:v>0.44919999999999999</c:v>
                </c:pt>
                <c:pt idx="8">
                  <c:v>0.44740000000000002</c:v>
                </c:pt>
                <c:pt idx="9">
                  <c:v>0.48949999999999999</c:v>
                </c:pt>
                <c:pt idx="10">
                  <c:v>0.4652</c:v>
                </c:pt>
                <c:pt idx="11">
                  <c:v>0.51249999999999996</c:v>
                </c:pt>
                <c:pt idx="12">
                  <c:v>0.21199999999999999</c:v>
                </c:pt>
                <c:pt idx="13">
                  <c:v>0.45090000000000002</c:v>
                </c:pt>
                <c:pt idx="14">
                  <c:v>0.45550000000000002</c:v>
                </c:pt>
                <c:pt idx="15">
                  <c:v>0.48060000000000003</c:v>
                </c:pt>
                <c:pt idx="16">
                  <c:v>0.4551</c:v>
                </c:pt>
                <c:pt idx="17">
                  <c:v>0.43819999999999998</c:v>
                </c:pt>
                <c:pt idx="18">
                  <c:v>0.4516</c:v>
                </c:pt>
              </c:numCache>
            </c:numRef>
          </c:yVal>
          <c:bubbleSize>
            <c:numRef>
              <c:f>Sheet1!$C$2:$C$20</c:f>
              <c:numCache>
                <c:formatCode>General</c:formatCode>
                <c:ptCount val="19"/>
                <c:pt idx="0">
                  <c:v>624.6</c:v>
                </c:pt>
                <c:pt idx="1">
                  <c:v>500.30434782608688</c:v>
                </c:pt>
                <c:pt idx="2">
                  <c:v>946.84615384615381</c:v>
                </c:pt>
                <c:pt idx="3">
                  <c:v>1297.4705882352939</c:v>
                </c:pt>
                <c:pt idx="4">
                  <c:v>1071.7678571428571</c:v>
                </c:pt>
                <c:pt idx="5">
                  <c:v>779.16883116883116</c:v>
                </c:pt>
                <c:pt idx="6">
                  <c:v>1504.166666666667</c:v>
                </c:pt>
                <c:pt idx="7">
                  <c:v>741.27777777777783</c:v>
                </c:pt>
                <c:pt idx="8">
                  <c:v>572.58823529411768</c:v>
                </c:pt>
                <c:pt idx="9">
                  <c:v>391.66666666666669</c:v>
                </c:pt>
                <c:pt idx="10">
                  <c:v>392.11111111111109</c:v>
                </c:pt>
                <c:pt idx="11">
                  <c:v>636.66666666666663</c:v>
                </c:pt>
                <c:pt idx="12">
                  <c:v>9504.58</c:v>
                </c:pt>
                <c:pt idx="13">
                  <c:v>1649.4313725490199</c:v>
                </c:pt>
                <c:pt idx="14">
                  <c:v>940.83333333333337</c:v>
                </c:pt>
                <c:pt idx="15">
                  <c:v>517.75</c:v>
                </c:pt>
                <c:pt idx="16">
                  <c:v>267.60714285714278</c:v>
                </c:pt>
                <c:pt idx="17">
                  <c:v>175.6875</c:v>
                </c:pt>
                <c:pt idx="18">
                  <c:v>311.63157894736838</c:v>
                </c:pt>
              </c:numCache>
            </c:numRef>
          </c:bubbleSize>
          <c:bubble3D val="0"/>
          <c:extLst>
            <c:ext xmlns:c15="http://schemas.microsoft.com/office/drawing/2012/chart" uri="{02D57815-91ED-43cb-92C2-25804820EDAC}">
              <c15:datalabelsRange>
                <c15:f>Sheet1!$E$2:$E$58</c15:f>
                <c15:dlblRangeCache>
                  <c:ptCount val="57"/>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1/2 CHAMPAGNE NICOLAS 1ERE CUV 1CT X 375ML</c:v>
                  </c:pt>
                  <c:pt idx="12">
                    <c:v>CHAMPAGNE E.NICOLAS BRUT 1CT X 750ML</c:v>
                  </c:pt>
                  <c:pt idx="13">
                    <c:v>CHAMPAGNE NICOLAS BLC/BLC BS 1CT X 750ML</c:v>
                  </c:pt>
                  <c:pt idx="14">
                    <c:v>CHAMPAGNE NICOLAS BLC/BLC 2002 1CT X 750ML</c:v>
                  </c:pt>
                  <c:pt idx="15">
                    <c:v>CHAMPAGNE NICOLAS ROSE 1ERE CU 1CT X 750ML</c:v>
                  </c:pt>
                  <c:pt idx="16">
                    <c:v>CHAMPAGNE NICOLAS 1ER CRU BS 1CT X 750ML</c:v>
                  </c:pt>
                  <c:pt idx="17">
                    <c:v>CHAMPAGNE NICOLAS 1ERE CUV ETU 1CT X 750ML</c:v>
                  </c:pt>
                  <c:pt idx="18">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640B106A-721F-4213-9E68-A1668CC455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D2ACC19C-21E8-48A5-88CF-5778489FA6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A78C5183-29B4-470E-8B18-A6CE5310A9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723571E1-1CE0-481A-97D7-B4F5A9DAEA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EA4D2C9A-C424-4AF1-B279-C285DF1297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43B25967-4FCC-401B-92E0-A58C97355C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7E9DD897-035F-48D1-96B9-F68390FA9A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2E97856D-5D3E-41DA-ADE0-D60DF2A35E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276</c:v>
                </c:pt>
                <c:pt idx="1">
                  <c:v>53.187600000000003</c:v>
                </c:pt>
                <c:pt idx="2">
                  <c:v>28.77</c:v>
                </c:pt>
              </c:numCache>
            </c:numRef>
          </c:xVal>
          <c:yVal>
            <c:numRef>
              <c:f>Sheet1!$B$2:$B$4</c:f>
              <c:numCache>
                <c:formatCode>General</c:formatCode>
                <c:ptCount val="3"/>
                <c:pt idx="0">
                  <c:v>0.52139999999999997</c:v>
                </c:pt>
                <c:pt idx="1">
                  <c:v>0.39829999999999999</c:v>
                </c:pt>
                <c:pt idx="2">
                  <c:v>0.54310000000000003</c:v>
                </c:pt>
              </c:numCache>
            </c:numRef>
          </c:yVal>
          <c:bubbleSize>
            <c:numRef>
              <c:f>Sheet1!$C$2:$C$4</c:f>
              <c:numCache>
                <c:formatCode>General</c:formatCode>
                <c:ptCount val="3"/>
                <c:pt idx="0">
                  <c:v>159900.85389999999</c:v>
                </c:pt>
                <c:pt idx="1">
                  <c:v>4401488.8820000011</c:v>
                </c:pt>
                <c:pt idx="2">
                  <c:v>44277.063400000006</c:v>
                </c:pt>
              </c:numCache>
            </c:numRef>
          </c:bubbleSize>
          <c:bubble3D val="0"/>
          <c:extLst>
            <c:ext xmlns:c15="http://schemas.microsoft.com/office/drawing/2012/chart" uri="{02D57815-91ED-43cb-92C2-25804820EDAC}">
              <c15:datalabelsRange>
                <c15:f>Sheet1!$E$2:$E$29</c15:f>
                <c15:dlblRangeCache>
                  <c:ptCount val="28"/>
                  <c:pt idx="0">
                    <c:v>Mousseux</c:v>
                  </c:pt>
                  <c:pt idx="1">
                    <c:v>Champagnes</c:v>
                  </c:pt>
                  <c:pt idx="2">
                    <c:v>Effervescents Sans Alcool</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63.825119999999998"/>
          <c:min val="9.0620799999999999"/>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396587098731851"/>
        <c:crossBetween val="midCat"/>
      </c:valAx>
      <c:valAx>
        <c:axId val="1011451359"/>
        <c:scaling>
          <c:orientation val="minMax"/>
          <c:max val="1.01172"/>
          <c:min val="7.8640000000000002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51.49955140544872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E3A3B223-5D52-4A9B-A50F-338FFBE7DB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8E7370F0-ADFB-47D1-A551-42072734F6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B296195-BB81-4C65-9A00-87EFE499AF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8FFEA3C-1DD7-4A63-A36B-A321741066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B9F9D800-97CD-4A39-B8B1-7E18350194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9546B292-9F55-4ACC-BBD7-09E4BD1B39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50B0793-900A-4D48-9798-2500B487B5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9F9FCA79-6A32-4C0B-B94A-73B0EA9D54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2E507420-01DA-452E-84F4-332CA67980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17A3B41-58F4-44B9-9488-475D82F2AD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E054A0A-83DE-4CB8-9CAC-756A3DDA16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933AB981-F10C-4A87-8B1C-931310B348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A7B87BE8-01F1-4835-A7DB-D2D7CB588C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1CC6892C-B978-4F2A-826E-0A89D5F635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E44FEB06-CE60-4757-B94A-740EB896EB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D336D2BA-52D5-4270-AF39-9F0792D84F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5F49A26C-93D1-46D9-80F2-C2DEF87188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AF79D9E9-1B1A-4377-9A18-A402F358E7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211BD463-8FC9-440E-88C0-0BE302D52E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A28D18B6-5807-4693-8703-2B7DA07291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6C6B6B22-C7B6-4378-942F-5CE72FD4D3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B97C2E80-4981-4622-9283-61042F28AE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A0A72B42-9052-42D6-B2AC-122AB03648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F624934B-591C-4E5E-BAFD-42B6B97DDF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EE17B1A9-6E93-4E93-A9FE-D03B2CC457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F91031BB-1501-4367-9AAB-7649E65609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24BF8C90-4789-4E24-AEE9-9E31E767B9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DDF53284-8EE7-49FE-9DF8-C7CADC8B65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FCF4B489-E859-41E2-B168-739EC4D423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DC88F9E5-81C6-4CBD-8FD4-0535361456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7F6EB78F-8D80-44EC-95E3-C96EA76AA7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F0B6CA5F-23A0-4D2B-A902-F3B59C8AE2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541DFAD4-37DD-47CC-9B78-AEF70CD084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8985F5AF-EEAB-4FD2-ACCE-A761B5716B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D4F4BB95-D14C-4827-A08B-AC168EF0F4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6974325F-1AC9-472E-AABD-55C21DEF1D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4F9E93EE-709C-4607-B932-7434A09988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0A014FF5-7C8D-4541-99BF-A7A70B0CC6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D550DE47-5813-457B-91F8-E2046B8BBB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34D7FE21-9CD5-46E6-9E94-0A916CBFAD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0930D4D3-DD15-461D-8AC5-5E0F8E373B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000B8164-D33D-4D2E-A9DA-4570F3C8E9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34F41ACC-86FD-4B9C-815C-F994F24071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37777862-3D5E-438F-99B8-FFF221B38B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BE0CC4DE-847D-4BB3-AFA5-8EDF8B1E72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7DCA1063-AB40-46E4-BC75-744CB377DF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9C9F5337-6FB0-45A9-942A-AE6283A498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1CACF793-3B5E-47DE-8AA3-9C285E597E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07C04DB8-3857-4992-AA1E-9696777386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7DB5F8DC-E871-4798-860A-E5BF11299C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2A110844-3F06-4930-BAA8-1C472A4690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DA4A67F1-27DD-4D69-A2E1-37D7E2F9C5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FCB72201-90E7-44D3-8D5F-DF16298547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C04DB4A5-079E-47E6-8272-D933F87419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7975B168-DC63-45D5-97C5-F3B5298EB1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5862BC6E-E999-445F-A090-F40FB241FB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5CE6A34F-9AF5-49E4-A126-F900DE3D14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8.4500000000000006E-2</c:v>
                </c:pt>
                <c:pt idx="1">
                  <c:v>8.1100000000000005E-2</c:v>
                </c:pt>
                <c:pt idx="2">
                  <c:v>0.13600000000000001</c:v>
                </c:pt>
                <c:pt idx="3">
                  <c:v>8.3099999999999993E-2</c:v>
                </c:pt>
                <c:pt idx="4">
                  <c:v>8.4699999999999998E-2</c:v>
                </c:pt>
              </c:numCache>
            </c:numRef>
          </c:xVal>
          <c:yVal>
            <c:numRef>
              <c:f>Sheet1!$B$2:$B$6</c:f>
              <c:numCache>
                <c:formatCode>General</c:formatCode>
                <c:ptCount val="5"/>
                <c:pt idx="0">
                  <c:v>0.50860000000000005</c:v>
                </c:pt>
                <c:pt idx="1">
                  <c:v>0.48209999999999997</c:v>
                </c:pt>
                <c:pt idx="2">
                  <c:v>0.4491</c:v>
                </c:pt>
                <c:pt idx="3">
                  <c:v>0.45090000000000002</c:v>
                </c:pt>
                <c:pt idx="4">
                  <c:v>0.4345</c:v>
                </c:pt>
              </c:numCache>
            </c:numRef>
          </c:yVal>
          <c:bubbleSize>
            <c:numRef>
              <c:f>Sheet1!$C$2:$C$6</c:f>
              <c:numCache>
                <c:formatCode>General</c:formatCode>
                <c:ptCount val="5"/>
                <c:pt idx="0">
                  <c:v>886.96428571428555</c:v>
                </c:pt>
                <c:pt idx="1">
                  <c:v>2128.083333333333</c:v>
                </c:pt>
                <c:pt idx="2">
                  <c:v>1130</c:v>
                </c:pt>
                <c:pt idx="3">
                  <c:v>2986.666666666667</c:v>
                </c:pt>
                <c:pt idx="4">
                  <c:v>2744.333333333333</c:v>
                </c:pt>
              </c:numCache>
            </c:numRef>
          </c:bubbleSize>
          <c:bubble3D val="0"/>
          <c:extLst>
            <c:ext xmlns:c15="http://schemas.microsoft.com/office/drawing/2012/chart" uri="{02D57815-91ED-43cb-92C2-25804820EDAC}">
              <c15:datalabelsRange>
                <c15:f>Sheet1!$E$2:$E$58</c15:f>
                <c15:dlblRangeCache>
                  <c:ptCount val="57"/>
                  <c:pt idx="0">
                    <c:v>1/2 CHAMP NICOLAS BLC/BLC BS 1CT X 375ML</c:v>
                  </c:pt>
                  <c:pt idx="1">
                    <c:v>MG CHAMPAGNE NICOLAS BLC/BL BS 1CT X 1500ML</c:v>
                  </c:pt>
                  <c:pt idx="2">
                    <c:v>CHAMPAGNE NICOLAS BLC/BL BS ET 1CT X 750ML</c:v>
                  </c:pt>
                  <c:pt idx="3">
                    <c:v>CHAMPAGNE NICOLAS BLC/BLC BS 1CT X 750ML</c:v>
                  </c:pt>
                  <c:pt idx="4">
                    <c:v>CHAMPAGNE NICOLAS BLC/BLC 2002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4509C911-317E-42DB-9059-E1C28FD436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20CD3037-CC0D-4097-95B7-3C49633B65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B999231-73BB-4EE6-B882-125DFC4728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8C30CFB-12CE-48D3-94EC-EDADA9CE5E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6F9C1D85-908C-4BFC-87A0-2783B7A009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E88F3DA3-2732-436E-89EE-59CEEFDD1C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737656F-2B45-48A1-873D-7901C27E86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EF45833C-9F84-498F-BED3-4B6CEB17F3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C5A39614-A9FB-4847-A9C0-C70058C82B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1896D8E2-7F0A-4BBB-ADD8-7E03125529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7E01E9B-84F3-4838-A1FE-37814CF5EA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50EE8BE5-6D04-4479-99F4-5071FBEBB1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CB4A15EB-F1BD-438F-8DBD-46616539DE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01C9F799-EDDA-4A6F-92FB-B4C0B289BB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1EAEB675-09AB-4A34-B917-29843D67F0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9A15860F-1603-466D-BD24-4CB82D46F6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4987D185-790A-404B-A80A-39A363F5B6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A67A44C8-8A65-4B98-BD57-627AE8BA91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A77E6ECE-A761-4D7F-B74F-C0E5DC77D5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FB8A54B0-7C28-47A4-9EE8-12C2D79C00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0D0E245A-3A68-4476-AD5E-724F1E492E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645497E1-A0E0-47D5-844B-92597BBE69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96422B56-E8F7-494E-8064-A90EDB67F5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877ABCBC-EDAB-43D6-96B5-B989330A0F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7F4B12EC-DAC7-46AD-BA8E-317D17B184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C04E09A0-D030-4254-A421-CB3EF8F7DA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83154F42-8F59-4E51-B9CC-338B5F6B61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6D9C2218-32B1-48C4-B75C-04FD3A7A4A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EC5C9BB6-905A-4562-B654-65CA7F471B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1DD0C785-868A-4CEB-8BC5-9880779A90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99800BB7-2008-42F8-9E1B-88D74A7907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E7DD8E2E-06D5-468D-828D-098E624B0A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7473D333-C2A2-4A67-B2BE-CE9086D5C1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5037CA54-7BCA-4AD4-89EE-25666345B9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8ACFB800-3E4F-49FA-9A1F-6F59DFA711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BE2FFEE6-4401-449E-BCA0-A9AECADA1B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F76BD088-64F0-4491-A548-422A135769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F54617A5-989F-4CBB-A38F-DFA8AEEF1C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44FD81C4-2918-4029-8A54-97B7912FFE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9E26D9D0-28C9-4E0D-B166-5721CFF7B4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BF10F1DE-656A-4DC9-88F0-9DAD45967C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6EC60DC4-786B-4477-BE04-8A894E1226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4BC1CA35-EA32-4F10-BA81-E487ECECDD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0D60861F-64C9-4E04-91EC-80EE2ED4CC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43C0FE23-2DE6-4C02-A81F-D7BF5BA4D5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B29B1910-4B78-44B2-8478-DD41FE4457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C076CF70-B80A-4D3A-BB09-906645E77D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CBFCD452-CF82-4F5F-8F74-941ABE6BDC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9C2564EF-EA42-47CC-8A94-97561CAF82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2E236436-C416-40AD-9FEF-0DF8D1B197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9495E09B-6B39-4FB8-AAD8-2EE7FFDAEB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DC5A9A2D-1A36-4ED9-808A-4D35412BFE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E0A08BA5-3154-4C9A-9F47-7670F66403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C3E5F0EB-4D11-43BC-B2DA-EDE79CD47F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783D040C-7BA1-438B-ABFB-C4D9232473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32DB7456-E68B-4611-BFE6-9F1E301BD1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E9E0FED1-F082-4B3D-AA84-384B84FBE1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9.3899999999999997E-2</c:v>
                </c:pt>
                <c:pt idx="1">
                  <c:v>0.10489999999999999</c:v>
                </c:pt>
                <c:pt idx="2">
                  <c:v>0.15679999999999999</c:v>
                </c:pt>
                <c:pt idx="3">
                  <c:v>8.6400000000000005E-2</c:v>
                </c:pt>
                <c:pt idx="4">
                  <c:v>0.104</c:v>
                </c:pt>
              </c:numCache>
            </c:numRef>
          </c:xVal>
          <c:yVal>
            <c:numRef>
              <c:f>Sheet1!$B$2:$B$6</c:f>
              <c:numCache>
                <c:formatCode>General</c:formatCode>
                <c:ptCount val="5"/>
                <c:pt idx="0">
                  <c:v>0.50860000000000005</c:v>
                </c:pt>
                <c:pt idx="1">
                  <c:v>0.48270000000000002</c:v>
                </c:pt>
                <c:pt idx="2">
                  <c:v>0.4491</c:v>
                </c:pt>
                <c:pt idx="3">
                  <c:v>0.45100000000000001</c:v>
                </c:pt>
                <c:pt idx="4">
                  <c:v>0.44829999999999998</c:v>
                </c:pt>
              </c:numCache>
            </c:numRef>
          </c:yVal>
          <c:bubbleSize>
            <c:numRef>
              <c:f>Sheet1!$C$2:$C$6</c:f>
              <c:numCache>
                <c:formatCode>General</c:formatCode>
                <c:ptCount val="5"/>
                <c:pt idx="0">
                  <c:v>1861.5238095238101</c:v>
                </c:pt>
                <c:pt idx="1">
                  <c:v>3376.9590643274851</c:v>
                </c:pt>
                <c:pt idx="2">
                  <c:v>2277.7777777777778</c:v>
                </c:pt>
                <c:pt idx="3">
                  <c:v>6637.264957264957</c:v>
                </c:pt>
                <c:pt idx="4">
                  <c:v>2362.121212121212</c:v>
                </c:pt>
              </c:numCache>
            </c:numRef>
          </c:bubbleSize>
          <c:bubble3D val="0"/>
          <c:extLst>
            <c:ext xmlns:c15="http://schemas.microsoft.com/office/drawing/2012/chart" uri="{02D57815-91ED-43cb-92C2-25804820EDAC}">
              <c15:datalabelsRange>
                <c15:f>Sheet1!$E$2:$E$58</c15:f>
                <c15:dlblRangeCache>
                  <c:ptCount val="57"/>
                  <c:pt idx="0">
                    <c:v>1/2 CHAMP NICOLAS BLC/BLC BS 1CT X 375ML</c:v>
                  </c:pt>
                  <c:pt idx="1">
                    <c:v>MG CHAMPAGNE NICOLAS BLC/BL BS 1CT X 1500ML</c:v>
                  </c:pt>
                  <c:pt idx="2">
                    <c:v>CHAMPAGNE NICOLAS BLC/BL BS ET 1CT X 750ML</c:v>
                  </c:pt>
                  <c:pt idx="3">
                    <c:v>CHAMPAGNE NICOLAS BLC/BLC BS 1CT X 750ML</c:v>
                  </c:pt>
                  <c:pt idx="4">
                    <c:v>CHAMPAGNE NICOLAS BLC/BLC 2002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ECBEBAE1-B27E-4BC3-8D72-982042646B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83A670E9-325F-4AE0-B303-B9D9EE15DA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0A0BBC6-320E-4ED2-9443-F1F4B09EB3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6CCCF90-9AEB-48F7-824E-996880767D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16DF455B-1440-4DD6-8C5E-84ED9DF45B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E38A90DD-B6B7-4836-8DFD-9FE92DB129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BCB426E-CC0F-436C-96AE-33EB3D003D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1685718C-F511-4D34-850C-202B93EC1A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D5BACB91-34F2-414C-8C60-B00BA5493E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40952276-4C3E-4DDD-B5B9-E89B11BA1D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5E0330C-D809-44E0-AE26-2AF5CED555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D498F5A3-F05E-4EED-9745-26333E3709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5BB90E9D-1A6A-4585-A598-81434B8952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66FE21B6-3A82-4D77-99C7-F4062BF318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B0798F6E-3D37-4647-81D3-80330DBAAD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D0870499-B14A-4D7F-A657-AEAB8FAB96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7EBE57BC-43B3-4B45-BFB0-F1B85208E7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4CD35C99-41C9-43BC-A2E2-F0DD145027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3A56FFEF-2B6E-4162-AB48-54FCCDAF74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D041F700-75A4-47D1-A5BE-CDCFC361AF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587A433E-D111-45E3-AC63-5F02F9214D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6C938180-1B71-4252-A199-2384A15294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7965C021-2B42-45D3-86FC-716668FA5C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1D297150-D4F8-424B-8230-33E64009BD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050655E5-6BD8-4620-92D3-84D253CE7E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0C26A408-4B48-4FEF-AF77-F13BF7E84B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2E4CFE3C-4F17-49B0-B516-0F801EA013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CDCA9E2A-3B7C-4CDB-B762-386ED5822E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1D6B20BB-A48D-4CD4-AABE-09D4E434AD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110F4B73-078A-417A-BDBC-5EC6302A15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1F5AA4C3-24A2-47A8-9219-533DA169B5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91A1967C-7973-49E9-90DA-ECC13382C1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CD044716-878B-4D92-91D7-FC60A48E05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C7BA027E-85B0-4BCB-8F3D-D5C8435FA9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81D7809C-541D-444E-B9F7-2548A9BFA7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8CD66782-9808-45F0-90DD-85C296AE83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5E1DC12A-7469-4438-ADE6-42FE18D8B3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9ED745D4-47E7-4C6E-A8F1-6341AAB31F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DD515652-78C4-4B28-9BD0-7B3E2D39CD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01C597D0-2A99-4DD7-9E8E-977355A4F0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FDB9E366-BF4A-42CB-B8D8-439B3E6B4F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6A1CBCC3-AAE9-45C0-A67F-81F68C4E5B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4189D232-659D-446C-BC7B-9DF4F0B2F0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2F4695CA-957F-486B-9969-C57B93280A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FF2916CD-2A77-4E16-843B-4076291C3D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017B919B-F65A-4ECD-AE3D-B5ED5CCD50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93A7F190-CCF0-4EB5-8FA1-F7767F8351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9883465D-6BDA-4A32-AA9F-F869B0BB6C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EF9A064D-B929-48F9-8B25-5D01464864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F37301CC-C5C4-4B52-B7D7-3CDD6BD449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36FABBAF-BD6B-48D6-A439-41AE155C67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E82E2684-AFEF-46F8-90E9-2F7E2F5D9C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E11DDDBC-305A-4717-96E1-A06899B9F7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E4FAE558-4034-4DF8-8AE2-4CFF05DC9A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2F10D05A-132F-4157-A896-8530A43D33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0ABFF6B4-C216-4A5B-9D43-30AC5BEC13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5E2733F3-2CBD-4CCB-A150-5CE74A4EB8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8.72E-2</c:v>
                </c:pt>
                <c:pt idx="1">
                  <c:v>9.4200000000000006E-2</c:v>
                </c:pt>
                <c:pt idx="2">
                  <c:v>0.157</c:v>
                </c:pt>
                <c:pt idx="3">
                  <c:v>8.2900000000000001E-2</c:v>
                </c:pt>
                <c:pt idx="4">
                  <c:v>7.9899999999999999E-2</c:v>
                </c:pt>
              </c:numCache>
            </c:numRef>
          </c:xVal>
          <c:yVal>
            <c:numRef>
              <c:f>Sheet1!$B$2:$B$6</c:f>
              <c:numCache>
                <c:formatCode>General</c:formatCode>
                <c:ptCount val="5"/>
                <c:pt idx="0">
                  <c:v>0.50860000000000005</c:v>
                </c:pt>
                <c:pt idx="1">
                  <c:v>0.48220000000000002</c:v>
                </c:pt>
                <c:pt idx="2">
                  <c:v>0.4491</c:v>
                </c:pt>
                <c:pt idx="3">
                  <c:v>0.4511</c:v>
                </c:pt>
                <c:pt idx="4">
                  <c:v>0.45760000000000001</c:v>
                </c:pt>
              </c:numCache>
            </c:numRef>
          </c:yVal>
          <c:bubbleSize>
            <c:numRef>
              <c:f>Sheet1!$C$2:$C$6</c:f>
              <c:numCache>
                <c:formatCode>General</c:formatCode>
                <c:ptCount val="5"/>
                <c:pt idx="0">
                  <c:v>423.53571428571422</c:v>
                </c:pt>
                <c:pt idx="1">
                  <c:v>793.125</c:v>
                </c:pt>
                <c:pt idx="2">
                  <c:v>409</c:v>
                </c:pt>
                <c:pt idx="3">
                  <c:v>1670.5438596491231</c:v>
                </c:pt>
                <c:pt idx="4">
                  <c:v>627.125</c:v>
                </c:pt>
              </c:numCache>
            </c:numRef>
          </c:bubbleSize>
          <c:bubble3D val="0"/>
          <c:extLst>
            <c:ext xmlns:c15="http://schemas.microsoft.com/office/drawing/2012/chart" uri="{02D57815-91ED-43cb-92C2-25804820EDAC}">
              <c15:datalabelsRange>
                <c15:f>Sheet1!$E$2:$E$58</c15:f>
                <c15:dlblRangeCache>
                  <c:ptCount val="57"/>
                  <c:pt idx="0">
                    <c:v>1/2 CHAMP NICOLAS BLC/BLC BS 1CT X 375ML</c:v>
                  </c:pt>
                  <c:pt idx="1">
                    <c:v>MG CHAMPAGNE NICOLAS BLC/BL BS 1CT X 1500ML</c:v>
                  </c:pt>
                  <c:pt idx="2">
                    <c:v>CHAMPAGNE NICOLAS BLC/BL BS ET 1CT X 750ML</c:v>
                  </c:pt>
                  <c:pt idx="3">
                    <c:v>CHAMPAGNE NICOLAS BLC/BLC BS 1CT X 750ML</c:v>
                  </c:pt>
                  <c:pt idx="4">
                    <c:v>CHAMPAGNE NICOLAS BLC/BLC 2002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D897A0C0-FF47-410B-8BA0-C050AA132A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F5E116EE-1100-4F95-8DDF-FCA1643940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8A45EC9-F488-4403-891A-0D89492D13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A79DE88-DFC6-430B-AA18-D490976A48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6D5E28F8-4151-41D7-B676-A7017B4D4C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5A78F561-4AD3-4BBD-85BE-8F3BAD90DF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CF6CC4E-FE15-426C-BAAA-4C70AD9E30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4DC89248-7415-4D93-80A6-A1A917A715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FDB51202-238B-48AB-9E3F-2FCB873D10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A5F0234C-D8AE-4498-A0BA-AAFDA59C91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A436C18-C33B-4CD9-BA0F-068E2E9211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DD057134-0DE6-4B8C-A8E9-F4FDA651C2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AC9159F6-8A9F-4CDD-AF9A-CEFDD1EC76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D18B743F-3582-4AB1-B3F6-4C11EF8D25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41C092B8-16D4-449E-B6D3-DE3A0EAE99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1E1B9C27-A2DE-4E79-8A2A-AD2D2D1972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F0CCA7F5-079B-4C9E-9DCB-B6A8B2E5CB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E5AAB197-5B54-472C-8374-539AF92FCA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B279ADBC-4BAA-4468-AD65-BBAD33AF3D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BE3913ED-6D5D-4520-BF92-BBEACB53D9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1C3E426D-9128-405C-9B09-0ED03A0527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BC31DF02-0173-4264-9E6E-53096FE568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C70BC3B3-4685-493B-A7E0-94D1E4E011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85F3BAAD-BF17-4B87-9F9E-13ED741C0E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746134D6-46F8-4577-A086-6F04C6BCB7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5361B703-4123-4260-9A9F-41CC1EA606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4DC6AA5F-E184-460D-BA4A-E2D6778F4B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3012E204-9097-41FD-B9CA-312055FF7D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6939A07F-CF5C-47C3-829B-0248F482AF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03E6A44E-E4B0-486F-8298-03895735C2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206A627F-F536-4582-8D05-9C308A724D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1727809C-20B5-406F-B240-A2ED37AEEB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5D89BE1D-08B7-4D8F-8522-73C75CCE88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819379BE-D50B-4FDE-B514-5CA59B87F9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2B85ACC3-07CA-465F-8ADF-832209EF66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82146CE9-1380-4E9F-AD1D-1689DEF098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6D6AC866-80D9-4B22-8287-B3A7C693E0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4B05249E-9095-4350-8724-9B4212EF23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8567886D-4B10-4398-A7AD-9B0FD52EF9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F795D97C-22C8-42F7-A8ED-785E30D105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ECC21BF5-A97B-487C-A921-6FD5BADF2E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AD9238AE-041B-499F-AEAF-43FC988170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9C8B5920-633B-4342-9A76-2E402CE59A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4865AC79-40B6-4024-B803-34F631F1AD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8CC693D9-B16A-4B67-A9DF-7657C41F64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F87386FC-8A9D-48CF-8315-DD245FF8B3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0A65178A-B1D8-4391-9BCE-ED284BFF62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EAC9A440-7EFD-4C97-BD98-8FFBAB64E8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B1FF28C2-9FA2-4E58-8E07-A74AD938EE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A41AABC5-0BE6-4547-9821-CA92447BAF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40E5C18B-62F6-4D15-8710-9CA98BB987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9574F553-CA55-404C-B6FB-497CB7D56D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EEBB88F5-D465-4E28-91F0-67AD064EBA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27CF8784-587F-4635-AAF5-89F9F96588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910D4309-D2C1-46B0-810B-F86EBD6681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76191592-3389-4D3F-80E2-77E56F0C17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405C3035-B425-4010-8F21-2DD5DE384C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9.06E-2</c:v>
                </c:pt>
                <c:pt idx="1">
                  <c:v>0.1232</c:v>
                </c:pt>
                <c:pt idx="2">
                  <c:v>8.4000000000000005E-2</c:v>
                </c:pt>
                <c:pt idx="3">
                  <c:v>0.11799999999999999</c:v>
                </c:pt>
              </c:numCache>
            </c:numRef>
          </c:xVal>
          <c:yVal>
            <c:numRef>
              <c:f>Sheet1!$B$2:$B$5</c:f>
              <c:numCache>
                <c:formatCode>General</c:formatCode>
                <c:ptCount val="4"/>
                <c:pt idx="0">
                  <c:v>0.50860000000000005</c:v>
                </c:pt>
                <c:pt idx="1">
                  <c:v>0.48139999999999999</c:v>
                </c:pt>
                <c:pt idx="2">
                  <c:v>0.45090000000000002</c:v>
                </c:pt>
                <c:pt idx="3">
                  <c:v>0.45429999999999998</c:v>
                </c:pt>
              </c:numCache>
            </c:numRef>
          </c:yVal>
          <c:bubbleSize>
            <c:numRef>
              <c:f>Sheet1!$C$2:$C$5</c:f>
              <c:numCache>
                <c:formatCode>General</c:formatCode>
                <c:ptCount val="4"/>
                <c:pt idx="0">
                  <c:v>217.27272727272731</c:v>
                </c:pt>
                <c:pt idx="1">
                  <c:v>248.9</c:v>
                </c:pt>
                <c:pt idx="2">
                  <c:v>631.52941176470586</c:v>
                </c:pt>
                <c:pt idx="3">
                  <c:v>263.92307692307691</c:v>
                </c:pt>
              </c:numCache>
            </c:numRef>
          </c:bubbleSize>
          <c:bubble3D val="0"/>
          <c:extLst>
            <c:ext xmlns:c15="http://schemas.microsoft.com/office/drawing/2012/chart" uri="{02D57815-91ED-43cb-92C2-25804820EDAC}">
              <c15:datalabelsRange>
                <c15:f>Sheet1!$E$2:$E$58</c15:f>
                <c15:dlblRangeCache>
                  <c:ptCount val="57"/>
                  <c:pt idx="0">
                    <c:v>1/2 CHAMP NICOLAS BLC/BLC BS 1CT X 375ML</c:v>
                  </c:pt>
                  <c:pt idx="1">
                    <c:v>MG CHAMPAGNE NICOLAS BLC/BL BS 1CT X 1500ML</c:v>
                  </c:pt>
                  <c:pt idx="2">
                    <c:v>CHAMPAGNE NICOLAS BLC/BLC BS 1CT X 750ML</c:v>
                  </c:pt>
                  <c:pt idx="3">
                    <c:v>CHAMPAGNE NICOLAS BLC/BLC 2002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D8EFD1E5-D624-4B52-9C20-BF8B20A1EF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56F85A5A-1DDE-4E4D-B047-A2E357ED2E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D575F4D-ED45-442C-A9FD-E4AB77A9EE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84E4739-50AB-431F-8B1E-EC41DFB6E4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7C42F447-429F-46B7-B683-2C605E1ED6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9B177AB1-40C6-4DF0-B34B-3B9B7E4E31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6C81A0A-B372-499F-8669-62561B07A7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DB9236CF-5F92-42A0-9838-60F7B16181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6791C453-50F5-435F-BA74-F6CD71C0AE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00F0491C-D262-4318-AAFF-96317D1696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E74698B-753F-45A1-9FB2-2DFDF1FE94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1907B531-1733-46E1-8A25-C879BFB642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BCFA9B2F-CBCD-4B28-9968-34A70F95BB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777F4AF9-AF9C-461B-B023-B074596C98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81E0816C-18CF-4F22-A54F-116FCFE589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6662F389-D660-4AEC-AA0E-7AC38403F3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C1898E08-F87B-4478-8F59-BE6DE5AFB2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2CD79C2C-E9FB-43A2-A157-C657450C80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C57B630E-E5EE-4AA5-834C-436D719F10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662D1751-2BEA-43BA-B461-4563EEB429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3116480C-7A9C-4E33-A840-58511319F5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4EA6B412-5926-4E0E-A167-9D997ED9DB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3A0AE69C-0274-42D2-AB17-9579546906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CA0317D5-AA1B-4A5F-8A9D-D74A03C48C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49FB19FC-1C70-4667-981D-B105FAE056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358379CC-D8A8-4E5C-9FF3-5702D6AB59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5D2031CF-B7E9-4062-967E-2C1AB0969E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FF27D22C-67CA-455F-B6DB-C75842CAED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FC54AF65-E6B6-4645-A2B8-E9E408040F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4FED1C3C-121D-4604-9F8D-0FD26F6173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787CAD2A-4B33-46CE-B54D-2D62AFF30C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D8C4AAA9-E851-4B33-8D42-ACDB4AF264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F1CDFFC7-6780-4B7A-A3E4-24841B5471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30DA0B2F-9BC0-4641-902B-383DCAF90E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1DFB6F78-E45F-490C-BC25-85993F0B1C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D90AAB8F-69ED-4884-9D41-3812B3AFDF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97A8EC6D-A938-4E8F-B39E-C42A21A0CB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97B015B2-F9A2-462B-BB13-4AF468829B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3D5D58B5-F505-4C7A-B6BC-55984DB3BA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76B2E49E-E1CD-4C32-810B-AB10B236D2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9D042D89-F36B-4407-A8EE-23A20E9CD0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23EC18A2-9B29-4A36-A7C8-EC0E9478C5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D51B6F74-296C-4318-A14C-857096BB46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04B40E3D-41AD-4AC2-BEA8-B447B9BF4B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E9F2A9FB-8412-4AF2-90FE-55BE0CB848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6C4564E3-5073-49E4-B6AC-962D1DF6CC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D62152C3-29E3-49D8-8BAF-9E9F52EC85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3A4EA995-06DB-4777-AAB4-267C93F398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9BA0F00F-4C6A-4B6A-9342-1DA0BBF15B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AF17964A-8DD0-4603-932E-A74AC18EFE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251A39CF-98B3-46F8-B852-C26173D54F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A3DAE980-843B-4F0A-A08D-0180F87ED2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58AE3B8F-D4F1-43EE-A941-3518B3BFE2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95B38E5F-0E93-40E3-A5EF-535027D058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78BD6BFF-8C9B-40BD-BDE9-E6AD2E7918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615A949D-26B5-4109-912A-C1B1AC4C20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211BE75C-754D-44CC-9FB8-875C5F6683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1079</c:v>
                </c:pt>
                <c:pt idx="1">
                  <c:v>0.15040000000000001</c:v>
                </c:pt>
                <c:pt idx="2">
                  <c:v>9.01E-2</c:v>
                </c:pt>
                <c:pt idx="3">
                  <c:v>9.0200000000000002E-2</c:v>
                </c:pt>
              </c:numCache>
            </c:numRef>
          </c:xVal>
          <c:yVal>
            <c:numRef>
              <c:f>Sheet1!$B$2:$B$5</c:f>
              <c:numCache>
                <c:formatCode>General</c:formatCode>
                <c:ptCount val="4"/>
                <c:pt idx="0">
                  <c:v>0.50860000000000005</c:v>
                </c:pt>
                <c:pt idx="1">
                  <c:v>0.48230000000000001</c:v>
                </c:pt>
                <c:pt idx="2">
                  <c:v>0.45019999999999999</c:v>
                </c:pt>
                <c:pt idx="3">
                  <c:v>0.47220000000000001</c:v>
                </c:pt>
              </c:numCache>
            </c:numRef>
          </c:yVal>
          <c:bubbleSize>
            <c:numRef>
              <c:f>Sheet1!$C$2:$C$5</c:f>
              <c:numCache>
                <c:formatCode>General</c:formatCode>
                <c:ptCount val="4"/>
                <c:pt idx="0">
                  <c:v>132.2051282051282</c:v>
                </c:pt>
                <c:pt idx="1">
                  <c:v>150.4736842105263</c:v>
                </c:pt>
                <c:pt idx="2">
                  <c:v>394.05084745762713</c:v>
                </c:pt>
                <c:pt idx="3">
                  <c:v>51.499999999999993</c:v>
                </c:pt>
              </c:numCache>
            </c:numRef>
          </c:bubbleSize>
          <c:bubble3D val="0"/>
          <c:extLst>
            <c:ext xmlns:c15="http://schemas.microsoft.com/office/drawing/2012/chart" uri="{02D57815-91ED-43cb-92C2-25804820EDAC}">
              <c15:datalabelsRange>
                <c15:f>Sheet1!$E$2:$E$58</c15:f>
                <c15:dlblRangeCache>
                  <c:ptCount val="57"/>
                  <c:pt idx="0">
                    <c:v>1/2 CHAMP NICOLAS BLC/BLC BS 1CT X 375ML</c:v>
                  </c:pt>
                  <c:pt idx="1">
                    <c:v>MG CHAMPAGNE NICOLAS BLC/BL BS 1CT X 1500ML</c:v>
                  </c:pt>
                  <c:pt idx="2">
                    <c:v>CHAMPAGNE NICOLAS BLC/BLC BS 1CT X 750ML</c:v>
                  </c:pt>
                  <c:pt idx="3">
                    <c:v>CHAMPAGNE NICOLAS BLC/BLC 2002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F4C5049D-4DD8-4474-A1E2-07F1C2B2FE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9A27AF2B-3F82-44F6-8A58-6FE1533440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0D3BE02-4054-405B-A1F9-698CD397AF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2FADF8D-2E7B-417B-BC00-1469DB53A6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C7F4A2A6-1B4A-4392-8793-C599597E2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EA259749-2F0F-4F37-84F2-E026406713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C04D041-C1D1-40CB-A74D-E668ADB4D6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A394AAAD-1EDF-43BC-85E3-8A54DA889C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A5AEA5EC-BE62-4754-AEFA-23BCAF0F83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579D97A0-5904-4685-9AEC-E5407FEF90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012EB52-DDB9-4F92-91A7-B1EFD3E43A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70C16CC-4A8D-4834-974A-4AE22BB475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6B074E98-0AE7-4326-B142-0E1D9518FF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E1F9F267-3D09-420C-B916-5471F33A13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8A05F20F-A302-4CF1-AC14-11737B5663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4DB32F49-0E44-4C9A-AD58-33CC57545A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7DF87B0D-8DCD-409F-A90A-00BF665A1A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EDB22A29-FD30-4CF7-8F6D-C70111AF0F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1BD4D5E8-B551-43CF-83DF-78D8F4D1C3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CB44FDEE-89C1-4ED2-9B65-E0E635A328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EB87A7FF-1E24-4F48-B410-FF7D7645F8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0AABDEDE-8307-4952-85CD-BC30291260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9C05628B-3365-44ED-A8BF-EE804DA144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2036F318-BEA5-487D-89A6-EC952EF246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C2CB42C4-FA2F-42D4-ACF0-2DC8828F2E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5290C43B-5A91-4F45-8275-342C6DE570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750E5662-68E7-4C81-9B50-CDC3F8201A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3A001457-00B0-41C5-A03B-A495816944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16078C25-9165-4567-BDEC-09DDB8CBCB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8E165565-D0E4-48E0-AE2A-0B958B3063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379CA0F2-4C76-4B0E-B023-377DC028E9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F85A5500-4650-491D-83E6-BB7B0D3C68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E4286683-C9DB-41D6-934F-8A001B40C5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5B1F3F9A-2CA2-42EA-815F-2C887BD5FE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FB9ED840-CA8B-41FA-A8EE-EF6CAA4E63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B70830A9-A351-4226-98D0-163959564F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233FF4A5-BAE3-4B3B-BB5F-56A044DA6C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9B90BA21-A6FD-42F9-B8BD-9381218DA1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67A9DF57-EEF7-419A-8D2D-402D782B47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0BA7BB88-F8F4-4DDA-9F67-FBEFCD76F1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DB82CB08-DCFB-49E1-A40E-E128D2D90A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D3586A55-DDB0-4D3E-963D-8435CA63E7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67E4ADAE-431D-4CAF-AAD7-D3B7D20CA4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7CB19CBA-7325-4867-8F62-9981B396AA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B7F39A03-0694-4D3A-93C1-A544E01D64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5C4AAEFE-5CED-4AB9-944A-1BE5FDCF3C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DF9A1249-C816-4636-A7DA-01898F45DF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8E9A1951-6BA4-445B-9450-7148310DA2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C3C61EF5-78CC-4D28-8E81-B9F8134EC1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DDB7F526-3CEE-412E-A4CA-66CF379E42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93B3B95E-F784-4B24-A307-8152B6AC32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CEDBD924-648B-4F5E-AC8E-1899C365AF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C027871F-2557-4CB7-B363-15A63D9DB3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552AB91E-FDA8-46D7-9514-B6E5FED3E3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98AD6464-DE0B-4D7C-82EC-3CABDA91D1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EF0FD542-206D-4F79-AF18-1D9BEBFFCC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78E18875-CC3C-4513-8AC9-8831733830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052</c:v>
                </c:pt>
                <c:pt idx="1">
                  <c:v>0.126</c:v>
                </c:pt>
                <c:pt idx="2">
                  <c:v>9.3799999999999994E-2</c:v>
                </c:pt>
              </c:numCache>
            </c:numRef>
          </c:xVal>
          <c:yVal>
            <c:numRef>
              <c:f>Sheet1!$B$2:$B$4</c:f>
              <c:numCache>
                <c:formatCode>General</c:formatCode>
                <c:ptCount val="3"/>
                <c:pt idx="0">
                  <c:v>0.50860000000000005</c:v>
                </c:pt>
                <c:pt idx="1">
                  <c:v>0.48280000000000001</c:v>
                </c:pt>
                <c:pt idx="2">
                  <c:v>0.4516</c:v>
                </c:pt>
              </c:numCache>
            </c:numRef>
          </c:yVal>
          <c:bubbleSize>
            <c:numRef>
              <c:f>Sheet1!$C$2:$C$4</c:f>
              <c:numCache>
                <c:formatCode>General</c:formatCode>
                <c:ptCount val="3"/>
                <c:pt idx="0">
                  <c:v>50.150943396226417</c:v>
                </c:pt>
                <c:pt idx="1">
                  <c:v>103.61764705882349</c:v>
                </c:pt>
                <c:pt idx="2">
                  <c:v>276.32307692307688</c:v>
                </c:pt>
              </c:numCache>
            </c:numRef>
          </c:bubbleSize>
          <c:bubble3D val="0"/>
          <c:extLst>
            <c:ext xmlns:c15="http://schemas.microsoft.com/office/drawing/2012/chart" uri="{02D57815-91ED-43cb-92C2-25804820EDAC}">
              <c15:datalabelsRange>
                <c15:f>Sheet1!$E$2:$E$58</c15:f>
                <c15:dlblRangeCache>
                  <c:ptCount val="57"/>
                  <c:pt idx="0">
                    <c:v>1/2 CHAMP NICOLAS BLC/BLC BS 1CT X 375ML</c:v>
                  </c:pt>
                  <c:pt idx="1">
                    <c:v>MG CHAMPAGNE NICOLAS BLC/BL BS 1CT X 1500ML</c:v>
                  </c:pt>
                  <c:pt idx="2">
                    <c:v>CHAMPAGNE NICOLAS BLC/BLC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AD017723-1D11-4F29-B7DA-0CAE4F0EB9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B969D4B8-0A96-4CD2-A748-01AB49338E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F01E0AE-6EC2-466F-93A1-04580D99B1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157BE28-2211-434A-A9E5-64903439E8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52393581-61CD-43BA-A41B-A92BCF9FD7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8C099356-7407-4446-BF1C-E8C557B813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916CF19-905A-42DC-AD63-6EB33940B6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9E1D27ED-EC19-4530-9423-DAC00B56B6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6954E789-B9EC-4DC2-A59D-B984F747A7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415EC3F6-8DA3-47A8-BA26-08754F7A43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0E5AC89-5455-40A2-BE0C-C7C0443016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D903EFB5-1924-4FC2-BCBA-6A9D2CFEB9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3E893740-368A-4D3F-A70F-8B35510FC7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ED5FB23E-C7AD-4EFD-802E-EF6F01648A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B3E2856D-79C6-4B7C-8B1C-971BA7ADCF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DA304C84-E5B6-4CEC-9C6A-7C751985AB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A837DD49-7E21-4C46-94EE-2F7CD478B6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DB7E809C-1C01-42B9-9FB0-3E2E1C1A39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59CFD364-1AB3-41E7-A2CC-E800F6E3BB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218455BA-62B9-43DA-A887-B9ECDC2797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4C676CD0-0B09-4D4C-8BB9-198C09693F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17AA4E9A-B474-4A87-BB22-EE4DD72989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C66F539E-BBBA-43C7-B2C0-65535D5AE4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87E93C48-A412-45AD-AADB-6ABB667D57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487024B8-8F78-4FF4-B4D9-54661DDB6E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A4C4EB50-F7C9-4016-8FAA-DD5A7E9228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A045A66E-706C-47E8-BFDC-71C338453C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EA7A9DFD-32B1-46B5-973F-9AFA0EFBC9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C3DF15A7-2A9E-4F18-87BB-082A66C5FF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DD0F375C-5007-4BF6-BCD1-51BF1B1E54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CC35CFCD-6F9B-4CC9-81A1-D30061EA72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95C381D0-CAC6-4658-B3D3-8C555185A4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8D1D41EC-CFFE-404D-9F50-82CB0D89AD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F338F5F0-0E66-4552-84FF-4FABD1E902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A8B52E0D-11F8-4652-A03E-2AEE8F55B5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E858F3CD-589B-49AF-A8D1-31CABF2BC9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D3187A72-5BB4-4BB1-A389-FD61044000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2CE17792-669B-4816-8778-06554BFFCF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B9787D78-DB06-497B-8CEF-A59C9D7B68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3EC57860-3E60-4942-8CA0-2D1D2B29AF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047C7495-51C1-4484-A559-8FD6ECDF71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0EFA9A67-A4A8-408E-B9A9-77D76B7B4C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D242F288-1757-4F69-9157-26351D79C8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021BF836-73E7-472C-BC55-BB22B1D8C1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DB4C9B13-8BE2-4320-9B11-A8C6817F69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4F9FD18F-69B3-4CF9-A3B2-F6467345CE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676122CC-4DE2-4137-94A8-25716F4204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83C2AF57-0713-49A7-AB49-EE950F6779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1D40ADD4-8B54-4218-AFB7-3F02604570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E6F85AEE-8244-478D-A2E9-507E9F9036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349BF251-8ADD-455F-A695-BA5F8BAFA0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EFB7289C-815D-40CF-B58C-DB619451E8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0805E176-38F1-4515-ADE0-12F223F8D2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50BC0527-5839-4AB3-B8B0-0E07B640EA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2EC31CB4-B37C-45E9-9869-446CC9C815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19FC5AA3-C443-4909-94CF-0B00114E59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B54CAFEB-0A27-45BC-A77F-C94404B7D0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8.1299999999999997E-2</c:v>
                </c:pt>
                <c:pt idx="1">
                  <c:v>7.2999999999999995E-2</c:v>
                </c:pt>
                <c:pt idx="2">
                  <c:v>0.1348</c:v>
                </c:pt>
                <c:pt idx="3">
                  <c:v>8.14E-2</c:v>
                </c:pt>
                <c:pt idx="4">
                  <c:v>5.2400000000000002E-2</c:v>
                </c:pt>
              </c:numCache>
            </c:numRef>
          </c:xVal>
          <c:yVal>
            <c:numRef>
              <c:f>Sheet1!$B$2:$B$6</c:f>
              <c:numCache>
                <c:formatCode>General</c:formatCode>
                <c:ptCount val="5"/>
                <c:pt idx="0">
                  <c:v>0.50860000000000005</c:v>
                </c:pt>
                <c:pt idx="1">
                  <c:v>0.48199999999999998</c:v>
                </c:pt>
                <c:pt idx="2">
                  <c:v>0.4491</c:v>
                </c:pt>
                <c:pt idx="3">
                  <c:v>0.45079999999999998</c:v>
                </c:pt>
                <c:pt idx="4">
                  <c:v>0.4446</c:v>
                </c:pt>
              </c:numCache>
            </c:numRef>
          </c:yVal>
          <c:bubbleSize>
            <c:numRef>
              <c:f>Sheet1!$C$2:$C$6</c:f>
              <c:numCache>
                <c:formatCode>General</c:formatCode>
                <c:ptCount val="5"/>
                <c:pt idx="0">
                  <c:v>1603.583333333333</c:v>
                </c:pt>
                <c:pt idx="1">
                  <c:v>2556.3571428571431</c:v>
                </c:pt>
                <c:pt idx="2">
                  <c:v>2045</c:v>
                </c:pt>
                <c:pt idx="3">
                  <c:v>4890.9272727272719</c:v>
                </c:pt>
                <c:pt idx="4">
                  <c:v>2986</c:v>
                </c:pt>
              </c:numCache>
            </c:numRef>
          </c:bubbleSize>
          <c:bubble3D val="0"/>
          <c:extLst>
            <c:ext xmlns:c15="http://schemas.microsoft.com/office/drawing/2012/chart" uri="{02D57815-91ED-43cb-92C2-25804820EDAC}">
              <c15:datalabelsRange>
                <c15:f>Sheet1!$E$2:$E$58</c15:f>
                <c15:dlblRangeCache>
                  <c:ptCount val="57"/>
                  <c:pt idx="0">
                    <c:v>1/2 CHAMP NICOLAS BLC/BLC BS 1CT X 375ML</c:v>
                  </c:pt>
                  <c:pt idx="1">
                    <c:v>MG CHAMPAGNE NICOLAS BLC/BL BS 1CT X 1500ML</c:v>
                  </c:pt>
                  <c:pt idx="2">
                    <c:v>CHAMPAGNE NICOLAS BLC/BL BS ET 1CT X 750ML</c:v>
                  </c:pt>
                  <c:pt idx="3">
                    <c:v>CHAMPAGNE NICOLAS BLC/BLC BS 1CT X 750ML</c:v>
                  </c:pt>
                  <c:pt idx="4">
                    <c:v>CHAMPAGNE NICOLAS BLC/BLC 2002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B00367B1-A1D7-421E-AC8F-4476A8D969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6A6080BA-A927-453A-8938-140C583658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F0BDA3A-08E7-4661-8A0B-44EE217DF6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F15427B-DA57-4918-8717-8B8C100DA2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FB94076B-BB8F-4C9A-BB3C-FFB0ED32AB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AE987DE5-3772-48ED-BF56-A9EDC9691E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1005F29-8AA8-4968-982E-6AF9BF57E9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5CEBDFF6-B9A9-416E-976D-5FF529E4CA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E0D91670-383C-4786-AA6D-0893A9A84A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408363C8-317E-4142-8F31-31C12E37AD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4CD58FE-C448-40FA-B04E-8D47F8F32A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DB6133C8-61B6-415A-9890-381E0F9591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F6896ED8-8ECA-4E15-B8E4-94F1FCBBFA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AD098F67-F56F-482B-9690-E4D7CC69A5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6544107C-AFFF-4BB5-A1CB-97FD497504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C8859CA2-94BA-4D56-A264-8B038274BF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5274FE85-877C-4160-9B3A-51729ED304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AED136D7-9494-45EE-8016-41FC35CDC1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6F39A263-903A-4392-9BD4-74AAE5ED19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86BB1CE8-210A-48D0-9145-8A77EE7074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BCA72CD0-62A0-4AB0-8274-5F63983B93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0057524C-5A68-4699-A181-2D8621052E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1021BA82-E2C4-40BD-A95C-0A1A392449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31CA0668-1BE5-4252-AEA5-2AF669BE7F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1D10BDAF-FB28-4DF4-817A-F4227BC7B2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786B3B50-00E2-4395-9ADE-6908353466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3F8A3EFB-1BBE-41BD-A6F9-49E9BCE23C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669FD33A-1D73-4D80-8435-F165596070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59CC0388-2FC2-440C-848B-E85CDDB0DF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06E8A048-1CBC-4947-9ED0-6DB3C592E7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629897BD-61A7-4DAD-9B93-16ED7D8B63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E38BADC8-546A-476D-9B4D-45A358722C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C4324A01-9463-42B2-83D4-E98BD3C0D7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69623F11-E9AE-4CD0-A964-B6CFCD2E83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6B1A1739-ED28-4E99-B365-9DA572D833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7293DD40-C8C7-4E34-8E1C-69E26F5AB3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5CECCEC5-AD28-4B4A-93C9-C064B64BAC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795134C2-8966-4B67-84FF-8AB22B267C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02A56A9C-92E4-423A-9FBD-16CBDF16DF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1BCD4912-F737-4691-B82F-62F3B54B4A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208F2A01-D14E-4B8F-9386-154A4BCF35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FA121B80-6BDC-4BC4-B3CA-D1666827CD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CFD390C6-79E1-41AB-B539-970568E2A6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090611FC-4609-4EB9-9910-E158DFC93F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E0613A62-3B98-4699-80B1-664748208F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BDA47A30-A9E4-460E-834D-5C0CECE4A9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5BA39968-18C4-44F6-BFDE-600A69CF4F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3B287DAD-1591-4CE7-9806-7336E9B340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ED51FB4A-F5FC-4125-A951-B06D04EA8D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44E18698-1952-4447-8DB0-073B838C96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6E2E09EB-72C3-4BAC-98E4-FF75726B9E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7AA25F3D-4730-469B-BD4C-1DF3E99E72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D094F845-493F-4D5C-B251-90A76706B4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F2B924F4-E4C9-467E-A7D1-4CFA09CF3F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2C819D98-89CC-42B6-A79A-F096AD4080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436F4E23-7DE1-4C4D-AD17-7275836A75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2FCB63AE-1566-412A-BB8E-94FF732570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9.4399999999999998E-2</c:v>
                </c:pt>
                <c:pt idx="1">
                  <c:v>0.1147</c:v>
                </c:pt>
                <c:pt idx="2">
                  <c:v>8.6499999999999994E-2</c:v>
                </c:pt>
                <c:pt idx="3">
                  <c:v>0.1056</c:v>
                </c:pt>
              </c:numCache>
            </c:numRef>
          </c:xVal>
          <c:yVal>
            <c:numRef>
              <c:f>Sheet1!$B$2:$B$5</c:f>
              <c:numCache>
                <c:formatCode>General</c:formatCode>
                <c:ptCount val="4"/>
                <c:pt idx="0">
                  <c:v>0.50860000000000005</c:v>
                </c:pt>
                <c:pt idx="1">
                  <c:v>0.48499999999999999</c:v>
                </c:pt>
                <c:pt idx="2">
                  <c:v>0.45150000000000001</c:v>
                </c:pt>
                <c:pt idx="3">
                  <c:v>0.45179999999999998</c:v>
                </c:pt>
              </c:numCache>
            </c:numRef>
          </c:yVal>
          <c:bubbleSize>
            <c:numRef>
              <c:f>Sheet1!$C$2:$C$5</c:f>
              <c:numCache>
                <c:formatCode>General</c:formatCode>
                <c:ptCount val="4"/>
                <c:pt idx="0">
                  <c:v>214.32432432432429</c:v>
                </c:pt>
                <c:pt idx="1">
                  <c:v>330.95</c:v>
                </c:pt>
                <c:pt idx="2">
                  <c:v>578.94520547945206</c:v>
                </c:pt>
                <c:pt idx="3">
                  <c:v>217.29411764705881</c:v>
                </c:pt>
              </c:numCache>
            </c:numRef>
          </c:bubbleSize>
          <c:bubble3D val="0"/>
          <c:extLst>
            <c:ext xmlns:c15="http://schemas.microsoft.com/office/drawing/2012/chart" uri="{02D57815-91ED-43cb-92C2-25804820EDAC}">
              <c15:datalabelsRange>
                <c15:f>Sheet1!$E$2:$E$58</c15:f>
                <c15:dlblRangeCache>
                  <c:ptCount val="57"/>
                  <c:pt idx="0">
                    <c:v>1/2 CHAMP NICOLAS BLC/BLC BS 1CT X 375ML</c:v>
                  </c:pt>
                  <c:pt idx="1">
                    <c:v>MG CHAMPAGNE NICOLAS BLC/BL BS 1CT X 1500ML</c:v>
                  </c:pt>
                  <c:pt idx="2">
                    <c:v>CHAMPAGNE NICOLAS BLC/BLC BS 1CT X 750ML</c:v>
                  </c:pt>
                  <c:pt idx="3">
                    <c:v>CHAMPAGNE NICOLAS BLC/BLC 2002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AEAA4899-537C-41A4-A6E3-62A291E9B1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4E367C2E-9AFE-45B7-8C33-C9992ED6D7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70C95AE2-49CF-43BF-8693-BB6E7D0ADE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8F334CAC-4EA8-4782-B742-B903C4149C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CFC261AC-34B9-4E7E-A986-A31BC90468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B00D669E-D9FA-43E3-89B8-54FFB0A1A2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5933A24-8C15-4281-B11D-820B655CC4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1628ADD3-1DB6-4C85-B04B-286B37B514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7870486D-A019-4CDA-A955-AC0B2122AE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DD8567C9-7448-45A8-B8D6-5FAC5C9F86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09CBC24-91E0-4F7C-A907-016416322F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9E81945-E84F-4121-8F25-58B3B9BF09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7C532B93-CEAB-4736-A426-BA93F596AF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770F32AF-C94E-4038-87F2-33D389AE66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1962035D-C205-4298-AE63-3882FC15B4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1C8B19FB-34C3-454E-9DA7-7D48BA510F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3EDA1CED-522F-431D-8A0E-F4985A8EAE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7E711BB3-BC6C-424A-A5E1-29499E828C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DE9C4730-8A0F-4256-9BED-6B60359231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34FCA463-CCC1-4F4E-A07F-0C739D46AA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724A6151-E279-4DE2-8D7F-5978ED5F2D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AADF69D6-7BC9-4CA3-89E2-6FAD976F31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A1CEC39E-3D32-4E52-9067-2F39384E22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2815DCC2-03BC-4E7A-A564-D8FC4D294F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998D858D-F67B-443D-B17D-B0AB35E618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6B52D2F8-D765-432D-B5D3-E3EF9B1EE0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E9ADAF6B-2DF6-427A-9BF8-476FB016E5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29373C72-2E9D-4A16-AB82-D0CF1B4EF7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FD03D026-4D31-4828-B91C-D53DC3B79B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88803525-833C-4FA3-8824-CACA2A37D1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F66392F4-9B51-4057-BF4F-58DC537F0E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816FF2E2-DFBB-4719-8F5D-1DCB4B9F7F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49DB06CF-0CF7-4976-BA88-46733C839E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01652941-3302-4E56-AA19-0373BE02BA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A4AF323A-2AD8-47CA-9977-B18F40E3EA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BB36C2F4-3C64-4FE3-A502-23364218DD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E318B2C4-22CC-4C86-843D-6AE9B03FD7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A7FD3049-DFBA-4D50-9713-0850DC3D17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96A01C26-157F-4B07-BB82-3EA220B38C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3E7A0C27-39CC-4952-AB0C-6CA1FE2430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F7AF635A-DD9F-4233-BD36-19B7177109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E8E7A344-B2FB-47DA-A4A2-9CD174796F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9BF705DD-CD1A-4412-B9AC-84E727BDC0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8659CBA2-FC4A-4A54-8B57-58FDD0E9BF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E2EDB453-C382-4E78-A129-F3A2A639BC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921A48CB-31E9-4825-B98A-91D908DFC3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540EDCDF-38E0-4633-83BC-F797FF3371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AC165E09-3977-466D-8A8E-AB1766477B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547A58CC-2F53-4E60-9046-71EFCA1E1F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76453B1E-E199-4705-96A9-15C2FCA413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272C7ECD-B977-444A-8C1C-DAD9AB19E3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1F882917-0314-4D00-9F14-FE2D769E0E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4F40CB52-0A38-4CC5-A2F5-7E90048F6F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561CBF77-4262-40C2-B759-DDE728DE91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22C8E610-6C34-4C90-94CA-3957622284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9485102E-577B-4059-8BBA-C28FF6E424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AF11B169-9017-43F9-99A5-AF40821A8C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9.8900000000000002E-2</c:v>
                </c:pt>
              </c:numCache>
            </c:numRef>
          </c:xVal>
          <c:yVal>
            <c:numRef>
              <c:f>Sheet1!$B$2:$B$2</c:f>
              <c:numCache>
                <c:formatCode>General</c:formatCode>
                <c:ptCount val="1"/>
                <c:pt idx="0">
                  <c:v>0.45240000000000002</c:v>
                </c:pt>
              </c:numCache>
            </c:numRef>
          </c:yVal>
          <c:bubbleSize>
            <c:numRef>
              <c:f>Sheet1!$C$2:$C$2</c:f>
              <c:numCache>
                <c:formatCode>General</c:formatCode>
                <c:ptCount val="1"/>
                <c:pt idx="0">
                  <c:v>192.4651162790698</c:v>
                </c:pt>
              </c:numCache>
            </c:numRef>
          </c:bubbleSize>
          <c:bubble3D val="0"/>
          <c:extLst>
            <c:ext xmlns:c15="http://schemas.microsoft.com/office/drawing/2012/chart" uri="{02D57815-91ED-43cb-92C2-25804820EDAC}">
              <c15:datalabelsRange>
                <c15:f>Sheet1!$E$2:$E$58</c15:f>
                <c15:dlblRangeCache>
                  <c:ptCount val="57"/>
                  <c:pt idx="0">
                    <c:v>CHAMPAGNE NICOLAS BLC/BLC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5A167E0C-2573-4DCE-A4E1-488EFF3671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D74EDF62-57E3-48BF-B2CB-CE19D4202A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D8C0130-1C60-4D9E-BB35-109B08087A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B68D651-1E59-42D4-AB9A-1817C54454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78212AE5-B288-4105-80AA-312C7E4503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AE527F34-45DD-4AEB-9FC9-33F7FE2D0A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9D15A57-AE69-4B6A-AF87-4F57D3BF8C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F8AAB567-6CBE-4503-9ACB-79DAD14914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595BFD9F-E058-417C-87C0-01FC677076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E54C277D-9EA3-49DC-A3B0-2012110C72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7234E49-949D-4D20-B2A7-F74CACCA10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182A6668-3C2C-4037-8910-11CB57DD70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6140A4B6-F4AE-40C5-BAC7-B087CB09E0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75FD98F6-DB7C-4C7E-871D-EF1D243A0B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032C7867-02C1-46D8-8A8F-41E6CD2497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1A00A310-CB9E-4C49-ADC8-7AE7B12B93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DD6B50D6-BBCA-4083-B577-BDC4D102F1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432A8D71-1E15-49C3-A1BA-389BDA6602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7A1FEC77-86B0-4EEF-8987-E67721C62D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88BAA737-08F6-4C78-B72E-505C30775D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008F7E31-7666-41A0-93EC-4BF4BF3695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60EB3DEF-9595-466B-A1A3-DBAF478385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3D823A13-F26D-4174-8FE5-660B8AE123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154CE7BA-CEC5-4B32-B39F-8FCCB11C9C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C5E38D29-C13D-44EB-B568-FDA50BB995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E824A4FF-45C9-4194-9F4A-9685ECC543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B3A1EB24-B4D7-4237-9A7E-480447F9F0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44678037-512B-4360-A19F-3436673BCE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74C70881-0742-4EF0-A273-BA29300F6E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1B0AD0EC-2501-4BAD-8DA4-0C9268739C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6483ECAB-C696-4F57-9F3B-FD1D745317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D2B96743-0828-4B94-BCB6-49BCD019F9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4927148B-B71A-4D54-AFE2-00D98CE13C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9B366C74-FF60-4D87-951B-91D610E64A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CB730BA8-D419-4A2D-9FD3-089838E63F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45A66C44-9E05-456A-BD7D-4F4B6FD8A8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D0927568-411C-4958-B9BA-7F8628FF5C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3EAD4877-723E-45DB-A545-4656B8A1CE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AEC092DC-CAE9-431A-B77D-5ABEA472AD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3FCF8736-E1A6-49EF-9BD2-F26FD8029F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A314B4C3-8D03-403F-B6F0-6BED794D9F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139BC2D1-7FDA-4BEC-B93C-CDAD604CFF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23ECB95F-267C-4AF0-A30C-1DF1760168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3AE47A21-2A9C-46A4-9316-99239A6EEF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FDB28BF4-131A-4329-A99D-20C174E91B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8A596EB2-E746-4971-BDC1-7CEEBCE969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7FA9E732-41B9-491B-89B6-70CFA5EE7D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FB8F793F-FD92-46CA-BBFF-35885BCF10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9F6AFD83-3778-4593-ABA9-0F903B2108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56FB7F36-EDEF-4CFA-951B-4C6E3CD1A1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9E91DD75-F392-4B6E-895C-8626E3E85B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CC92064E-EEC8-453A-B2FA-86F94DF017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1C9D6811-A5C3-4074-A089-55DA9B8BFF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19779C44-3F58-40E3-9BF6-3E8D4878D4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14598EF0-7884-4D32-A217-B00DEBFCF2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56A95630-932A-4CA4-89CC-6F576D2D87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A645C442-D936-460D-9548-B3BD07E8FB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1051</c:v>
                </c:pt>
                <c:pt idx="1">
                  <c:v>0.1236</c:v>
                </c:pt>
                <c:pt idx="2">
                  <c:v>9.6600000000000005E-2</c:v>
                </c:pt>
                <c:pt idx="3">
                  <c:v>0.21210000000000001</c:v>
                </c:pt>
              </c:numCache>
            </c:numRef>
          </c:xVal>
          <c:yVal>
            <c:numRef>
              <c:f>Sheet1!$B$2:$B$5</c:f>
              <c:numCache>
                <c:formatCode>General</c:formatCode>
                <c:ptCount val="4"/>
                <c:pt idx="0">
                  <c:v>0.50860000000000005</c:v>
                </c:pt>
                <c:pt idx="1">
                  <c:v>0.48259999999999997</c:v>
                </c:pt>
                <c:pt idx="2">
                  <c:v>0.45079999999999998</c:v>
                </c:pt>
                <c:pt idx="3">
                  <c:v>0.46400000000000002</c:v>
                </c:pt>
              </c:numCache>
            </c:numRef>
          </c:yVal>
          <c:bubbleSize>
            <c:numRef>
              <c:f>Sheet1!$C$2:$C$5</c:f>
              <c:numCache>
                <c:formatCode>General</c:formatCode>
                <c:ptCount val="4"/>
                <c:pt idx="0">
                  <c:v>93.030303030303031</c:v>
                </c:pt>
                <c:pt idx="1">
                  <c:v>181.44444444444451</c:v>
                </c:pt>
                <c:pt idx="2">
                  <c:v>265.66666666666669</c:v>
                </c:pt>
                <c:pt idx="3">
                  <c:v>106.21052631578949</c:v>
                </c:pt>
              </c:numCache>
            </c:numRef>
          </c:bubbleSize>
          <c:bubble3D val="0"/>
          <c:extLst>
            <c:ext xmlns:c15="http://schemas.microsoft.com/office/drawing/2012/chart" uri="{02D57815-91ED-43cb-92C2-25804820EDAC}">
              <c15:datalabelsRange>
                <c15:f>Sheet1!$E$2:$E$58</c15:f>
                <c15:dlblRangeCache>
                  <c:ptCount val="57"/>
                  <c:pt idx="0">
                    <c:v>1/2 CHAMP NICOLAS BLC/BLC BS 1CT X 375ML</c:v>
                  </c:pt>
                  <c:pt idx="1">
                    <c:v>MG CHAMPAGNE NICOLAS BLC/BL BS 1CT X 1500ML</c:v>
                  </c:pt>
                  <c:pt idx="2">
                    <c:v>CHAMPAGNE NICOLAS BLC/BLC BS 1CT X 750ML</c:v>
                  </c:pt>
                  <c:pt idx="3">
                    <c:v>CHAMPAGNE NICOLAS BLC/BLC 2002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D3F42553-50A8-4BAD-853C-BE03D330AD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ADB67593-36C4-4F27-AEAD-7EB67F01DB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A5608C89-81AA-4AE7-8CC3-C8A5B560B1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5688E59C-ADC5-4C75-A6AB-CA9C552821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8FF94CA1-2293-4065-BE22-7F0517A1C7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1852B6ED-8420-43DD-8288-4F87BAAF8A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BEC5E3A6-B0A5-4CBA-987B-0DE7991FC0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8C68AD3C-F3E0-41B1-8253-AD143EA6F7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0.959199999999999</c:v>
                </c:pt>
                <c:pt idx="1">
                  <c:v>48.112499999999997</c:v>
                </c:pt>
                <c:pt idx="2">
                  <c:v>23.498999999999999</c:v>
                </c:pt>
              </c:numCache>
            </c:numRef>
          </c:xVal>
          <c:yVal>
            <c:numRef>
              <c:f>Sheet1!$B$2:$B$4</c:f>
              <c:numCache>
                <c:formatCode>General</c:formatCode>
                <c:ptCount val="3"/>
                <c:pt idx="0">
                  <c:v>0.49509999999999998</c:v>
                </c:pt>
                <c:pt idx="1">
                  <c:v>0.40200000000000002</c:v>
                </c:pt>
                <c:pt idx="2">
                  <c:v>0.53239999999999998</c:v>
                </c:pt>
              </c:numCache>
            </c:numRef>
          </c:yVal>
          <c:bubbleSize>
            <c:numRef>
              <c:f>Sheet1!$C$2:$C$4</c:f>
              <c:numCache>
                <c:formatCode>General</c:formatCode>
                <c:ptCount val="3"/>
                <c:pt idx="0">
                  <c:v>225946.3863000001</c:v>
                </c:pt>
                <c:pt idx="1">
                  <c:v>2839503.3923000009</c:v>
                </c:pt>
                <c:pt idx="2">
                  <c:v>32052.593099999998</c:v>
                </c:pt>
              </c:numCache>
            </c:numRef>
          </c:bubbleSize>
          <c:bubble3D val="0"/>
          <c:extLst>
            <c:ext xmlns:c15="http://schemas.microsoft.com/office/drawing/2012/chart" uri="{02D57815-91ED-43cb-92C2-25804820EDAC}">
              <c15:datalabelsRange>
                <c15:f>Sheet1!$E$2:$E$29</c15:f>
                <c15:dlblRangeCache>
                  <c:ptCount val="28"/>
                  <c:pt idx="0">
                    <c:v>Mousseux</c:v>
                  </c:pt>
                  <c:pt idx="1">
                    <c:v>Champagnes</c:v>
                  </c:pt>
                  <c:pt idx="2">
                    <c:v>Effervescents Sans Alcool</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7.734999999999992"/>
          <c:min val="8.76736"/>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1014051570553961"/>
        <c:crossBetween val="midCat"/>
      </c:valAx>
      <c:valAx>
        <c:axId val="1011451359"/>
        <c:scaling>
          <c:orientation val="minMax"/>
          <c:max val="0.99887999999999999"/>
          <c:min val="8.1600000000000034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5.14766599106059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0EFC7EB1-49B8-45DC-BA36-29A0CF4A70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2B84600B-A4D0-4E11-9632-2E3CE09A12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CB649C6-6ADD-4618-B0AA-E7BDBD31BF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330504CB-E7AC-4A46-BA45-808848DA16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6737AA95-E9DE-4F9A-828C-44127EBC75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01291072-9180-41BC-BDCF-3F6BBBB310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2B82232-DB1B-448F-99AC-1EA3D88303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98065A1C-72DA-49E0-A6C6-502D3F6606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B408324F-7241-41FE-BB73-0D87FC1987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D6417A12-772C-4F8E-9C0F-7CC481242B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D3A51E4-42A1-4726-A20C-3780E77191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776CA71-09F8-40F2-BCB8-4862025B7D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3DA94E2A-F1CE-4510-B8B4-F5D94E15D1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D8BD4E70-70C4-49C5-BE76-00C367D6B7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DE8FA55A-DE3F-4AE8-8CC1-CBBE1C0FB0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FFA635F8-7A2A-489C-B952-4FD94DE150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0C7211DC-1544-4969-892E-748EE55F50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96F1BA80-4E31-4634-B98E-5E5C21FFC5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71FA5910-5FD0-4794-B2FC-90124FF8A6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B28DD47B-6C74-4C0A-8CDF-6434CB09F0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8D628BCC-D526-4E22-B6F8-152C8047C5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124FDCE8-21BC-4C51-AB2C-27323B1C56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56CF428A-7707-400F-837E-E8AE4D998C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0548DFF4-83D3-4F47-A53F-F91E60DDFC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529DB2D9-0393-497A-A685-E68F99CBC3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6B7B454D-7560-4451-A698-5E14C1C939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F1F0ACD6-DE41-466C-9A8B-4D7413F334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01CE46FE-16E2-4E26-BD5F-3DBF3FB0A5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FC627DA6-4124-43E3-B64D-D0B51DEA7A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D6873931-5AED-4C9F-B616-E2342933BA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035E8580-2074-489A-8718-EA3B2D8077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EBF08512-0FA8-498C-AC76-D81C27E624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02D6A1EA-19AA-4E4A-B1CF-976CF842FE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D4E5C1E3-BF94-4779-8597-4000DF5B1A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D810143E-4624-46A6-8883-9C87FA8EDF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952BBA67-2BA8-4AE0-B16D-9BB6B1FCFF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E5C4CE20-61E6-4B75-BB2C-9B1FFE88E5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F72C2C26-B91C-4B9B-ADAA-748A48FC41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C49C10C1-D666-450A-8AB8-0D4458F633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1A5F1753-0ECB-4CA2-A237-FFBE9EA56D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CAF06A16-7756-4CE4-B4B1-63CE5857EE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B94A03F7-0397-467A-9692-DE4B4F9CD8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74C5E30A-4C19-4306-A6D0-05759028CA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47319278-F193-4919-BFD5-EF12CAF08D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88719F41-D04F-4A40-9AFC-11F1B65C54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0B8DFEE5-4526-400A-AFCD-220FE86FF1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6B7D8EF2-366C-4006-8EE5-B06FAF5302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1C2D96F0-3693-4E3B-B2CA-BC18BEDA12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DC0234C8-A102-4F52-A6C8-545F7E1146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F59387DD-87BC-4505-9F28-374905EEA1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B1F8E8B2-9102-41B3-8DAA-09F3DE6E08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649C1C13-3E4C-42C6-9C4B-97353C3357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20F19BD2-AD84-4DD1-A468-DCB479874F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74342A01-3D8F-4F87-BDEE-F8FBBD2B44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E4D8EA04-4BCD-4851-B779-D2983CBB14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690C4EEE-1B4A-43A9-9627-5AFD9C5CCA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08EE8C27-1338-479D-896A-A85738153E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1099</c:v>
                </c:pt>
                <c:pt idx="1">
                  <c:v>9.69E-2</c:v>
                </c:pt>
              </c:numCache>
            </c:numRef>
          </c:xVal>
          <c:yVal>
            <c:numRef>
              <c:f>Sheet1!$B$2:$B$3</c:f>
              <c:numCache>
                <c:formatCode>General</c:formatCode>
                <c:ptCount val="2"/>
                <c:pt idx="0">
                  <c:v>0.48430000000000001</c:v>
                </c:pt>
                <c:pt idx="1">
                  <c:v>0.45129999999999998</c:v>
                </c:pt>
              </c:numCache>
            </c:numRef>
          </c:yVal>
          <c:bubbleSize>
            <c:numRef>
              <c:f>Sheet1!$C$2:$C$3</c:f>
              <c:numCache>
                <c:formatCode>General</c:formatCode>
                <c:ptCount val="2"/>
                <c:pt idx="0">
                  <c:v>91.3125</c:v>
                </c:pt>
                <c:pt idx="1">
                  <c:v>157.69642857142861</c:v>
                </c:pt>
              </c:numCache>
            </c:numRef>
          </c:bubbleSize>
          <c:bubble3D val="0"/>
          <c:extLst>
            <c:ext xmlns:c15="http://schemas.microsoft.com/office/drawing/2012/chart" uri="{02D57815-91ED-43cb-92C2-25804820EDAC}">
              <c15:datalabelsRange>
                <c15:f>Sheet1!$E$2:$E$58</c15:f>
                <c15:dlblRangeCache>
                  <c:ptCount val="57"/>
                  <c:pt idx="0">
                    <c:v>MG CHAMPAGNE NICOLAS BLC/BL BS 1CT X 1500ML</c:v>
                  </c:pt>
                  <c:pt idx="1">
                    <c:v>CHAMPAGNE NICOLAS BLC/BLC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D1DA46E2-8D77-461A-B205-25C50F1DFB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E203DCD1-8E3A-4C40-BEE4-5780B249AC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8DBE49B-9268-47C4-9EC1-9E49CB2F5E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C4CAE70-2C5E-4AAD-A4F9-F98C7C81F3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5C1D6F13-FF15-47F5-B2B4-654D4F0514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A1D0BF4A-AAFF-43AD-B026-DBB1DBA1E8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9FC6962-9D3B-42F1-8093-3AC714E0C3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21936870-8E64-4436-BE12-F7495B88DA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67BBE26F-F9D2-4EA3-9EFA-EC4F0137E7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23FF45CE-81B5-42F5-BE49-7F79E8C2F8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9778AB4-DA74-4173-9BD4-EE3F4C63EE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4EF0793C-C211-45AC-B29E-74576B7792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339BD99B-CD60-4195-BBEF-47715A50E0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951A95B3-D406-4239-94BD-3BE8D10525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531F6F83-3AF0-4BEF-A013-88D977E955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6528D730-E967-4BBE-84AA-C2C0A68AD6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D5099317-D30B-46AC-AE70-D1544A3527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2034921B-B671-4621-AB49-FEEA817CE8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4420F085-DDB2-4411-839B-8F291E44E4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C20B9983-02DC-4345-B6C4-18479F693B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73400815-2D99-4D0F-A560-4EBED2EE91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E0E17637-DF54-47AD-81BE-E1655ADC20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5A2132AC-D25E-4B76-8434-2C9393C3DC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4ED0961F-AEF4-4CCB-822A-C9D1C45326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DE38E242-248E-4387-A90C-22DCE5AF94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81EB89BF-39FA-4350-8CBD-1A4B571AA6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756D586B-F4B5-46A4-A454-1F71ABDD60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AB2913FE-E1F3-4F39-9A3F-DCA11753F7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45D5A0F5-459C-4510-A11A-6809F526B0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669BB30C-D304-42D2-81B9-271B6D878B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8F5D3ADE-2892-4FA2-BD25-3883ECF2E5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4529DE73-11DD-494C-89FF-F96F45BA2F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26399AB3-536E-4D04-B0D8-FA1BACE068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12789696-99A7-4E0D-AC5E-1554ED9073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9DCA578C-087A-44FF-A04C-82C93C58A3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35484E9F-8787-4F4E-AC66-D97B5CD73D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7C2252A6-76A0-4239-9716-819350B9D8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6B811360-9DA3-49DD-A5BF-812837B868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5877EBDF-6007-47A3-88B7-1001FAF11C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77A5F9FD-3F16-4AD1-A069-6C9A98A4A9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48A7253F-67A0-42EC-AFF7-DAB4E974C8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E6B1F562-5FC8-4259-AA40-C762439DF8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05116D78-6474-423D-8AA6-4B709F77CD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296BBB1D-4FA0-45B6-94AD-45C6208FDA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939F77D5-8CB4-47C6-B533-4301EDBAB0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83B40C24-8808-42EE-B9DC-E087637667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68DDF9AA-01E9-49F8-AAD4-DDEFDE70C7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09E25FF5-6DB0-43A3-AD18-1D01A830AA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5D7188F3-85CE-4E2B-944B-E4DCD3211B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6689EA7B-59AF-494E-926E-5635BDDCEB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8C8810E7-69B7-4715-A2FC-D4AEE2518E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89D0E117-B283-4098-BA85-05DB6778F0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1E9E4CC5-127E-4C2C-BE07-3925E57944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CA71ECC4-DFDB-42A9-8858-5E4E5B29F0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E41328F2-2D07-4860-8C21-EC789E6D8A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E5931872-7A99-4609-9EBF-F9656A5B7C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78513BB3-A156-484B-87CE-C6F118F746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8.2100000000000006E-2</c:v>
                </c:pt>
                <c:pt idx="1">
                  <c:v>8.3199999999999996E-2</c:v>
                </c:pt>
                <c:pt idx="2">
                  <c:v>8.1100000000000005E-2</c:v>
                </c:pt>
                <c:pt idx="3">
                  <c:v>7.0199999999999999E-2</c:v>
                </c:pt>
              </c:numCache>
            </c:numRef>
          </c:xVal>
          <c:yVal>
            <c:numRef>
              <c:f>Sheet1!$B$2:$B$5</c:f>
              <c:numCache>
                <c:formatCode>General</c:formatCode>
                <c:ptCount val="4"/>
                <c:pt idx="0">
                  <c:v>0.50860000000000005</c:v>
                </c:pt>
                <c:pt idx="1">
                  <c:v>0.48159999999999997</c:v>
                </c:pt>
                <c:pt idx="2">
                  <c:v>0.45079999999999998</c:v>
                </c:pt>
                <c:pt idx="3">
                  <c:v>0.43940000000000001</c:v>
                </c:pt>
              </c:numCache>
            </c:numRef>
          </c:yVal>
          <c:bubbleSize>
            <c:numRef>
              <c:f>Sheet1!$C$2:$C$5</c:f>
              <c:numCache>
                <c:formatCode>General</c:formatCode>
                <c:ptCount val="4"/>
                <c:pt idx="0">
                  <c:v>443.71428571428572</c:v>
                </c:pt>
                <c:pt idx="1">
                  <c:v>697.86956521739125</c:v>
                </c:pt>
                <c:pt idx="2">
                  <c:v>1545.1</c:v>
                </c:pt>
                <c:pt idx="3">
                  <c:v>905.142857142857</c:v>
                </c:pt>
              </c:numCache>
            </c:numRef>
          </c:bubbleSize>
          <c:bubble3D val="0"/>
          <c:extLst>
            <c:ext xmlns:c15="http://schemas.microsoft.com/office/drawing/2012/chart" uri="{02D57815-91ED-43cb-92C2-25804820EDAC}">
              <c15:datalabelsRange>
                <c15:f>Sheet1!$E$2:$E$58</c15:f>
                <c15:dlblRangeCache>
                  <c:ptCount val="57"/>
                  <c:pt idx="0">
                    <c:v>1/2 CHAMP NICOLAS BLC/BLC BS 1CT X 375ML</c:v>
                  </c:pt>
                  <c:pt idx="1">
                    <c:v>MG CHAMPAGNE NICOLAS BLC/BL BS 1CT X 1500ML</c:v>
                  </c:pt>
                  <c:pt idx="2">
                    <c:v>CHAMPAGNE NICOLAS BLC/BLC BS 1CT X 750ML</c:v>
                  </c:pt>
                  <c:pt idx="3">
                    <c:v>CHAMPAGNE NICOLAS BLC/BLC 2002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A1708364-145F-4794-8887-1FF126FA12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115DBA84-9B30-425A-9445-C7DD23B1D0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7572E2D-B855-406D-A5CA-3A2243D38A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1973654-9AD1-4F96-BE0B-E3530E310C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4549832E-E650-4579-A774-4555F78A87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A2D8DC73-9470-4B44-97DD-767F2C1951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BD84B56-9B29-4F67-B01F-E0D37807F5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D9E26E13-A6FE-4890-9173-484F96C56C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A0D1C603-FE9F-41B4-BB2C-F46E3F025C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0BF19FEC-8026-4B14-AE4F-C0A6528648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1B2DACF-B6AF-4495-BB78-7CE4B7939A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AAFFFCDB-81D8-4530-836E-E1537C2E6E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2EB483B4-B24E-4B3C-B84C-95D885E02B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18933A14-7596-448C-BD09-D857295B08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21609AAC-B789-449E-B451-3330E66A17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0DC2C204-FCA9-4A6F-A55F-A0CF92D68D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BFB737A1-9A0D-4B19-B9A6-EBEF5C86AE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462BF39F-E26E-43CA-B573-8B312DDDE0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39F5E1BF-FFE2-4B21-83DE-4D10F52793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E0ADAC0D-8464-4394-99F6-BE32AF8C0D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4B4980CD-C938-4DEC-B8BB-1D8A1F861A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08E0AAB3-EC6C-4AB6-9803-7B6FF54F0E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580CD9BD-F0E8-4B43-A1FE-7D8C5A2E5D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AC90431C-7B40-41F7-B4A8-E338C3D787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6185BEC3-989F-41C5-93F3-8EEFDF69AC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227B7319-8FEE-4B10-9520-CC617DB763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C4A3FF89-7DC6-434A-BB89-2343E201AA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A933ED30-7870-45DD-9629-8DCB46CE0A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22E84258-5DEA-460E-8487-65FDD8006A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DC49FE07-9F22-483B-8B4F-A18AF43ADF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B9686F22-BF36-45AF-A1EE-4C58E3194F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AFDF5BD9-7241-45CE-9C18-00978FBF38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C251C518-3AD1-45C5-9B39-1757D536A1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6D707442-CEA1-422C-A00E-98C6DCD45E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6BAD4037-FAAF-4F31-95EB-31B6B8A1E7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74964DB7-DFA0-45C2-8427-FDD45DB081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3C69EC4A-CC5C-4236-9913-85EE997BDA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D2FA75E3-3087-492D-8A86-56A6204631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F3AC5993-8362-49F7-9A8F-61C755D478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21311968-E40E-4463-ABE1-06AC24F53D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0F41BCB7-2FFF-4E43-A654-F7DCC1B80C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D160BFC8-0C95-463D-ABAF-B06C0C2B50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780618E5-2D25-4FFA-9898-B6901198BA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019C3753-1331-4A00-AA60-3F482259D7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314282F4-87AD-4912-944A-AEFB51C97A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8FA2643B-2256-47E1-A419-47AA484F2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049C0767-694F-4046-8554-135ED726E2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95411C44-E5C0-4E11-B5A5-43DAB9B4E5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528F1347-1367-4108-A564-E23FBD627B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C1C0A2C1-E469-4B0B-9D99-4F1A31933D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D1C7A3F0-7EF9-4B87-AB40-B7315CAB1F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E94C3C8A-4A9F-4FB4-AA4E-E1A3EB3FAB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B5EDE7B5-6B20-43E5-873F-AC2CA9086B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81C568D8-988E-409C-8C8D-51B7C1FA91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D2A95E52-822C-4F13-BF1E-B5514E2037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6FF3CF7F-83D4-4C9B-BB6D-ABC61286DE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ABC85166-4220-466B-B87D-AE031A105C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9.3399999999999997E-2</c:v>
                </c:pt>
                <c:pt idx="1">
                  <c:v>0.1007</c:v>
                </c:pt>
                <c:pt idx="2">
                  <c:v>8.3299999999999999E-2</c:v>
                </c:pt>
                <c:pt idx="3">
                  <c:v>9.7799999999999998E-2</c:v>
                </c:pt>
              </c:numCache>
            </c:numRef>
          </c:xVal>
          <c:yVal>
            <c:numRef>
              <c:f>Sheet1!$B$2:$B$5</c:f>
              <c:numCache>
                <c:formatCode>General</c:formatCode>
                <c:ptCount val="4"/>
                <c:pt idx="0">
                  <c:v>0.50860000000000005</c:v>
                </c:pt>
                <c:pt idx="1">
                  <c:v>0.47920000000000001</c:v>
                </c:pt>
                <c:pt idx="2">
                  <c:v>0.45100000000000001</c:v>
                </c:pt>
                <c:pt idx="3">
                  <c:v>0.42849999999999999</c:v>
                </c:pt>
              </c:numCache>
            </c:numRef>
          </c:yVal>
          <c:bubbleSize>
            <c:numRef>
              <c:f>Sheet1!$C$2:$C$5</c:f>
              <c:numCache>
                <c:formatCode>General</c:formatCode>
                <c:ptCount val="4"/>
                <c:pt idx="0">
                  <c:v>226.33333333333329</c:v>
                </c:pt>
                <c:pt idx="1">
                  <c:v>456.84210526315792</c:v>
                </c:pt>
                <c:pt idx="2">
                  <c:v>791.89855072463763</c:v>
                </c:pt>
                <c:pt idx="3">
                  <c:v>578.6</c:v>
                </c:pt>
              </c:numCache>
            </c:numRef>
          </c:bubbleSize>
          <c:bubble3D val="0"/>
          <c:extLst>
            <c:ext xmlns:c15="http://schemas.microsoft.com/office/drawing/2012/chart" uri="{02D57815-91ED-43cb-92C2-25804820EDAC}">
              <c15:datalabelsRange>
                <c15:f>Sheet1!$E$2:$E$58</c15:f>
                <c15:dlblRangeCache>
                  <c:ptCount val="57"/>
                  <c:pt idx="0">
                    <c:v>1/2 CHAMP NICOLAS BLC/BLC BS 1CT X 375ML</c:v>
                  </c:pt>
                  <c:pt idx="1">
                    <c:v>MG CHAMPAGNE NICOLAS BLC/BL BS 1CT X 1500ML</c:v>
                  </c:pt>
                  <c:pt idx="2">
                    <c:v>CHAMPAGNE NICOLAS BLC/BLC BS 1CT X 750ML</c:v>
                  </c:pt>
                  <c:pt idx="3">
                    <c:v>CHAMPAGNE NICOLAS BLC/BLC 2002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F0360172-9FDD-43E9-8113-108E1A58B7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284D539A-6C86-40F4-BE71-55A46F6A6D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D5217C4-9C3D-4055-8D22-DE18470C8E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7F7F415-BBDD-40C5-8516-2248AB2858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ECC3AC73-6B30-447C-94F9-4740A76283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717F6C9-BE33-4493-B75E-AEB40F527C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040257E-BCD5-42B9-9E69-3EA1DD1C00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B16CDC77-90CC-4793-95C3-C589311388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640124FE-2FFE-4262-9596-1B78577A46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BF76B1E2-20DE-46CC-B955-BC55BD1B95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9E4B80F-A012-495E-8CE8-6877E639CA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621C4357-2B17-4887-9BFF-8FE63A6B7C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CEFD5077-FC15-4E10-A03D-4B2CFDA239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9AC67C74-F9B1-40AC-9665-42E27C7F05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21A5C8BF-9922-4509-AF83-6B6B2DA19A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7BB6062B-3CCE-41DC-9B4F-06373D25DE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62F25B30-8E96-45E0-82E2-0513BFE907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3CB47950-E522-474F-B434-47F349F1FA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141A8892-41A3-4FC5-B79A-B3A92B74B3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BFFAAA8D-038D-4612-B9D8-9A567D1C0A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636132EE-D727-433E-BB94-DB3FE2EB50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4A0CFC9E-763D-4E50-BAC0-54E88FC7C9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02DC6D74-27FC-4F59-98F9-EE42FBA5B1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CF7F20D7-7E5D-4FF7-90ED-DB26ACDEF7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D7D4C538-8F4C-4102-979E-50CE9EE913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C1D00F4A-DD22-4D08-BA76-41FE0211AB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81BBB729-CEF8-417A-AFDD-98A67B55FE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7B86A710-0A27-4C0B-942F-D2BE82A86A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0D3C19C0-D650-4604-B799-A24E0E5385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D34386DE-2094-4901-9561-A30816C721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28F2E496-1329-45DA-B6C8-1E5A85D217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75FD899F-87D0-4BDB-B6E8-B5F432CED4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FED1C11F-95A9-4B71-8A2A-1535DBCD51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B8EA1C85-45CA-47CF-855A-559987D9B2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E1D76D5A-B3C6-40B2-BF73-247EC78DBB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32CE55FB-22FB-457F-A91B-50816923BE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C2280696-55D6-4901-9028-06B360C132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66E20C7A-20F8-48EE-B5F1-D5EC1D18AE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67A1BE14-BABE-465C-91E0-2C20416145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9C5CC816-CB30-48D9-9D69-2B7817E6A9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9EC12D42-3C2D-4C50-A81B-1D16098142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8AECD08C-A9EA-416F-AE8B-65B5AE48AF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C3150D25-805C-4A7D-B0B8-3A5370CB8C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438BF546-1009-4796-A576-CE62A883E0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D76AED4B-B98D-41CC-8B02-89EF03D7C1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D580ADD0-546D-400D-805B-ACB8B1ABF9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09A06BBC-6D1E-48B1-9811-69956EDCA2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302EFB57-CFA1-4FD9-B492-FEC259F403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C1CECC10-9914-4F95-BE50-41F34CD9C7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9680E62E-CBC4-43B5-818B-F4AE17FAC1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00384E81-C3E0-4EC5-885F-90F2915D67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55015F04-4E79-40AD-A348-4C025DA671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8F42DDF8-344C-499D-A9E4-70B812D6D2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60FD209A-6146-4EC6-A358-70CA3EA27B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E3599441-2E4D-4893-B42B-635EDE9EE3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916F45B1-FA1E-46E8-8705-D107C46017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BB56DFB8-7406-4338-82BD-2D5A197F67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8.8300000000000003E-2</c:v>
                </c:pt>
                <c:pt idx="1">
                  <c:v>8.7999999999999995E-2</c:v>
                </c:pt>
                <c:pt idx="2">
                  <c:v>8.2600000000000007E-2</c:v>
                </c:pt>
                <c:pt idx="3">
                  <c:v>9.8799999999999999E-2</c:v>
                </c:pt>
              </c:numCache>
            </c:numRef>
          </c:xVal>
          <c:yVal>
            <c:numRef>
              <c:f>Sheet1!$B$2:$B$5</c:f>
              <c:numCache>
                <c:formatCode>General</c:formatCode>
                <c:ptCount val="4"/>
                <c:pt idx="0">
                  <c:v>0.50860000000000005</c:v>
                </c:pt>
                <c:pt idx="1">
                  <c:v>0.48480000000000001</c:v>
                </c:pt>
                <c:pt idx="2">
                  <c:v>0.45090000000000002</c:v>
                </c:pt>
                <c:pt idx="3">
                  <c:v>0.45550000000000002</c:v>
                </c:pt>
              </c:numCache>
            </c:numRef>
          </c:yVal>
          <c:bubbleSize>
            <c:numRef>
              <c:f>Sheet1!$C$2:$C$5</c:f>
              <c:numCache>
                <c:formatCode>General</c:formatCode>
                <c:ptCount val="4"/>
                <c:pt idx="0">
                  <c:v>624.6</c:v>
                </c:pt>
                <c:pt idx="1">
                  <c:v>946.84615384615381</c:v>
                </c:pt>
                <c:pt idx="2">
                  <c:v>1649.4313725490199</c:v>
                </c:pt>
                <c:pt idx="3">
                  <c:v>940.83333333333337</c:v>
                </c:pt>
              </c:numCache>
            </c:numRef>
          </c:bubbleSize>
          <c:bubble3D val="0"/>
          <c:extLst>
            <c:ext xmlns:c15="http://schemas.microsoft.com/office/drawing/2012/chart" uri="{02D57815-91ED-43cb-92C2-25804820EDAC}">
              <c15:datalabelsRange>
                <c15:f>Sheet1!$E$2:$E$58</c15:f>
                <c15:dlblRangeCache>
                  <c:ptCount val="57"/>
                  <c:pt idx="0">
                    <c:v>1/2 CHAMP NICOLAS BLC/BLC BS 1CT X 375ML</c:v>
                  </c:pt>
                  <c:pt idx="1">
                    <c:v>MG CHAMPAGNE NICOLAS BLC/BL BS 1CT X 1500ML</c:v>
                  </c:pt>
                  <c:pt idx="2">
                    <c:v>CHAMPAGNE NICOLAS BLC/BLC BS 1CT X 750ML</c:v>
                  </c:pt>
                  <c:pt idx="3">
                    <c:v>CHAMPAGNE NICOLAS BLC/BLC 2002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3E1D083A-133F-4EAF-8CCA-538DE25267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65E2B6D0-D40C-40D2-9A73-2071F9EF37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5A66EBC-B450-48A5-AEC7-24D6A51648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3BD2E28-783F-4287-A380-A56D1C0C43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B1A6A365-2084-4E10-B804-83F3EAAE51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2D9D63CF-F6AA-4784-A6EA-759B2DBEF2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97792F0-FD71-43C6-AFC0-1641A5AE4D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EA91AA13-0D9D-4891-8146-821A20ED5B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82AFDADB-FFE0-4C85-A5DA-917905A751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CD6D59DD-62B6-402D-98E9-30B49257F6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FED683D-D6FE-4B67-8F90-2B45F59992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B7F93A6D-829B-4EBC-9496-0546EB022C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8B478627-6787-4E8B-B994-135938B948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A6A6BD8E-81CF-4B70-ABA2-A41E7CE890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0B08E257-023C-41D1-BED1-805CD4092C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09C9D10F-4497-4022-8B2D-55422DF287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58EA99D6-52CA-45D7-B744-8D0315AD81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C716A32B-7A02-4D9A-A4A0-888795B3AA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77F500C3-539A-4951-9C2F-C29BC25045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B96C59EC-2A81-4A25-9A5C-0E83E68293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4DBE0EED-8E3E-4309-85DE-A20F694C98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160FB5C7-2965-42AB-B342-218B1BECC8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A4698428-781E-4A56-BD08-F37845DF64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24F30BDD-2B22-4230-A0C0-59C0D27E3B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67C4D13D-3A55-4D11-9B0F-11A2A40C58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88CE010A-4334-4B72-962B-7A62FA03D1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7F30B523-0068-4247-80C1-4A5FB967E1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ED7A3464-3EC1-499F-81F4-1E812273BA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5BC1C2F5-87D1-4AD2-9BE6-94DA3DAFC5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0EBB4753-8AA7-4526-A00D-5DCB0FCCF8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39F2B2F1-7AB5-47F6-8261-CBD1D2E6FE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122B9B47-0FAE-4C88-BC43-E43B8739B7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F6A94CFF-297D-4959-9215-66E97E2519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89346607-D615-4822-947F-9739D412D9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00BB88EB-8116-49AE-BC49-F6001E9AEC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38D4D219-1B16-4EB6-8DA1-E3D3471CE0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7ED881A6-F413-497B-A542-516645C49F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EC762DDD-3571-40D4-90B0-D852BEE798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00C8741D-2132-4E9B-96B6-414ADBDBF8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92800FAF-0C4F-45F8-9463-ECCA2168D8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1F90B406-2836-4007-9720-02AF6F8C0F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75EB4047-EF7E-44BF-9FCC-D1C302D8C3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3F9C67D3-D2EF-4E70-963D-6BA1677F7F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076D48D2-6ADF-4A2F-B7C2-43A0876120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7D918A1C-9F58-4CDA-A64C-74495D069C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01AE0084-8E52-485B-89A5-EE47EB4A87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B488D0AB-FC6E-4870-891E-B7A4A32D92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9954952F-A849-4B6F-81BC-EA373311B0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BE2213FD-FCE5-43F7-AC25-37CFD7417A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A8FCF2C8-FF59-4BB5-8A8E-6A450BA704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FD2925E7-06AC-4DDC-97B6-B3BBEA17B3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709D9455-6CFB-4E74-BB15-7051DA1B35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C3C17E69-5E6D-4E3C-B50B-4EC8CE039F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0A4E3C38-62C1-49BE-876E-E49ADAB9D6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30C85445-B6A7-4BDC-BF44-6EBBBA0806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B1B9B859-0371-444C-8859-77AACFEA19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D8F8714C-13DB-448E-93F0-1D47E67747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8.5599999999999996E-2</c:v>
                </c:pt>
                <c:pt idx="1">
                  <c:v>8.14E-2</c:v>
                </c:pt>
                <c:pt idx="2">
                  <c:v>0.15110000000000001</c:v>
                </c:pt>
                <c:pt idx="3">
                  <c:v>8.4500000000000006E-2</c:v>
                </c:pt>
                <c:pt idx="4">
                  <c:v>9.9699999999999997E-2</c:v>
                </c:pt>
              </c:numCache>
            </c:numRef>
          </c:xVal>
          <c:yVal>
            <c:numRef>
              <c:f>Sheet1!$B$2:$B$6</c:f>
              <c:numCache>
                <c:formatCode>General</c:formatCode>
                <c:ptCount val="5"/>
                <c:pt idx="0">
                  <c:v>0.50860000000000005</c:v>
                </c:pt>
                <c:pt idx="1">
                  <c:v>0.48349999999999999</c:v>
                </c:pt>
                <c:pt idx="2">
                  <c:v>0.4491</c:v>
                </c:pt>
                <c:pt idx="3">
                  <c:v>0.45140000000000002</c:v>
                </c:pt>
                <c:pt idx="4">
                  <c:v>0.45100000000000001</c:v>
                </c:pt>
              </c:numCache>
            </c:numRef>
          </c:yVal>
          <c:bubbleSize>
            <c:numRef>
              <c:f>Sheet1!$C$2:$C$6</c:f>
              <c:numCache>
                <c:formatCode>General</c:formatCode>
                <c:ptCount val="5"/>
                <c:pt idx="0">
                  <c:v>642</c:v>
                </c:pt>
                <c:pt idx="1">
                  <c:v>1263.2</c:v>
                </c:pt>
                <c:pt idx="2">
                  <c:v>818.25</c:v>
                </c:pt>
                <c:pt idx="3">
                  <c:v>2260.5294117647059</c:v>
                </c:pt>
                <c:pt idx="4">
                  <c:v>790.33333333333337</c:v>
                </c:pt>
              </c:numCache>
            </c:numRef>
          </c:bubbleSize>
          <c:bubble3D val="0"/>
          <c:extLst>
            <c:ext xmlns:c15="http://schemas.microsoft.com/office/drawing/2012/chart" uri="{02D57815-91ED-43cb-92C2-25804820EDAC}">
              <c15:datalabelsRange>
                <c15:f>Sheet1!$E$2:$E$58</c15:f>
                <c15:dlblRangeCache>
                  <c:ptCount val="57"/>
                  <c:pt idx="0">
                    <c:v>1/2 CHAMP NICOLAS BLC/BLC BS 1CT X 375ML</c:v>
                  </c:pt>
                  <c:pt idx="1">
                    <c:v>MG CHAMPAGNE NICOLAS BLC/BL BS 1CT X 1500ML</c:v>
                  </c:pt>
                  <c:pt idx="2">
                    <c:v>CHAMPAGNE NICOLAS BLC/BL BS ET 1CT X 750ML</c:v>
                  </c:pt>
                  <c:pt idx="3">
                    <c:v>CHAMPAGNE NICOLAS BLC/BLC BS 1CT X 750ML</c:v>
                  </c:pt>
                  <c:pt idx="4">
                    <c:v>CHAMPAGNE NICOLAS BLC/BLC 2002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13AE2888-ABB6-4326-A8E1-42DF90EAFA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5BB2B2DD-A101-4CD3-85A4-67FBF5AB33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5229FFB-885E-4ABE-B504-D56BAC98E0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C0CC87B-959A-4408-B9B5-DA8FC9991C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34F1536F-BA26-4615-B507-D0F33FABF7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9F669307-FC1D-4707-833D-8CD7D71D40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8D7E718-3671-48D5-BC0D-75418E6892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A3B34BBB-3F32-45C3-9D42-B118537675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B20E3861-4F4D-409E-BA5B-12AD6D1721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F722F6FC-150D-4E7F-A614-7BFAD0D71E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08BA46F-C1E5-477A-AD7C-9F0CC01E38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75F2EF7C-C7B2-4506-8596-EF3BB58BD4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B348C83F-8F0F-4247-96B3-FFECB35155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8318C17A-62BE-4CD5-B725-45F689D0BF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77E27B0E-E6AA-4B6C-BA47-7CEDCD2120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F85E6F0F-4DC7-451A-82D0-606D2A7107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25791CF0-28F4-464A-9FE0-FC71E22E4A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8D07899E-F6C6-4A1A-880E-C15C1E4214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2E1D18C5-3377-4173-B190-02650FA79F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8F7EA8AB-9507-4539-8603-DCFC776AAA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71896910-260F-4794-A97C-2871B0B46D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C65BC026-0D84-4E4A-8772-439B05500D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10ACAFD8-5180-4E6B-A5F5-7176C91FC0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7F691024-CED2-4F5E-BCB3-9DFEC6FF0C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A798AA6B-DC67-4CEA-B8CE-AD0816D5C5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95E2ACE6-9358-49B7-8F85-48E7286602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C3F2F9B2-8B99-4C72-A5E6-A2DF466454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D6399F15-BA40-4C1E-9343-42DE590F17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BFABB31E-2EAF-4754-869D-425AFA3A7B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3AAE24C5-80D0-4DBA-B851-6621115630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42A7FCCE-B35D-48F9-B73D-1DD6ECDD1C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EE428067-D905-4CF9-9C6D-E6039D438C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B11376F6-2D73-4540-9916-23E2846E0A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AE01DD29-605F-4F80-B054-82D21799CC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D30403AA-8576-4693-8144-09AECD4375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D9A19E62-B6A4-469F-A02E-13F420D590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1BE7D6E6-31A1-4CEE-BDFD-9B0B8778A6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4C789225-A72E-42E9-9735-37B8ED9B9A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4A2AB110-6D80-45BB-904F-679D263CAD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7142DCD8-39F6-4E04-B951-37D7DB0E95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1A000EFF-7178-45D5-97BD-A6344F170A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62CF1169-E120-4E55-8B72-8DDF8C24B2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5CEC9660-91EC-4016-8FAD-0BE721F8D2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DAD09D59-0A6D-4FCD-A5D4-1650376643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B545ACF0-0D08-456F-B484-A189D08E88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980CA8CC-5C51-4C21-A5B9-2E297626D4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1D18E3EE-7863-4AF2-8256-76FE5046A0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E0050801-609D-497E-B206-A7C0782221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86EF035E-0D5B-4C91-954A-9A16755EEB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DD1376A4-994E-4A1E-BC1F-9AB5571CF6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6C6AC30E-B711-4A8C-9521-A41F4C8EDE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59A84D1C-5C20-443C-911C-5FDC6C5549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AB7A9A4B-2604-4D50-99E7-585BEF9C1F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745155A3-40EC-4EE0-A909-0DA71D2533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4E271678-A3D8-43D3-B23B-BB336CC12C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AD1BCF97-47D4-4E79-B5FD-95F26DC7FB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02C2A315-3D9A-49BB-9240-AE4F111A6C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9.0800000000000006E-2</c:v>
                </c:pt>
                <c:pt idx="1">
                  <c:v>9.3299999999999994E-2</c:v>
                </c:pt>
                <c:pt idx="2">
                  <c:v>8.6699999999999999E-2</c:v>
                </c:pt>
                <c:pt idx="3">
                  <c:v>0.1168</c:v>
                </c:pt>
              </c:numCache>
            </c:numRef>
          </c:xVal>
          <c:yVal>
            <c:numRef>
              <c:f>Sheet1!$B$2:$B$5</c:f>
              <c:numCache>
                <c:formatCode>General</c:formatCode>
                <c:ptCount val="4"/>
                <c:pt idx="0">
                  <c:v>0.50860000000000005</c:v>
                </c:pt>
                <c:pt idx="1">
                  <c:v>0.48499999999999999</c:v>
                </c:pt>
                <c:pt idx="2">
                  <c:v>0.45129999999999998</c:v>
                </c:pt>
                <c:pt idx="3">
                  <c:v>0.4556</c:v>
                </c:pt>
              </c:numCache>
            </c:numRef>
          </c:yVal>
          <c:bubbleSize>
            <c:numRef>
              <c:f>Sheet1!$C$2:$C$5</c:f>
              <c:numCache>
                <c:formatCode>General</c:formatCode>
                <c:ptCount val="4"/>
                <c:pt idx="0">
                  <c:v>653.5333333333333</c:v>
                </c:pt>
                <c:pt idx="1">
                  <c:v>1009.75</c:v>
                </c:pt>
                <c:pt idx="2">
                  <c:v>1265.294117647059</c:v>
                </c:pt>
                <c:pt idx="3">
                  <c:v>1255.666666666667</c:v>
                </c:pt>
              </c:numCache>
            </c:numRef>
          </c:bubbleSize>
          <c:bubble3D val="0"/>
          <c:extLst>
            <c:ext xmlns:c15="http://schemas.microsoft.com/office/drawing/2012/chart" uri="{02D57815-91ED-43cb-92C2-25804820EDAC}">
              <c15:datalabelsRange>
                <c15:f>Sheet1!$E$2:$E$58</c15:f>
                <c15:dlblRangeCache>
                  <c:ptCount val="57"/>
                  <c:pt idx="0">
                    <c:v>1/2 CHAMP NICOLAS BLC/BLC BS 1CT X 375ML</c:v>
                  </c:pt>
                  <c:pt idx="1">
                    <c:v>MG CHAMPAGNE NICOLAS BLC/BL BS 1CT X 1500ML</c:v>
                  </c:pt>
                  <c:pt idx="2">
                    <c:v>CHAMPAGNE NICOLAS BLC/BLC BS 1CT X 750ML</c:v>
                  </c:pt>
                  <c:pt idx="3">
                    <c:v>CHAMPAGNE NICOLAS BLC/BLC 2002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CCAF6363-C979-4D53-BA59-B635C235B4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D2F4AC2A-C92E-416F-ADA5-E9A8498CA0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AD3570F-EC5D-4CAA-B757-42256D2550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9FE2ABC-0613-4710-9575-11976F15AD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C4EC158C-8589-47D9-A521-6C024BA0CB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9864824A-D0D5-4ECF-9A14-8F9247E77C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5FD48C9D-06F5-4628-BD2D-3FA779E7F6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6C2734B-6CB3-44D2-9986-10FDBD44DB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2D294CDC-2458-43E8-9BFC-B85BC2EAE0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C99187BA-46A3-475A-AB2E-6849F4C668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F6DDF3C-6871-49A0-A022-47602D6D9D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A8C1D4E4-9C6A-4648-AFFF-8B9FD130E9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F8A5CD18-59AA-48B7-813E-FB526FF58B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CBBF5E54-CD76-4249-ABDC-4387AE6A7F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0883E361-198D-45F1-AC5A-C111EF105F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89D05795-E114-4186-93A1-22CEF9B8FC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4051CAF5-332B-4924-BCFA-204CB8DEB2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0D121865-7665-41A9-B482-211EDBECB2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D422FDFF-654C-463F-8D43-E97D39134A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50ADEFDB-1683-4A49-A1C6-A08A12677A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87D43088-CC4D-4A98-807B-3928B027DA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D02DA4F5-6E77-4A89-A2C1-7D14CA0DD3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34D0EF71-7EEE-422D-8302-0B7B078546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C7969E8C-F36E-4556-903F-6F2875ED50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2E0DBB59-B59B-49A3-952C-C9EDB913B6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535C6D3C-FC39-49F3-8CDF-340AFF2234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5FDBE9C8-2276-4263-8B10-B5FA0E3347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C74F1DDC-2BFB-4A05-8982-A92814029E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1823005A-6BBA-4985-8C09-C5F7D749C3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22089966-781C-4132-B442-7769231AC8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31A9DABF-88F0-428C-8976-80CECE020C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C0AF59CF-0CD3-49C1-AB35-2D8F4331A0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0B5B96C2-4D8A-41E4-8070-8557692458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91F4FAF2-F321-4C4B-80EA-97D6CBD8C7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8FDE68C4-E00F-4E4F-95B0-E6C245DEED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FEA2458A-6CDF-46FC-862F-E1F3174D7E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3E7A0EF0-7D09-4706-A37E-6065D37A67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7F14D9FE-3968-4B5F-BD34-06EC681FE0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0D90367D-090A-44E4-BB94-CB561678FC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7371BBD8-EA90-4D73-9495-8F8355FDC7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5D114BF2-E452-4197-B891-2FAB592BEF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E14564AA-3B3D-46DA-95B7-BE1B729054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06E7E42D-E2E3-4CE7-8861-AF8297CF42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D97008C9-8031-4C60-94E5-BB4D030AC0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90D5F385-3D7F-4D06-99A1-59103E7BD4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D409B095-067F-4302-B060-3AAFF9FBF2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A8C7F96F-40CD-4831-8CF0-16621E2289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F14F428D-A86F-40BA-AB66-57A4F28D5E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292462CB-F0B6-4130-A0B4-F9C969A0E4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6893998B-FE5C-4199-8FED-86396E06B4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03B41DFF-27AB-4D14-B780-D4D6BF3758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C8D4406C-D3BB-4897-846E-3B09FB0422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A7C30CF5-CB55-4C0A-85B9-9CDF5EA284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197C6D80-2CA6-494D-9BD1-4F2F050C79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E50EFCB1-966F-43FD-ACC1-46125489FE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4E136CD1-D013-4780-856F-AA47804FD6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E9FF88D5-DDDD-41AD-9288-1B50D8809F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2.9999999999999997E-4</c:v>
                </c:pt>
                <c:pt idx="1">
                  <c:v>-5.4399999999999997E-2</c:v>
                </c:pt>
                <c:pt idx="2">
                  <c:v>0.1119</c:v>
                </c:pt>
                <c:pt idx="3">
                  <c:v>1.0500000000000001E-2</c:v>
                </c:pt>
                <c:pt idx="4">
                  <c:v>3.1800000000000002E-2</c:v>
                </c:pt>
                <c:pt idx="5">
                  <c:v>3.7499999999999999E-2</c:v>
                </c:pt>
                <c:pt idx="6">
                  <c:v>5.0200000000000002E-2</c:v>
                </c:pt>
              </c:numCache>
            </c:numRef>
          </c:xVal>
          <c:yVal>
            <c:numRef>
              <c:f>Sheet1!$B$2:$B$8</c:f>
              <c:numCache>
                <c:formatCode>General</c:formatCode>
                <c:ptCount val="7"/>
                <c:pt idx="0">
                  <c:v>0.28420000000000001</c:v>
                </c:pt>
                <c:pt idx="1">
                  <c:v>0.45069999999999999</c:v>
                </c:pt>
                <c:pt idx="2">
                  <c:v>0.45279999999999998</c:v>
                </c:pt>
                <c:pt idx="3">
                  <c:v>0.44919999999999999</c:v>
                </c:pt>
                <c:pt idx="4">
                  <c:v>0.51039999999999996</c:v>
                </c:pt>
                <c:pt idx="5">
                  <c:v>0.21199999999999999</c:v>
                </c:pt>
                <c:pt idx="6">
                  <c:v>0.43819999999999998</c:v>
                </c:pt>
              </c:numCache>
            </c:numRef>
          </c:yVal>
          <c:bubbleSize>
            <c:numRef>
              <c:f>Sheet1!$C$2:$C$8</c:f>
              <c:numCache>
                <c:formatCode>General</c:formatCode>
                <c:ptCount val="7"/>
                <c:pt idx="0">
                  <c:v>784.08333333333337</c:v>
                </c:pt>
                <c:pt idx="1">
                  <c:v>775.16216216216219</c:v>
                </c:pt>
                <c:pt idx="2">
                  <c:v>840.27272727272725</c:v>
                </c:pt>
                <c:pt idx="3">
                  <c:v>759.57142857142844</c:v>
                </c:pt>
                <c:pt idx="4">
                  <c:v>680.5</c:v>
                </c:pt>
                <c:pt idx="5">
                  <c:v>8910.3333333333339</c:v>
                </c:pt>
                <c:pt idx="6">
                  <c:v>339.72727272727269</c:v>
                </c:pt>
              </c:numCache>
            </c:numRef>
          </c:bubbleSize>
          <c:bubble3D val="0"/>
          <c:extLst>
            <c:ext xmlns:c15="http://schemas.microsoft.com/office/drawing/2012/chart" uri="{02D57815-91ED-43cb-92C2-25804820EDAC}">
              <c15:datalabelsRange>
                <c15:f>Sheet1!$E$2:$E$58</c15:f>
                <c15:dlblRangeCache>
                  <c:ptCount val="57"/>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pt idx="6">
                    <c:v>CHAMPAGNE NICOLAS 1ERE CUV ET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B96DA239-A282-4D0A-87C7-D9B0492C05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1552D9A1-5444-4615-A0CD-858CD6D456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5BD8136-1EB6-4A3A-A28A-48FA7F126D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B29078C-B12C-4279-9A28-6B33A8D41C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A000CC98-307C-4927-9799-D487966CCD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2D5FC7DA-CF60-4DBE-92D6-D2E8F73B4E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1DAC4C64-A32D-4218-A797-35C9249E24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EC559C4-A545-4EE3-94E0-DA7CEB48B8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5B266168-59E8-46A9-93B5-FD843DA947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FD2D0A71-FEC0-4EBE-A060-95173B1D35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30BAA70-3CC6-4F3A-A053-18A9FAD4D1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E7F57538-E4FC-465C-9A0F-08853241E1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727AD294-608E-4B44-BA4B-CAF96B49B0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E2C2740B-43F2-4076-9C12-561DF7F4E7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B3B8A0AB-F305-40D1-91AC-68C6FDC14C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BFBF145A-130A-475D-983F-259ADAC1BA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832680CF-DA68-41AD-8E71-84ED1CF7E2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BEFA63C1-D81C-4579-9786-42D2A9A941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8DD5705F-836C-4930-8420-DB22A8C4BE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E3BCE61D-FE0C-41BD-A729-10A202B7DA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04C01668-80E0-4ADA-A25E-5EE359630A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BE65629B-550E-4358-BF52-EE4FC9C487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4BBA456F-8797-4A54-B8AA-4713A9B7FE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01707F5B-6F5B-4B57-BE0A-1A7AA435A7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F9955281-9538-4444-A655-23580ECD7B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36A7628C-3988-490F-ACAE-2C412F4E76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DD908A67-D1C8-4090-AFE0-E47E5AB9A6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A2E372BD-8A57-4AA4-A8FB-A3C10A4035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FAD758E4-FB5F-4ABB-B08E-5FCB40B5E3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E5AFAC28-4E51-453D-B787-FA124A904A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AF364A8A-FAE2-4E16-8A8A-81D776E227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31537869-1972-4E85-9001-4934664ECC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32EABB64-7906-474E-993F-4B0B660DCA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DBAFD495-2C69-4DD5-8326-AA2801745C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26E83D7F-448A-4198-A598-5D1D02442F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9C28C435-B12A-4DC2-8365-CF8B8DE3C3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8BCB9135-CA90-40DC-BE6D-BAC6FB9323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0422B2F7-6D7D-4D84-A82E-10F1B151D3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C42EB7EE-6B63-47CA-8DEB-2CB329C49A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9CB1F8F6-1360-4238-B626-6B0A863B87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99F781BC-F380-4126-98AE-727063FA3B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2796CCA5-DF62-4276-8773-959E100AAC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6F4102B3-C48F-4EEB-961C-A41C7B8504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770D542F-F6A7-4D34-AD17-CB7C1F0E61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478F9F56-8835-42FC-9BED-28F1607E8D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748FA251-9A74-4661-8A26-1FC6F71742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D997CB90-85B9-455D-A84D-5704C6E574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31473700-2570-41E1-9562-59CEA785E0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6FB5BC4D-7C84-48E6-BF6E-C35DFFD008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00512E14-7183-44A2-900D-C5F1F52561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DA4E3FF3-4479-44C9-93B3-C3ACCDF3BF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8F4BDA02-3833-4C99-8CCD-44CC54596C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FEE34178-6CCE-40AB-BB73-4C2B8D668E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CACDE821-9AC7-4E75-8AE4-89E44E790A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14A6964E-E896-4956-A382-95B4EB96AC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329222A4-85E9-44F2-8A71-1D9543F2D3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30A897BD-EDA1-40B1-9A17-097D008C0D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1.43E-2</c:v>
                </c:pt>
                <c:pt idx="1">
                  <c:v>-2.4E-2</c:v>
                </c:pt>
                <c:pt idx="2">
                  <c:v>0.1159</c:v>
                </c:pt>
                <c:pt idx="3">
                  <c:v>1.35E-2</c:v>
                </c:pt>
                <c:pt idx="4">
                  <c:v>3.6400000000000002E-2</c:v>
                </c:pt>
                <c:pt idx="5">
                  <c:v>4.0800000000000003E-2</c:v>
                </c:pt>
                <c:pt idx="6">
                  <c:v>8.2100000000000006E-2</c:v>
                </c:pt>
              </c:numCache>
            </c:numRef>
          </c:xVal>
          <c:yVal>
            <c:numRef>
              <c:f>Sheet1!$B$2:$B$8</c:f>
              <c:numCache>
                <c:formatCode>General</c:formatCode>
                <c:ptCount val="7"/>
                <c:pt idx="0">
                  <c:v>0.28439999999999999</c:v>
                </c:pt>
                <c:pt idx="1">
                  <c:v>0.45100000000000001</c:v>
                </c:pt>
                <c:pt idx="2">
                  <c:v>0.45279999999999998</c:v>
                </c:pt>
                <c:pt idx="3">
                  <c:v>0.44919999999999999</c:v>
                </c:pt>
                <c:pt idx="4">
                  <c:v>0.51149999999999995</c:v>
                </c:pt>
                <c:pt idx="5">
                  <c:v>0.21190000000000001</c:v>
                </c:pt>
                <c:pt idx="6">
                  <c:v>0.43819999999999998</c:v>
                </c:pt>
              </c:numCache>
            </c:numRef>
          </c:yVal>
          <c:bubbleSize>
            <c:numRef>
              <c:f>Sheet1!$C$2:$C$8</c:f>
              <c:numCache>
                <c:formatCode>General</c:formatCode>
                <c:ptCount val="7"/>
                <c:pt idx="0">
                  <c:v>3678.7795275590552</c:v>
                </c:pt>
                <c:pt idx="1">
                  <c:v>3148.787483702738</c:v>
                </c:pt>
                <c:pt idx="2">
                  <c:v>1560.550847457627</c:v>
                </c:pt>
                <c:pt idx="3">
                  <c:v>3041.15</c:v>
                </c:pt>
                <c:pt idx="4">
                  <c:v>2524.7422680412369</c:v>
                </c:pt>
                <c:pt idx="5">
                  <c:v>41115.460921843689</c:v>
                </c:pt>
                <c:pt idx="6">
                  <c:v>1050</c:v>
                </c:pt>
              </c:numCache>
            </c:numRef>
          </c:bubbleSize>
          <c:bubble3D val="0"/>
          <c:extLst>
            <c:ext xmlns:c15="http://schemas.microsoft.com/office/drawing/2012/chart" uri="{02D57815-91ED-43cb-92C2-25804820EDAC}">
              <c15:datalabelsRange>
                <c15:f>Sheet1!$E$2:$E$58</c15:f>
                <c15:dlblRangeCache>
                  <c:ptCount val="57"/>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pt idx="6">
                    <c:v>CHAMPAGNE NICOLAS 1ERE CUV ET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8BAEBE0E-8E30-4C55-A889-784782822D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8C099255-FD24-44FA-B201-019F5D15F8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03C59ED-9E5C-41D4-8807-C00696AD24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EEFD818-46CB-4725-A7FF-2F10326C00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BA6996C9-E450-4CED-B6E6-1860F76A61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DB85F772-AB5C-4434-9D90-79645FE9C1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47B39845-4705-4F9F-9FAE-141B8F679A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8CF4108-A9D1-4A41-8632-26FF92ADEF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2D898508-F995-45C6-84C6-BD44F56833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2E9BB2D8-8E20-40D1-9117-E0FA44BA0C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B2471CB-0FCD-4F51-9C31-F91103CB16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62B111E3-9FF2-4F6E-9E08-3D06E396B1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1CAD64F7-DFDA-4310-8B3E-4AEBC313B6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D41481B4-B94D-422B-9625-8652907E1B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A3CE3490-A260-4FA6-8513-9A9964C8A4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6D5FA9BE-D1B3-4F93-AC4F-3D0F770A74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2F8C4D96-51E7-47EE-8513-41B3227ED3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CDA3FFC6-6DEC-4D40-B817-9B6D49538C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E669C85F-515C-4C9F-8811-B91885E33C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BC2944C7-2EC8-4116-A9B0-67CAE7220F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BE6F1A95-6E7A-4534-B5F2-89C8A212AE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63E0FAA4-8997-4190-8869-D852BFC2CB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6DA864E4-548C-49F6-BECB-1F0C0D0BE2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6EDB40B0-E895-4EDA-A3A1-B42D9FDE64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AEF49ECA-5D64-443E-A04B-CFE60463E5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081F31D3-79F5-4BF8-BAEE-B7D0D24205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9E6284D1-28BB-4D2A-A5F6-8CECC7306F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4A3F9CAA-03DC-41DD-8174-BB9CD5B4D0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67433EC3-693D-4198-AFCD-C676DA5EB4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A2BC090E-41AC-42A2-85C3-E08BF5464B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FD7A8606-9B42-4294-ABE4-7E02AAEAEC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4A5F4D4F-316A-4A2A-BE2F-AA53B64C0A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FB2D31C4-BB9B-4620-AA9D-AD01C45703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447F89D0-6CA8-40AD-8BA3-415AC4FB67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312316A9-3071-4196-973D-DD4AADBB6B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F2545ADA-4EBA-4456-AC0B-47BFCCCB0D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552B2C7C-0C85-4635-AF22-E40687970B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503EB253-C626-45A6-93C3-BD4E68AB5C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F24FD018-F06C-451E-80C3-EE10CBDAE0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49399226-6DAE-4F34-9724-23983ADDF3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0F73243E-762E-41CE-8892-283C690302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14A2DAFB-0F7F-445E-A715-BCCFF10861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C542E4D7-CB4D-4EFE-AFD0-82D2B07AAC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367AC923-EF31-423A-B7B2-D06EF842C3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5A77CE70-C3EF-4D1A-8440-66274E0553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B2DA9CD9-61CD-4C91-A24D-5C1D1AD657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853779F8-C1BD-45BD-8A19-167A02D3A9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34B4E0A5-A6EA-45EF-B41B-15AA83CD18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45938D50-3B95-48ED-9909-89432853AA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754AF637-F570-42A4-9E30-F4350EEC74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E3FA6154-69B3-41DC-9DC2-9A8FBA55F9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68F96D78-F9B3-453F-B4DB-9EDC03DE47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E2349D9E-13F4-4C46-8652-D0BBA33D1D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1D0B4770-8FEE-45EA-950A-758524DD83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B3A50AB8-BAE9-4F8F-8F1A-050F63B435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760943D3-0255-4E33-97F9-903198B5BF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280447C6-A99F-46A7-8167-192E282A89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4.1999999999999997E-3</c:v>
                </c:pt>
                <c:pt idx="1">
                  <c:v>-2.7400000000000001E-2</c:v>
                </c:pt>
                <c:pt idx="2">
                  <c:v>0.1007</c:v>
                </c:pt>
                <c:pt idx="3">
                  <c:v>-2.5999999999999999E-3</c:v>
                </c:pt>
                <c:pt idx="4">
                  <c:v>2.9399999999999999E-2</c:v>
                </c:pt>
                <c:pt idx="5">
                  <c:v>4.2700000000000002E-2</c:v>
                </c:pt>
                <c:pt idx="6">
                  <c:v>5.7000000000000002E-2</c:v>
                </c:pt>
              </c:numCache>
            </c:numRef>
          </c:xVal>
          <c:yVal>
            <c:numRef>
              <c:f>Sheet1!$B$2:$B$8</c:f>
              <c:numCache>
                <c:formatCode>General</c:formatCode>
                <c:ptCount val="7"/>
                <c:pt idx="0">
                  <c:v>0.2843</c:v>
                </c:pt>
                <c:pt idx="1">
                  <c:v>0.4511</c:v>
                </c:pt>
                <c:pt idx="2">
                  <c:v>0.45279999999999998</c:v>
                </c:pt>
                <c:pt idx="3">
                  <c:v>0.44919999999999999</c:v>
                </c:pt>
                <c:pt idx="4">
                  <c:v>0.51149999999999995</c:v>
                </c:pt>
                <c:pt idx="5">
                  <c:v>0.2117</c:v>
                </c:pt>
                <c:pt idx="6">
                  <c:v>0.43819999999999998</c:v>
                </c:pt>
              </c:numCache>
            </c:numRef>
          </c:yVal>
          <c:bubbleSize>
            <c:numRef>
              <c:f>Sheet1!$C$2:$C$8</c:f>
              <c:numCache>
                <c:formatCode>General</c:formatCode>
                <c:ptCount val="7"/>
                <c:pt idx="0">
                  <c:v>2173.166666666667</c:v>
                </c:pt>
                <c:pt idx="1">
                  <c:v>1336</c:v>
                </c:pt>
                <c:pt idx="2">
                  <c:v>539.48148148148152</c:v>
                </c:pt>
                <c:pt idx="3">
                  <c:v>1529.526315789474</c:v>
                </c:pt>
                <c:pt idx="4">
                  <c:v>1241.6756756756761</c:v>
                </c:pt>
                <c:pt idx="5">
                  <c:v>18113.009999999998</c:v>
                </c:pt>
                <c:pt idx="6">
                  <c:v>455.49999999999989</c:v>
                </c:pt>
              </c:numCache>
            </c:numRef>
          </c:bubbleSize>
          <c:bubble3D val="0"/>
          <c:extLst>
            <c:ext xmlns:c15="http://schemas.microsoft.com/office/drawing/2012/chart" uri="{02D57815-91ED-43cb-92C2-25804820EDAC}">
              <c15:datalabelsRange>
                <c15:f>Sheet1!$E$2:$E$58</c15:f>
                <c15:dlblRangeCache>
                  <c:ptCount val="57"/>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pt idx="6">
                    <c:v>CHAMPAGNE NICOLAS 1ERE CUV ET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DC4602CC-47D7-4803-BA5A-2E30FF3639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F5876824-7FA8-4948-AA5D-D5803A9DE1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03858AA-7CAE-4E8B-BBD5-096DDDC309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2974201-1728-418D-B066-128FB9AD33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A7635C-05E5-429F-845B-53D597A269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8DCB19C8-4413-4BE8-AFAE-3F34547E5B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A1345F06-32FD-41F3-8962-0D02B2042B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C937AD50-408A-43FF-9FAE-61E0A1475E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873DF03D-4E8D-4704-9366-57BB6586AC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A1F5667D-8362-4288-A51C-86986CBA2D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B80B8DC-A6C0-44B6-88B2-68BAEA5BB0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1D7E2F6C-11A9-418B-81E4-C43F12668F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F1A0C557-87B6-4B68-ACC0-6F20DD7D02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09217803-4CF3-44FB-9712-F1B4B1FF61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5167865D-9C09-4A72-939D-DF5BA48A3F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A816448F-A01A-4E54-A34E-036BA86C59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F8DF2CCE-7934-4A88-BB51-99FB788076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FD689D0A-0263-46A6-B78A-C6998DAB0F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2101978C-54A2-4F73-ACF8-0FA697F659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F156312E-15F9-4214-86CE-66B3D18B69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79B6F48C-E6D4-42E1-8E69-8A3AE9E22C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505BA386-34BA-4E21-965C-633EFE148A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0EA515CD-78E4-4C4C-8823-0303FB13AC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019A056D-052F-4CE0-9CC4-BF31BA793A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2E324363-098D-4B3B-AACF-CE6AB19438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B75CDB4C-0EAB-4677-ADB2-DD103BDE02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AC0E3C44-72CE-4AA4-8C2E-2B8F71B658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DBFDC6D6-B91B-4F65-B017-ABB3B469B9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8FDE77B4-F9BD-42AC-A4E7-ACCEB937A7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B4863202-319D-4686-9BCD-E06FB9D8B1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3C76BAB7-8DDF-41AC-9428-79A7BDD6F1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7757A60A-BD75-4666-90DF-1CE9C8D782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286F9EF4-7594-4C0B-A459-4BEEFF49BE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A9FF7F2E-C9B7-4D0F-BBC2-8F10BCAB27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1DE7AD29-E77F-40F4-B7D5-E7D070B251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AC38DC1A-0281-47DB-AB89-68822F7CB5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DE7D0CAA-4259-44F7-BECA-46F77E6037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E386C575-16EB-4563-828C-38D90B9FC9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CA851A8A-D405-42D7-8A60-E0711BBA58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500DF511-852B-408D-8E2B-1859DB23E4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52FE434F-E65A-4937-BFB4-701686302A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94CB858F-85B7-4A7A-B0AE-15F44F451A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DE1BC507-BE52-4E89-80D9-A8FE7B8094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C423BEC7-EC1D-442D-A167-F8C54B261B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9D5693CA-6971-497C-820C-E893EEF02E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C4B2E7DE-31A0-4108-A348-049F12F1F4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40E6B30C-AE30-4612-8D0C-74077CF12F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2D432DC3-C384-4A64-9D5A-68A3644AC9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15C8BB4C-456C-4F78-93D4-340D32D7F5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B437332C-E60D-46E3-94E9-B12DDC3BB1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027C097C-BBE6-4C4D-8921-5E3C690183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E12CFDC7-D89A-4C73-8AB1-9C705558BA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DB11E232-D8DF-40A2-A7FD-A566DF55A2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A0A86C70-50CC-47A1-8FE2-4EBF3CBA9D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0935D3B8-B7F3-42C9-ADA1-EB05F55AD2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7C0387A0-8051-439A-B8F0-72AC005D56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8CC670C7-43A0-49DC-A9FF-387119609D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2.2599999999999999E-2</c:v>
                </c:pt>
                <c:pt idx="1">
                  <c:v>7.7000000000000002E-3</c:v>
                </c:pt>
                <c:pt idx="2">
                  <c:v>0.13250000000000001</c:v>
                </c:pt>
                <c:pt idx="3">
                  <c:v>1.6500000000000001E-2</c:v>
                </c:pt>
                <c:pt idx="4">
                  <c:v>3.2500000000000001E-2</c:v>
                </c:pt>
                <c:pt idx="5">
                  <c:v>4.2900000000000001E-2</c:v>
                </c:pt>
              </c:numCache>
            </c:numRef>
          </c:xVal>
          <c:yVal>
            <c:numRef>
              <c:f>Sheet1!$B$2:$B$7</c:f>
              <c:numCache>
                <c:formatCode>General</c:formatCode>
                <c:ptCount val="6"/>
                <c:pt idx="0">
                  <c:v>0.28410000000000002</c:v>
                </c:pt>
                <c:pt idx="1">
                  <c:v>0.45229999999999998</c:v>
                </c:pt>
                <c:pt idx="2">
                  <c:v>0.45279999999999998</c:v>
                </c:pt>
                <c:pt idx="3">
                  <c:v>0.44919999999999999</c:v>
                </c:pt>
                <c:pt idx="4">
                  <c:v>0.5161</c:v>
                </c:pt>
                <c:pt idx="5">
                  <c:v>0.21190000000000001</c:v>
                </c:pt>
              </c:numCache>
            </c:numRef>
          </c:yVal>
          <c:bubbleSize>
            <c:numRef>
              <c:f>Sheet1!$C$2:$C$7</c:f>
              <c:numCache>
                <c:formatCode>General</c:formatCode>
                <c:ptCount val="6"/>
                <c:pt idx="0">
                  <c:v>337.32142857142861</c:v>
                </c:pt>
                <c:pt idx="1">
                  <c:v>280.97402597402589</c:v>
                </c:pt>
                <c:pt idx="2">
                  <c:v>243.15789473684211</c:v>
                </c:pt>
                <c:pt idx="3">
                  <c:v>315.39999999999998</c:v>
                </c:pt>
                <c:pt idx="4">
                  <c:v>281.55102040816331</c:v>
                </c:pt>
                <c:pt idx="5">
                  <c:v>4501.0200000000004</c:v>
                </c:pt>
              </c:numCache>
            </c:numRef>
          </c:bubbleSize>
          <c:bubble3D val="0"/>
          <c:extLst>
            <c:ext xmlns:c15="http://schemas.microsoft.com/office/drawing/2012/chart" uri="{02D57815-91ED-43cb-92C2-25804820EDAC}">
              <c15:datalabelsRange>
                <c15:f>Sheet1!$E$2:$E$58</c15:f>
                <c15:dlblRangeCache>
                  <c:ptCount val="57"/>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AE1566F-0BA5-4A6F-8CED-095859E39B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DB2A5F43-AC24-4465-92FB-6CC49DE933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FF5-4D9B-9947-2A90D7752FBB}"/>
                </c:ext>
              </c:extLst>
            </c:dLbl>
            <c:dLbl>
              <c:idx val="2"/>
              <c:tx>
                <c:rich>
                  <a:bodyPr/>
                  <a:lstStyle/>
                  <a:p>
                    <a:fld id="{F5168390-A24E-42E3-BF08-260B640EAB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FF5-4D9B-9947-2A90D7752FBB}"/>
                </c:ext>
              </c:extLst>
            </c:dLbl>
            <c:dLbl>
              <c:idx val="3"/>
              <c:tx>
                <c:rich>
                  <a:bodyPr/>
                  <a:lstStyle/>
                  <a:p>
                    <a:fld id="{9B994D7E-2E43-4A6C-B49D-9E558B504C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3431937F-2DEA-47E1-BB4D-A099E56310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6B574135-7058-473A-B455-AA29482DDF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24C68FD3-EE51-4259-91CA-2FA84708E0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9C5C2981-05AC-49C9-9167-AA599B1439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43.494399999999999</c:v>
                </c:pt>
              </c:numCache>
            </c:numRef>
          </c:xVal>
          <c:yVal>
            <c:numRef>
              <c:f>Sheet1!$B$2:$B$2</c:f>
              <c:numCache>
                <c:formatCode>General</c:formatCode>
                <c:ptCount val="1"/>
                <c:pt idx="0">
                  <c:v>0.39379999999999998</c:v>
                </c:pt>
              </c:numCache>
            </c:numRef>
          </c:yVal>
          <c:bubbleSize>
            <c:numRef>
              <c:f>Sheet1!$C$2:$C$2</c:f>
              <c:numCache>
                <c:formatCode>General</c:formatCode>
                <c:ptCount val="1"/>
                <c:pt idx="0">
                  <c:v>34673939.291599981</c:v>
                </c:pt>
              </c:numCache>
            </c:numRef>
          </c:bubbleSize>
          <c:bubble3D val="0"/>
          <c:extLst>
            <c:ext xmlns:c15="http://schemas.microsoft.com/office/drawing/2012/chart" uri="{02D57815-91ED-43cb-92C2-25804820EDAC}">
              <c15:datalabelsRange>
                <c15:f>Sheet1!$E$2:$E$29</c15:f>
                <c15:dlblRangeCache>
                  <c:ptCount val="28"/>
                  <c:pt idx="0">
                    <c:v>NICOLAS</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2.193279999999994"/>
          <c:min val="34.795520000000003"/>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9379999999999998"/>
        <c:crossBetween val="midCat"/>
      </c:valAx>
      <c:valAx>
        <c:axId val="1011451359"/>
        <c:scaling>
          <c:orientation val="minMax"/>
          <c:max val="0.83255999999999997"/>
          <c:min val="7.5039999999999996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3.49439999999999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993607DC-DD2A-4CA7-AE9F-8888FD4608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EBFB61B-4FB8-41E2-98CE-984C16940A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886DE3F7-6334-4624-BD99-52538E4B06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D8071D9A-6949-45B9-BECE-A58AABDB03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CE2BBAAB-1CF9-4DA7-9BC7-CCA1066C1B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D08B210F-69E0-45CB-90F8-D3E50D9A0F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17AF8DD9-906C-458C-B407-63FAFA856D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19607D88-DF87-460D-9D59-01C3FF15D3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2.5726</c:v>
                </c:pt>
                <c:pt idx="1">
                  <c:v>44.402900000000002</c:v>
                </c:pt>
                <c:pt idx="2">
                  <c:v>22.726199999999999</c:v>
                </c:pt>
              </c:numCache>
            </c:numRef>
          </c:xVal>
          <c:yVal>
            <c:numRef>
              <c:f>Sheet1!$B$2:$B$4</c:f>
              <c:numCache>
                <c:formatCode>General</c:formatCode>
                <c:ptCount val="3"/>
                <c:pt idx="0">
                  <c:v>0.4138</c:v>
                </c:pt>
                <c:pt idx="1">
                  <c:v>0.38879999999999998</c:v>
                </c:pt>
                <c:pt idx="2">
                  <c:v>0.52300000000000002</c:v>
                </c:pt>
              </c:numCache>
            </c:numRef>
          </c:yVal>
          <c:bubbleSize>
            <c:numRef>
              <c:f>Sheet1!$C$2:$C$4</c:f>
              <c:numCache>
                <c:formatCode>General</c:formatCode>
                <c:ptCount val="3"/>
                <c:pt idx="0">
                  <c:v>162437.62349999999</c:v>
                </c:pt>
                <c:pt idx="1">
                  <c:v>1301359.3504000029</c:v>
                </c:pt>
                <c:pt idx="2">
                  <c:v>10749.482900000001</c:v>
                </c:pt>
              </c:numCache>
            </c:numRef>
          </c:bubbleSize>
          <c:bubble3D val="0"/>
          <c:extLst>
            <c:ext xmlns:c15="http://schemas.microsoft.com/office/drawing/2012/chart" uri="{02D57815-91ED-43cb-92C2-25804820EDAC}">
              <c15:datalabelsRange>
                <c15:f>Sheet1!$E$2:$E$29</c15:f>
                <c15:dlblRangeCache>
                  <c:ptCount val="28"/>
                  <c:pt idx="0">
                    <c:v>Mousseux</c:v>
                  </c:pt>
                  <c:pt idx="1">
                    <c:v>Champagnes</c:v>
                  </c:pt>
                  <c:pt idx="2">
                    <c:v>Effervescents Sans Alcool</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3.283480000000004"/>
          <c:min val="10.05808"/>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9253234845691026"/>
        <c:crossBetween val="midCat"/>
      </c:valAx>
      <c:valAx>
        <c:axId val="1011451359"/>
        <c:scaling>
          <c:orientation val="minMax"/>
          <c:max val="0.98759999999999992"/>
          <c:min val="7.1039999999999992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0.7384162000139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B25B09AF-F361-4F7A-9EA2-3D8155819D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4BCE69FD-0BC9-49E6-85E9-65CC6E5023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59051F9-5A98-41F7-A2CC-7FBCB53682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0EEE621-3A2D-4A32-A08E-781F41827E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866F24B0-AA91-4BE1-9300-E14DB97CA9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F345E369-08C4-41B1-BFB1-F109AE497B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58EB503-73CA-4E82-9EA0-15377DE942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0FEF549A-865C-45B5-B1A6-22E9AC25FF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116D1A2F-766A-41DB-86C2-862FA7419C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18B5E8F8-40BB-4B04-AD88-CF15A7DA08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AD1A270-BC21-408C-AD63-186952EA27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EECCC243-D153-426F-91CC-0373467663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DC2D95E0-B13D-485C-B49C-111A3C3A12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7BB5596A-8FD8-439E-97F3-206E19F24B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0A11CBD0-B545-46AF-9105-54F14C2534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600C49ED-FB30-42EB-AD72-D4941C314D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8F5347BE-E30A-473D-B34B-6E72C70BB1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3C007724-86AB-444D-92C8-FF824F95EE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D451571C-7663-459B-8F87-86B0CBB508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893F7123-7071-41D5-A59F-AF43C8497F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8616138E-4394-4C6C-95FB-5173DFD556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DBEB0C0D-0A2C-44E2-813A-83B207E682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0A461A31-B98B-4F53-A055-F3A65BB0DA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43290C79-B455-4552-8DB9-1C959E21B9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7E5B83A9-82D4-443A-B65D-C890BA85B0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09E0FB87-0CE2-4F34-83C4-230F4E2DE9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B99D8D51-3BBF-4C82-837F-248EF34F35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3EE79827-5469-4712-A347-C4ECBBFFDF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BC2917B2-F08E-4824-9C0F-485668B4A8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5024568A-4619-48C1-844C-592267F6A9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D2825D5D-B044-42D3-887E-74C35FF893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F35410D0-517B-44A9-91E3-E91833EE11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9D9FD01B-75DE-48E2-A843-5E5E506DEE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6AE638C9-17D3-4472-966B-C035193F40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E7C36DF4-25AC-4B33-98EE-239CAF0D78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DDD2FFB2-C9E0-4E0F-A6EB-E75D20676D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F901F6BB-5292-4582-8AC4-AB798DEE74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AD99C3B2-3EEC-4A2E-BC14-68E877E5B4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B3860257-0253-4A19-892D-B820651250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49EBB358-BFE1-4DB6-8906-84BBDCA6AC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B110CF4D-8D27-42CA-9C10-A567A65F16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E25D232C-BD8A-4E94-B380-084A59B1AD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82590A92-7263-4C54-977A-4B8335EB43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BE0ABCA2-6044-4099-B4E8-652AFD1CD3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304411DB-B34E-44BD-92BA-69858AC5D1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7ECFC313-813A-408E-8FDE-17716CAFD4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88898ED1-A077-411F-9A30-1CEC38D2EA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16C5EFB3-689D-4CEA-AAB8-43AD0D7451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BB80D936-61D5-4C03-A55B-B110C171B5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DB08EAE7-A45F-49EB-AB43-CD15C97605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C7228BBC-6C43-4C38-975F-59525553E1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AF8574D3-EFAB-4C5A-9F6E-62ADD4E441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E8C3065C-1FF4-4E52-AF39-B425C3E2A6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3918E2BA-5DF4-4BA3-8FF7-2B852E9CAD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A3ECFE88-A75F-4FF2-BB69-79BDE10BBC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5BE5A141-29C8-4781-B74A-EA683117D0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0EB67046-3D1D-41E4-9B66-26CED42499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4.1099999999999998E-2</c:v>
                </c:pt>
                <c:pt idx="1">
                  <c:v>2.5700000000000001E-2</c:v>
                </c:pt>
                <c:pt idx="2">
                  <c:v>3.73E-2</c:v>
                </c:pt>
                <c:pt idx="3">
                  <c:v>3.5900000000000001E-2</c:v>
                </c:pt>
                <c:pt idx="4">
                  <c:v>4.3099999999999999E-2</c:v>
                </c:pt>
              </c:numCache>
            </c:numRef>
          </c:xVal>
          <c:yVal>
            <c:numRef>
              <c:f>Sheet1!$B$2:$B$6</c:f>
              <c:numCache>
                <c:formatCode>General</c:formatCode>
                <c:ptCount val="5"/>
                <c:pt idx="0">
                  <c:v>0.28339999999999999</c:v>
                </c:pt>
                <c:pt idx="1">
                  <c:v>0.45079999999999998</c:v>
                </c:pt>
                <c:pt idx="2">
                  <c:v>0.44919999999999999</c:v>
                </c:pt>
                <c:pt idx="3">
                  <c:v>0.51529999999999998</c:v>
                </c:pt>
                <c:pt idx="4">
                  <c:v>0.21149999999999999</c:v>
                </c:pt>
              </c:numCache>
            </c:numRef>
          </c:yVal>
          <c:bubbleSize>
            <c:numRef>
              <c:f>Sheet1!$C$2:$C$6</c:f>
              <c:numCache>
                <c:formatCode>General</c:formatCode>
                <c:ptCount val="5"/>
                <c:pt idx="0">
                  <c:v>194</c:v>
                </c:pt>
                <c:pt idx="1">
                  <c:v>169.55</c:v>
                </c:pt>
                <c:pt idx="2">
                  <c:v>280.66666666666669</c:v>
                </c:pt>
                <c:pt idx="3">
                  <c:v>136.18604651162789</c:v>
                </c:pt>
                <c:pt idx="4">
                  <c:v>2484.3200000000002</c:v>
                </c:pt>
              </c:numCache>
            </c:numRef>
          </c:bubbleSize>
          <c:bubble3D val="0"/>
          <c:extLst>
            <c:ext xmlns:c15="http://schemas.microsoft.com/office/drawing/2012/chart" uri="{02D57815-91ED-43cb-92C2-25804820EDAC}">
              <c15:datalabelsRange>
                <c15:f>Sheet1!$E$2:$E$58</c15:f>
                <c15:dlblRangeCache>
                  <c:ptCount val="57"/>
                  <c:pt idx="0">
                    <c:v>MG CHAMPAGNE E.NICOLAS BRUT 1CT X 1500ML</c:v>
                  </c:pt>
                  <c:pt idx="1">
                    <c:v>CHAMPAGNE NICOLAS 1ERE CUVEE 1CT X 750ML</c:v>
                  </c:pt>
                  <c:pt idx="2">
                    <c:v>CHAMPAGNE NICOLAS BIO NAT 2017 1CT X 750ML</c:v>
                  </c:pt>
                  <c:pt idx="3">
                    <c:v>1/2 CHAMPAGNE NICOLAS 1ERE CUV 1CT X 375ML</c:v>
                  </c:pt>
                  <c:pt idx="4">
                    <c:v>CHAMPAGNE E.NICOLAS BRUT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389B34F4-F06F-42C7-9BFB-2EE1FCD2F6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B16A9B6D-FB9F-4163-8962-5A8FE15F82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F9488EE-1528-461C-9921-0C363ED72E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D21C8AA-D1D0-4C4D-BB18-8CCDADBD75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60EC4424-0816-4311-A5F9-1AD8AE8A81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7EC17321-43E7-40A8-A0F3-0D54EA3009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ED14DB7-2685-410B-8D96-C91DDD3F3B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A9CF0942-047C-4BB4-8CD4-76E9ECB554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AF5980BF-8979-4B14-81F0-8C3EEE3952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93A15F97-51C5-449B-BEEA-133419EEDA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E86FBAA-6F58-4E79-AD13-083033AB3D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F9AA461B-5948-4928-880F-B9AFE165B0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931EE7D8-7BE1-454E-97B6-06220C67C6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0E15B664-FCAC-4399-B1C3-F6128A2D67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BAFF3A01-98AA-490D-98DE-FECAA06631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8F948005-32DB-4834-820D-91E5D67ED6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A6C96B1C-F9A4-46E2-8274-9B50FA98E5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AE510B21-D37C-44F7-B83D-E2C8443119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13610AEA-5762-4C12-8720-C4626CC204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7A14B04A-7FE1-4637-A8A7-6507B73330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F4AE1125-C242-422D-BF88-99A2FA7FF9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3ADF2610-3915-4AF8-A4B2-16B7E51F52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3D9C31A9-A69F-4331-85F2-3ADA826FA5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85C8534B-CCE1-42F4-9170-8E912652B7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C61EECCD-58CB-4B4B-8D9A-564DAB9348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2CA5DE46-B865-4FA0-B8C7-53E3B666C9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5B3E27EA-C728-4075-866E-73E37D1187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9E6BDF15-0BF8-4845-84FB-3C048EBCCC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E27D7BB7-F6BF-4439-B49B-FE3A7FF7D2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F95C0B6B-9743-4F4F-94DB-7317C7BAF9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FA4F2830-991C-41BD-8302-0B17C9A69D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5015831E-B107-42F6-943D-37E8B39F02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C5DA6363-2BF1-498B-B60C-C20AA1844D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03F42D93-CFA1-472B-8DA7-77F382177A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F23D9E40-A464-4600-92B4-A649D6390D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2EC03726-CFBB-44E9-87FE-40FC99A1F9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97A1FF22-70DF-4244-9D74-3E9B3E19FD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D9B857A3-7B42-4D3B-AC94-A171A6DC06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B3F144FF-F5E3-48EE-9E80-6BC87DD1A8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05E74A33-113C-46AB-8E3A-801A5DF812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507174A3-49B9-4D1E-ACC4-FC5C949AA4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5A3468A6-2C0A-4E72-82AC-1174BD9440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41164CCA-4E1D-4BEF-8F0F-FE2DEC2742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F46735BF-4135-4150-965A-3F9C2EEE08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4CED4F9C-A247-40F0-BF38-AF2879BD23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8FB325DF-9101-41B1-A91D-5CA4863451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7A011634-6C82-4ADA-86AC-C7D90F6015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5340BC61-4275-4B62-9F54-4C6CBDAE64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83C2FB1B-727C-4C27-980E-E9A5F6CB81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F993C52B-6248-49C5-9DBC-FDA8B16BBC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06240229-19A9-444D-8047-EAEDBC4E46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3AABAB79-7F89-4359-ADE1-2D119AB92C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C830FA8A-7ED0-4E2E-83FA-550F7B83F7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8FCB03C4-EF57-4B4F-AF84-7E6E2937D7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6486BAAC-265A-442B-BD25-1D1C966D2D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7D9D487B-AE3E-4CB4-8CC4-8AA8EBB908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977314A5-D1D0-4367-9DEA-5A5C2B16D8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4.2700000000000002E-2</c:v>
                </c:pt>
                <c:pt idx="1">
                  <c:v>4.4000000000000003E-3</c:v>
                </c:pt>
                <c:pt idx="2">
                  <c:v>8.1100000000000005E-2</c:v>
                </c:pt>
                <c:pt idx="3">
                  <c:v>0.04</c:v>
                </c:pt>
              </c:numCache>
            </c:numRef>
          </c:xVal>
          <c:yVal>
            <c:numRef>
              <c:f>Sheet1!$B$2:$B$5</c:f>
              <c:numCache>
                <c:formatCode>General</c:formatCode>
                <c:ptCount val="4"/>
                <c:pt idx="0">
                  <c:v>0.2848</c:v>
                </c:pt>
                <c:pt idx="1">
                  <c:v>0.45090000000000002</c:v>
                </c:pt>
                <c:pt idx="2">
                  <c:v>0.50380000000000003</c:v>
                </c:pt>
                <c:pt idx="3">
                  <c:v>0.21249999999999999</c:v>
                </c:pt>
              </c:numCache>
            </c:numRef>
          </c:yVal>
          <c:bubbleSize>
            <c:numRef>
              <c:f>Sheet1!$C$2:$C$5</c:f>
              <c:numCache>
                <c:formatCode>General</c:formatCode>
                <c:ptCount val="4"/>
                <c:pt idx="0">
                  <c:v>117.4</c:v>
                </c:pt>
                <c:pt idx="1">
                  <c:v>134.71052631578951</c:v>
                </c:pt>
                <c:pt idx="2">
                  <c:v>38.918032786885249</c:v>
                </c:pt>
                <c:pt idx="3">
                  <c:v>1744.57</c:v>
                </c:pt>
              </c:numCache>
            </c:numRef>
          </c:bubbleSize>
          <c:bubble3D val="0"/>
          <c:extLst>
            <c:ext xmlns:c15="http://schemas.microsoft.com/office/drawing/2012/chart" uri="{02D57815-91ED-43cb-92C2-25804820EDAC}">
              <c15:datalabelsRange>
                <c15:f>Sheet1!$E$2:$E$58</c15:f>
                <c15:dlblRangeCache>
                  <c:ptCount val="57"/>
                  <c:pt idx="0">
                    <c:v>MG CHAMPAGNE E.NICOLAS BRUT 1CT X 1500ML</c:v>
                  </c:pt>
                  <c:pt idx="1">
                    <c:v>CHAMPAGNE NICOLAS 1ERE CUVEE 1CT X 750ML</c:v>
                  </c:pt>
                  <c:pt idx="2">
                    <c:v>1/2 CHAMPAGNE NICOLAS 1ERE CUV 1CT X 375ML</c:v>
                  </c:pt>
                  <c:pt idx="3">
                    <c:v>CHAMPAGNE E.NICOLAS BRUT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60C0E099-2F69-43DC-B0BA-2E1FEE3A6D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95779596-0343-4832-A435-0CB115CE86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6374772-FB30-4477-A150-64238CFEBD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9117DBC-AE48-4053-A364-E07EE3EA31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24713447-A6C1-482F-A12D-4F6EFDFA6C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ADE1E40E-62EF-4DD6-A802-95233A1CB3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087773AF-0744-4844-98BD-CFE92882F1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D14FAF7-D285-4526-A656-E8D11DC7E5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4D746581-EEA3-49F7-8EE5-4594EE9FC1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E40A718C-17A5-41D5-BE42-0F777A73E5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C4FA520-9302-48BA-BBE5-B5A5618226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0634E999-01DB-4DCF-954A-56D4A3EDE9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8B8815B3-B369-48A6-91B9-37A5F862AB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569638FA-F568-4FE7-92D6-4AB492CB20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11A77DBB-AF46-4A33-B654-C61A145533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FAE09633-E045-47FC-A26F-518664AE2E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5C1FF9E1-3F66-4F6F-9282-C6FDB5113A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84655C33-9AB4-49F5-9FBE-05913E8191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A9708EFB-3988-4942-B091-1E6553B919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32317657-FD4F-41D0-A527-33B0D59740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8592F336-2481-42BF-B105-E9B11EFCA8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5FC30EBE-5D32-4DA8-801D-269E8E50B9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27567CD1-7174-4468-915C-B2BF56CDFA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B6909A66-F1CC-48B6-8961-DF383003EF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B9173EA3-CBAA-4362-9147-1B7DC4E297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C4CBD773-FAEA-4E7D-A0C4-5335E66745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4B8A310B-439C-4D99-9372-E20305AEDC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11CD30AF-BB52-42BA-8C39-7008CE4D7C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EDBE55C9-743B-4625-9192-6679087452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758E8CF4-67A7-4764-A8BD-55003B7ABA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63C2BF4E-2C03-4894-B480-28954973CE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9B0EA860-85E9-4236-8C5F-BD29B1B7DC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0858F7D2-C5B9-4798-93BE-52CDE5C8A0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D593F1EA-9532-4A45-A7C0-742B76ECDB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DB72598D-BBFE-455A-B1FF-20683D5B24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3DA5B74B-596F-4A26-AF8E-662BDF536A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41F7821A-F5D7-475B-8132-61EA88475D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6A555E81-2F83-43FC-A9E0-996C40B2EA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D0E46608-0076-484C-B43C-117E5FE7BF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C7E4C858-A0DA-40C9-9B9D-D0DC118FB7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37E6C2BF-6E8C-4E70-AA61-2EA30145F5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F5EDC285-21FF-47D3-BE07-01B0158675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BACD401D-D960-40CA-B1CD-661DFC4401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C42BFD00-C0AE-4AEC-B8B2-F845646B2B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4ECC1A02-24B8-4CA2-9EE1-2E3DA98016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683BEA1A-5B95-4251-9306-B14F96CBD9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611C35AE-7D32-4C66-B7F3-84D3B957D4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A193158E-C4BD-4208-82F3-DB79B012A4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F685494B-0216-4E1D-8231-F93A65382C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92CC01A3-3ECD-4458-88C6-5B970C1BF9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4B734235-6353-4301-B93D-1FC95311DA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4D5EF909-AAA6-46FA-8E5A-FAB7BA081B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A8702D91-2FEC-48F9-9B3D-EA79973068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E7A42474-3586-41EF-A718-391975C692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DF5213D3-ED13-4AE0-AB8B-D93BDD7DBE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C6E5E6C7-64B6-4FFA-9D2F-14B525A031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BD8073E3-2AEB-42C1-ABAD-68F3D1224F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4.1000000000000003E-3</c:v>
                </c:pt>
                <c:pt idx="1">
                  <c:v>-3.6600000000000001E-2</c:v>
                </c:pt>
                <c:pt idx="2">
                  <c:v>9.8299999999999998E-2</c:v>
                </c:pt>
                <c:pt idx="3">
                  <c:v>-3.7000000000000002E-3</c:v>
                </c:pt>
                <c:pt idx="4">
                  <c:v>2.6200000000000001E-2</c:v>
                </c:pt>
                <c:pt idx="5">
                  <c:v>4.24E-2</c:v>
                </c:pt>
                <c:pt idx="6">
                  <c:v>5.6800000000000003E-2</c:v>
                </c:pt>
              </c:numCache>
            </c:numRef>
          </c:xVal>
          <c:yVal>
            <c:numRef>
              <c:f>Sheet1!$B$2:$B$8</c:f>
              <c:numCache>
                <c:formatCode>General</c:formatCode>
                <c:ptCount val="7"/>
                <c:pt idx="0">
                  <c:v>0.28389999999999999</c:v>
                </c:pt>
                <c:pt idx="1">
                  <c:v>0.45090000000000002</c:v>
                </c:pt>
                <c:pt idx="2">
                  <c:v>0.45279999999999998</c:v>
                </c:pt>
                <c:pt idx="3">
                  <c:v>0.44919999999999999</c:v>
                </c:pt>
                <c:pt idx="4">
                  <c:v>0.51319999999999999</c:v>
                </c:pt>
                <c:pt idx="5">
                  <c:v>0.21160000000000001</c:v>
                </c:pt>
                <c:pt idx="6">
                  <c:v>0.43819999999999998</c:v>
                </c:pt>
              </c:numCache>
            </c:numRef>
          </c:yVal>
          <c:bubbleSize>
            <c:numRef>
              <c:f>Sheet1!$C$2:$C$8</c:f>
              <c:numCache>
                <c:formatCode>General</c:formatCode>
                <c:ptCount val="7"/>
                <c:pt idx="0">
                  <c:v>3170.375</c:v>
                </c:pt>
                <c:pt idx="1">
                  <c:v>2029.1923076923081</c:v>
                </c:pt>
                <c:pt idx="2">
                  <c:v>1121.3888888888889</c:v>
                </c:pt>
                <c:pt idx="3">
                  <c:v>2824.0666666666671</c:v>
                </c:pt>
                <c:pt idx="4">
                  <c:v>2088.78125</c:v>
                </c:pt>
                <c:pt idx="5">
                  <c:v>27681.21212121212</c:v>
                </c:pt>
                <c:pt idx="6">
                  <c:v>879.18181818181813</c:v>
                </c:pt>
              </c:numCache>
            </c:numRef>
          </c:bubbleSize>
          <c:bubble3D val="0"/>
          <c:extLst>
            <c:ext xmlns:c15="http://schemas.microsoft.com/office/drawing/2012/chart" uri="{02D57815-91ED-43cb-92C2-25804820EDAC}">
              <c15:datalabelsRange>
                <c15:f>Sheet1!$E$2:$E$58</c15:f>
                <c15:dlblRangeCache>
                  <c:ptCount val="57"/>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pt idx="6">
                    <c:v>CHAMPAGNE NICOLAS 1ERE CUV ET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718C47B0-ED0B-4BBC-AAB1-65444CAB62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CC48EA70-6F78-40E6-AC68-8DA430BF14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4F94A41-50CB-42A6-A73D-6F3758F7A4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43DF4F2-6A75-4A3A-9F82-6EA51443CE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0D93FDCD-E20F-4314-82FF-F8DC3BB0CA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74DBC479-4693-43EA-B36F-EDA17208B5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A799E5F1-DF89-4BB3-85DD-17956F496D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F8B6E7AF-2463-44F7-93F4-A4B809CFBA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55D3737C-60E8-4D81-BF8B-C63650B24D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47719A9A-5FB3-4C75-BF9F-39163E326A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B5F9D87-E9A3-43BC-935E-5CBAF12B9F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44C87746-49E9-4233-9615-E35B715880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F5E7DE9D-07BD-4916-927D-49DA791664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348E0B7B-BF2A-4702-8B39-FFB8D26B26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11A8EAC4-C9D5-4CAB-9BB5-8EB40DDCFC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27887206-41E4-49D6-922D-B6BBD5AC07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80E9E15B-66DD-4374-AABD-33900FBED0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26FFED6C-EF95-498C-B154-E0533E5213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8BDDA508-F582-4984-AB3F-03CF140549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DD3B33F0-4672-48D5-B201-1CF7185FDA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7C01CD65-8B7A-430E-9B3F-9C6ECFCD5E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3FF32225-1B30-44C0-B9D7-4EAC92DAA0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B1A7F9BE-84AA-4AE1-AC9E-770A8175E7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38009F00-BBC1-41F9-B4A2-4016075F04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4616AFB9-DE84-4CB9-8746-DEF7E822FF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D4BAA978-1D2C-4AB8-9D38-13340D202C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A70FCDA8-7DC7-4452-B1BA-EC11232550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DBC9BC8A-C33B-4D7A-BE44-D75D85613C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E7E719E4-413F-4950-8696-883396AF58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E1BF7C17-7456-4029-AC05-45C3AB7D6E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6D46AD96-8D11-4B5D-875E-DD3BC88BFE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9B3306BE-B6E3-4B7F-B681-21511BA9CD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0D7DC20A-9CC1-47C0-97FC-82C299ABE5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D9D68156-E502-49E7-B331-40D2BB5FE9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8ACEBB20-D6BA-438A-A150-5D7DAF054A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979E299F-A3F4-44E9-8C32-1A83786F4B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F60FC256-700C-4EEA-8366-8803F61339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4924BFB7-0508-46B7-AE97-9CF964C1FB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B9ABC53B-842A-4852-BC5C-4820B0DF15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7546FA4E-4AA0-4918-89B9-9199384B8F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B3ABE77B-A5C3-4014-801A-0A7432EDDA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99D7ED3D-FF54-44F8-80AB-056E0CD84B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4A8FA32C-84DF-474E-80F0-CB6B978E22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37A43592-E919-4629-A814-62BE7F562D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9BA1CE22-D947-4830-AD2E-1387FAA36D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0DE007D9-F0AA-4EC5-884D-C3D24AC479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C59E5FD0-3333-4701-BFA2-404DD4232C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361F2C98-5D84-46E0-9DA3-F758392A2C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426DB45B-D17F-4B59-A910-53FD4195BA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62DC5EB6-F890-424D-A09C-5B0CF23B73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EA6FECF7-C4DE-4AB3-950A-4F2223D957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3FB04937-C1A5-4BEB-9AC8-9E86BB66D2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850B64D3-32CB-4A2F-861D-6D919E2F20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2C052FB9-EC08-451C-95FE-07AA84E2CC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7A848671-547D-4C25-953C-BE5ACEDF21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1B073582-2F35-4022-9E13-E089F31758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2C7B087C-6104-4A1E-B979-9994E5958B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1.3899999999999999E-2</c:v>
                </c:pt>
                <c:pt idx="1">
                  <c:v>1.9599999999999999E-2</c:v>
                </c:pt>
                <c:pt idx="2">
                  <c:v>0.12470000000000001</c:v>
                </c:pt>
                <c:pt idx="3">
                  <c:v>3.1899999999999998E-2</c:v>
                </c:pt>
                <c:pt idx="4">
                  <c:v>4.3099999999999999E-2</c:v>
                </c:pt>
                <c:pt idx="5">
                  <c:v>3.8199999999999998E-2</c:v>
                </c:pt>
              </c:numCache>
            </c:numRef>
          </c:xVal>
          <c:yVal>
            <c:numRef>
              <c:f>Sheet1!$B$2:$B$7</c:f>
              <c:numCache>
                <c:formatCode>General</c:formatCode>
                <c:ptCount val="6"/>
                <c:pt idx="0">
                  <c:v>0.28510000000000002</c:v>
                </c:pt>
                <c:pt idx="1">
                  <c:v>0.45190000000000002</c:v>
                </c:pt>
                <c:pt idx="2">
                  <c:v>0.45279999999999998</c:v>
                </c:pt>
                <c:pt idx="3">
                  <c:v>0.44919999999999999</c:v>
                </c:pt>
                <c:pt idx="4">
                  <c:v>0.50839999999999996</c:v>
                </c:pt>
                <c:pt idx="5">
                  <c:v>0.2127</c:v>
                </c:pt>
              </c:numCache>
            </c:numRef>
          </c:yVal>
          <c:bubbleSize>
            <c:numRef>
              <c:f>Sheet1!$C$2:$C$7</c:f>
              <c:numCache>
                <c:formatCode>General</c:formatCode>
                <c:ptCount val="6"/>
                <c:pt idx="0">
                  <c:v>383.10256410256409</c:v>
                </c:pt>
                <c:pt idx="1">
                  <c:v>284.11538461538458</c:v>
                </c:pt>
                <c:pt idx="2">
                  <c:v>189.34615384615381</c:v>
                </c:pt>
                <c:pt idx="3">
                  <c:v>262.10526315789468</c:v>
                </c:pt>
                <c:pt idx="4">
                  <c:v>210.5454545454545</c:v>
                </c:pt>
                <c:pt idx="5">
                  <c:v>4592.25</c:v>
                </c:pt>
              </c:numCache>
            </c:numRef>
          </c:bubbleSize>
          <c:bubble3D val="0"/>
          <c:extLst>
            <c:ext xmlns:c15="http://schemas.microsoft.com/office/drawing/2012/chart" uri="{02D57815-91ED-43cb-92C2-25804820EDAC}">
              <c15:datalabelsRange>
                <c15:f>Sheet1!$E$2:$E$58</c15:f>
                <c15:dlblRangeCache>
                  <c:ptCount val="57"/>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7AF13F4B-657E-47EA-B1B5-893BDDA597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50D6A13B-5551-4FCE-9922-4E6CBDAB05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097611A-B901-462C-96DE-11502D1571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2318208-4DC0-480D-B7D7-F0FA13BB68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0BBB3F3D-160F-41F0-A7E9-DC940DB156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AAF168F6-9775-4F90-8B02-E3638E20CA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C1FFFFBC-A617-4AA4-89BD-9A2A4F4749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DA4561D5-7244-4DEA-85D7-A562380A98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A8D15A9-D4E8-4C3A-BAA4-BB7A02A011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ADE9096E-7834-43C2-8A8F-54044FB1C5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F74B4BD-572C-4FB5-BD92-B7E75BD117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4453B44E-3148-4A1A-AAA5-F682CE28CE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82D03F97-0094-4187-BF6D-1FE4B50314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EB2DA67B-982F-4816-A677-F1BCBAE062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68F48D1E-F5F6-4128-B127-1509EFCCD7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3AF92C6F-9742-4DD0-854C-99DD302AF4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311F159C-D471-4CE9-A177-B03D7EC5E3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34BF71AE-256D-4A72-ABDF-B7C39872F9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8026305A-B834-4DB0-81DA-4E661733C5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A9CB53EB-FEC2-4B6E-B105-C068298800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C33D4992-A7B7-4C65-A8EF-D66D7FF0E5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0E900734-F53B-4A23-86BC-520C64C44E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AA5AE2E9-01DD-405F-9545-D714063B36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38708003-5594-47CD-8430-C9D43FAA3E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13EF6BB8-7A37-48F2-98BE-9089C26D18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348F061F-ABD1-418A-81B3-05E81873B8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CE7CE8A1-6CE7-40A5-B758-0406DEB306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14611D59-FCE5-452A-ADEB-D2FC10D1A9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F7DCAA9C-CDE2-402F-BC89-6C5A3C85D5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23A9FC13-39D2-4748-921B-6C8D46B789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8F7FFFDD-AF00-4948-B54A-B25990F85D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62D4A793-4335-4789-AF94-C35B737C38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465CD6D9-5175-45B0-BC89-97EC65C3AF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8B3A1FB1-B865-42F8-BD0C-8DFD7B30A8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25703D0A-E090-4148-A8C8-5846DC57A0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F5E1D10A-3698-44EF-98AB-BF48A960F8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D21BC358-E855-45F3-BBBF-121A00340D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0646691E-3E66-472F-BA87-1DFD7DCC2C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96E3B203-2A41-44D9-A2FC-8DC44A2FEF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61A0B647-1248-4C58-942F-56A971DC75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153F85F7-9D38-4DED-A546-2818F13B62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20F7F518-E4FE-4DDC-AE17-F90CDCA4C7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2126EC56-E7C8-4F11-8115-552BD9D6F9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DEDEBC43-90BB-4150-AA54-4D2F55FC0E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401AD6D5-6F39-41C5-937F-303A6B9471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CCCDEA39-242E-4A4D-AA41-9E18B7FAC2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382F40D4-F9BC-4BBD-B84F-445F8C8629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35540D1D-92FC-474B-9404-9ADC7E217B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DBEF37D6-0F48-44A6-B8D7-80098E2FBD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774AD8CB-137F-4F3E-A43C-2C137C6183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7DF07B7C-7A87-44BE-BB23-CC4BA1929D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00B592A5-74BF-47CC-8DAB-28A244544C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2F54A796-FCB4-4769-B7F2-EA59709193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825C5E67-E376-4CF3-89AC-88863833C0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350886B8-DDED-473B-A180-462619A45E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0735B381-E4B7-4DA3-B4E3-78CA81217A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0FB3E1D2-AED3-4354-86B1-FD0563968D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1.77E-2</c:v>
                </c:pt>
                <c:pt idx="1">
                  <c:v>2.92E-2</c:v>
                </c:pt>
                <c:pt idx="2">
                  <c:v>0.13519999999999999</c:v>
                </c:pt>
                <c:pt idx="3">
                  <c:v>3.4200000000000001E-2</c:v>
                </c:pt>
                <c:pt idx="4">
                  <c:v>5.5E-2</c:v>
                </c:pt>
                <c:pt idx="5">
                  <c:v>4.4699999999999997E-2</c:v>
                </c:pt>
              </c:numCache>
            </c:numRef>
          </c:xVal>
          <c:yVal>
            <c:numRef>
              <c:f>Sheet1!$B$2:$B$7</c:f>
              <c:numCache>
                <c:formatCode>General</c:formatCode>
                <c:ptCount val="6"/>
                <c:pt idx="0">
                  <c:v>0.2843</c:v>
                </c:pt>
                <c:pt idx="1">
                  <c:v>0.45190000000000002</c:v>
                </c:pt>
                <c:pt idx="2">
                  <c:v>0.45279999999999998</c:v>
                </c:pt>
                <c:pt idx="3">
                  <c:v>0.44919999999999999</c:v>
                </c:pt>
                <c:pt idx="4">
                  <c:v>0.50780000000000003</c:v>
                </c:pt>
                <c:pt idx="5">
                  <c:v>0.21260000000000001</c:v>
                </c:pt>
              </c:numCache>
            </c:numRef>
          </c:yVal>
          <c:bubbleSize>
            <c:numRef>
              <c:f>Sheet1!$C$2:$C$7</c:f>
              <c:numCache>
                <c:formatCode>General</c:formatCode>
                <c:ptCount val="6"/>
                <c:pt idx="0">
                  <c:v>239.52500000000001</c:v>
                </c:pt>
                <c:pt idx="1">
                  <c:v>221.125</c:v>
                </c:pt>
                <c:pt idx="2">
                  <c:v>216.78571428571419</c:v>
                </c:pt>
                <c:pt idx="3">
                  <c:v>133.11538461538461</c:v>
                </c:pt>
                <c:pt idx="4">
                  <c:v>105.625</c:v>
                </c:pt>
                <c:pt idx="5">
                  <c:v>1794.81</c:v>
                </c:pt>
              </c:numCache>
            </c:numRef>
          </c:bubbleSize>
          <c:bubble3D val="0"/>
          <c:extLst>
            <c:ext xmlns:c15="http://schemas.microsoft.com/office/drawing/2012/chart" uri="{02D57815-91ED-43cb-92C2-25804820EDAC}">
              <c15:datalabelsRange>
                <c15:f>Sheet1!$E$2:$E$58</c15:f>
                <c15:dlblRangeCache>
                  <c:ptCount val="57"/>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62E19B14-3600-4F3C-8E6C-8EFA8D7C3E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AEC5F7B9-BBF8-4E75-A908-0EBD8E3285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3DDEB94-88BA-44FC-B2E1-104EB4146B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99CA162-5061-46D2-988F-AD628DBFEF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FC57A38-2E75-4250-BB2A-157CCA71D4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D5F5A831-F3A4-46DC-9B4C-5B86101F3D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47700E1-93B0-45B5-A2DB-201BF672A9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3A02AF89-E516-4F18-BC85-01EE27C92F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4A3DEF77-3D97-4503-81AF-B6084A4DBB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1FD72D82-D427-4707-A597-34E1C6864D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3A17763-0C49-45BB-BF3B-59AD9BB727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A02A6B68-6EE6-4024-B20F-2E493E0D96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8331840E-AA63-4F07-8A0C-8E90E14F81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621E443B-9F7A-41D6-9411-DC2C54AFF5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CE1B1E58-5EE0-4E18-8E5F-C6AB7F13F0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53F8BE0C-6241-4CB6-B589-406AA0A000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CF82CF62-71AF-4754-B528-1507C4611B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4A1955AE-6677-404A-873A-9F6F8CB6C8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0E16BFB7-562E-4426-9330-351701C477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326D6832-1F90-4392-A2C6-F06FBC6A1D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42F655AD-861E-49F0-BF95-C1D93A8144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23D57105-A59F-49DF-A505-1F6E2B9D13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3D20DB7E-B2DC-470C-B1DF-8735AFDA86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7DF2EEE8-6D29-46C6-ACE2-A0BA74BE50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D06AC944-2D21-439D-B621-DF372F4A2C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E7047304-045E-47E8-80B0-1A663EB2A1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726809D7-7442-4389-B09E-6DF0FA9DDC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30BF061C-F78C-455F-9FD3-70AFDCE15B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031DDD6E-B628-4EC9-99DE-6204D46FCB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F4EDD977-A003-4791-841A-5838AA366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597391A0-5921-407F-A173-808C7ED7C9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EC9782CC-5ECE-4AD3-A174-5B46ED3FF9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4EE909BC-9E6A-4295-AFFC-1BC665E8AA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136C78C7-29F8-4CBB-ABD7-F650E84AD3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72216C67-3B8F-4750-9B75-C3C6ED3497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E567D75F-2F0C-4655-9BF2-186467731F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C3E6E379-AAC8-4163-BA98-AE877E5D43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BEA7A23C-FF8C-4D43-B983-6327E177DD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D016EB3C-BC70-4A0E-89A6-05C0DB7D82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7E788884-4446-4BB9-B70E-CB6E3A9C7B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0D2810ED-BB01-4E9F-A3D0-87C6489F27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79A1CB68-683A-456D-B27D-6113C22113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407B145C-8057-43E1-9830-9ED2D27575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3500BE62-7F55-42BE-B948-2872795C46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6BA9ED5A-4045-4FBC-BCA5-6D8DB6441A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F6AC5FEF-8B3F-4EE5-814B-679057D8C7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BA7E4F75-5881-40E9-AEED-5E989C969B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3A8E1438-805C-4306-972F-01ED91DF77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379B3B4D-8485-494A-8AE9-EA54A59899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97667F5E-F10C-4F18-AF0F-FC95F9F391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896D5CC8-FA49-4BDF-A7DD-DA0F8B8357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262A4CE8-B036-47C2-B3C6-685DBC7B57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626F23E6-810C-476A-BB24-776DB0FC65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63C0EAF9-9949-4752-AFA8-79C4EDB00D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B56AD7D5-0E09-4104-B839-767EF2E11A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0DAF4AC2-22C5-4B93-BBDF-3DED5E703D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6A3AFF20-6837-4A48-8522-18D92A2657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2.0000000000000001E-4</c:v>
                </c:pt>
                <c:pt idx="1">
                  <c:v>5.3699999999999998E-2</c:v>
                </c:pt>
                <c:pt idx="2">
                  <c:v>4.4499999999999998E-2</c:v>
                </c:pt>
                <c:pt idx="3">
                  <c:v>6.1899999999999997E-2</c:v>
                </c:pt>
                <c:pt idx="4">
                  <c:v>1.84E-2</c:v>
                </c:pt>
              </c:numCache>
            </c:numRef>
          </c:xVal>
          <c:yVal>
            <c:numRef>
              <c:f>Sheet1!$B$2:$B$6</c:f>
              <c:numCache>
                <c:formatCode>General</c:formatCode>
                <c:ptCount val="5"/>
                <c:pt idx="0">
                  <c:v>0.28439999999999999</c:v>
                </c:pt>
                <c:pt idx="1">
                  <c:v>0.45150000000000001</c:v>
                </c:pt>
                <c:pt idx="2">
                  <c:v>0.44919999999999999</c:v>
                </c:pt>
                <c:pt idx="3">
                  <c:v>0.50839999999999996</c:v>
                </c:pt>
                <c:pt idx="4">
                  <c:v>0.21179999999999999</c:v>
                </c:pt>
              </c:numCache>
            </c:numRef>
          </c:yVal>
          <c:bubbleSize>
            <c:numRef>
              <c:f>Sheet1!$C$2:$C$6</c:f>
              <c:numCache>
                <c:formatCode>General</c:formatCode>
                <c:ptCount val="5"/>
                <c:pt idx="0">
                  <c:v>69.28125</c:v>
                </c:pt>
                <c:pt idx="1">
                  <c:v>54.000000000000007</c:v>
                </c:pt>
                <c:pt idx="2">
                  <c:v>88.074074074074076</c:v>
                </c:pt>
                <c:pt idx="3">
                  <c:v>35.32</c:v>
                </c:pt>
                <c:pt idx="4">
                  <c:v>1057.96</c:v>
                </c:pt>
              </c:numCache>
            </c:numRef>
          </c:bubbleSize>
          <c:bubble3D val="0"/>
          <c:extLst>
            <c:ext xmlns:c15="http://schemas.microsoft.com/office/drawing/2012/chart" uri="{02D57815-91ED-43cb-92C2-25804820EDAC}">
              <c15:datalabelsRange>
                <c15:f>Sheet1!$E$2:$E$58</c15:f>
                <c15:dlblRangeCache>
                  <c:ptCount val="57"/>
                  <c:pt idx="0">
                    <c:v>MG CHAMPAGNE E.NICOLAS BRUT 1CT X 1500ML</c:v>
                  </c:pt>
                  <c:pt idx="1">
                    <c:v>CHAMPAGNE NICOLAS 1ERE CUVEE 1CT X 750ML</c:v>
                  </c:pt>
                  <c:pt idx="2">
                    <c:v>CHAMPAGNE NICOLAS BIO NAT 2017 1CT X 750ML</c:v>
                  </c:pt>
                  <c:pt idx="3">
                    <c:v>1/2 CHAMPAGNE NICOLAS 1ERE CUV 1CT X 375ML</c:v>
                  </c:pt>
                  <c:pt idx="4">
                    <c:v>CHAMPAGNE E.NICOLAS BRUT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3A1CC8A6-40BC-4B04-9486-ECC9CD0551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C6B83308-9F48-4BD7-B357-4AFCC5049B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4B8BB0A-B1B3-452E-B038-E38FCE1ADD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F241CA2-038C-4EFC-B736-BD241E7680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526525E6-8516-49F3-9971-333555C02A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75B7CA30-9F17-4F25-98E7-02B0FEAF6B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874F372-2E7D-452E-AEB3-42D16D39A5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E47B902C-8B3C-4528-B07F-4A33F616F8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79889B5C-E9A8-4BD1-8679-86FB8C887C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097D401E-CF74-42C1-9504-05F5A5DCCC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A2749B9-D31D-4529-BBB3-8C7A9D736D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5183C345-2AA4-465C-B48F-FDBF8D58CB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CB84B9F8-7858-4546-AA83-6DE517D009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937D73BF-C368-4189-92F2-6E8291E167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3B47C4D1-2E97-4038-8D11-57099F518E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CFDED8D3-9456-427B-BBB9-601899E862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4AE60E03-5433-47DE-A26A-B0EA26B979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9D43997E-89D3-4408-95DB-EB28F7C209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D844EFB4-1BDE-4318-BEBA-CE18E5602C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A6D5277F-897F-4B4E-9612-D0DD99B101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6F8C384F-A4E6-4F76-A9EF-BA8A54F100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DE1D5C37-7B85-4846-8C90-79F9BA8994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D818ECA6-70ED-4273-8AA8-899A71C633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199EEF0A-02BB-4CDE-9278-566CFECFE7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589F60F3-A3AA-45E1-A723-4976F4C571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0167DF30-A9B3-4634-8DD3-26819FA701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35FBC29E-2694-4D1E-BD17-233685BF5B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1C9C36F6-421A-4422-9A9E-69DAB4C07F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B11527F7-B92F-40CB-B344-57713148EA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D92E85FA-03EC-4E3C-92D8-E17B231402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132EC2A5-BAFC-4004-A131-C29503BFCF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C57E42FB-4114-4CEE-ADC0-61603A82E5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171DE387-B839-4D72-93AA-F87B5BDB5B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8AA246C2-D947-4B95-A480-7B278C2803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4F5BCC67-A1ED-407B-BC64-F037AF5CB0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5706729F-C419-4EE2-9716-8117066DCB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B9F198BA-E32E-4F0C-83E5-579F053C24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8D7107F1-0838-458D-9191-078026C7B1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54D78F19-7112-47EB-AF73-7B9B511916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FC966B09-86CB-461D-8241-5550124290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0D2A6C36-11DB-4E54-9347-202DC7A1DD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B02D5F41-2D88-47B8-8624-81D04B3438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0CBDF900-D124-4E3C-A0B5-8987F8C791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F3E0057B-B208-4D91-9C7D-E665E73FA5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8443A93C-E5A4-4DF2-B26C-F8ADD64A88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A5F4BD89-C1AC-4CC2-B2D9-5D6577D3A7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50DF1D64-5AAB-4B2D-8823-C044FD41A4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C0A23BC4-4233-4098-BF0E-F018379119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A6640C32-0496-4E5B-99EF-05ADBD5C6A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4E66CAA3-7DB1-4021-8EE1-5B7E8F5176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78E3EDA8-F95E-4847-B36C-91B519542B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077ADEFF-7824-4D06-A389-6033B454D5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5F518231-ED3E-4380-B94B-6CB3352F63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9214FABE-E6FC-424A-9484-3EA24FAEBE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2F230025-C4CF-4106-BE70-5D419F31E7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F36C6116-37A2-466B-9CD6-13C5809FDE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9474FB6C-D859-4478-98C7-FC7F3512E0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5.33E-2</c:v>
                </c:pt>
                <c:pt idx="1">
                  <c:v>-1.66E-2</c:v>
                </c:pt>
                <c:pt idx="2">
                  <c:v>7.51E-2</c:v>
                </c:pt>
                <c:pt idx="3">
                  <c:v>3.39E-2</c:v>
                </c:pt>
              </c:numCache>
            </c:numRef>
          </c:xVal>
          <c:yVal>
            <c:numRef>
              <c:f>Sheet1!$B$2:$B$5</c:f>
              <c:numCache>
                <c:formatCode>General</c:formatCode>
                <c:ptCount val="4"/>
                <c:pt idx="0">
                  <c:v>0.28599999999999998</c:v>
                </c:pt>
                <c:pt idx="1">
                  <c:v>0.45069999999999999</c:v>
                </c:pt>
                <c:pt idx="2">
                  <c:v>0.50629999999999997</c:v>
                </c:pt>
                <c:pt idx="3">
                  <c:v>0.21290000000000001</c:v>
                </c:pt>
              </c:numCache>
            </c:numRef>
          </c:yVal>
          <c:bubbleSize>
            <c:numRef>
              <c:f>Sheet1!$C$2:$C$5</c:f>
              <c:numCache>
                <c:formatCode>General</c:formatCode>
                <c:ptCount val="4"/>
                <c:pt idx="0">
                  <c:v>92.722222222222229</c:v>
                </c:pt>
                <c:pt idx="1">
                  <c:v>128.18072289156629</c:v>
                </c:pt>
                <c:pt idx="2">
                  <c:v>73.235294117647058</c:v>
                </c:pt>
                <c:pt idx="3">
                  <c:v>1647.1</c:v>
                </c:pt>
              </c:numCache>
            </c:numRef>
          </c:bubbleSize>
          <c:bubble3D val="0"/>
          <c:extLst>
            <c:ext xmlns:c15="http://schemas.microsoft.com/office/drawing/2012/chart" uri="{02D57815-91ED-43cb-92C2-25804820EDAC}">
              <c15:datalabelsRange>
                <c15:f>Sheet1!$E$2:$E$58</c15:f>
                <c15:dlblRangeCache>
                  <c:ptCount val="57"/>
                  <c:pt idx="0">
                    <c:v>MG CHAMPAGNE E.NICOLAS BRUT 1CT X 1500ML</c:v>
                  </c:pt>
                  <c:pt idx="1">
                    <c:v>CHAMPAGNE NICOLAS 1ERE CUVEE 1CT X 750ML</c:v>
                  </c:pt>
                  <c:pt idx="2">
                    <c:v>1/2 CHAMPAGNE NICOLAS 1ERE CUV 1CT X 375ML</c:v>
                  </c:pt>
                  <c:pt idx="3">
                    <c:v>CHAMPAGNE E.NICOLAS BRUT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BBC66182-7DF6-4DD2-83C7-F17D29EE1F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74C82B50-6CE9-46E7-8A96-A9795AE1FD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8A68732-F8C2-4A5D-8C1A-EDF5A0E59E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63D3E7E-3C42-410B-88BE-FB31591AB9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587086E1-5996-4606-AD93-086B06AF5D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E8644EFB-6850-48ED-9435-D8A18C529A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DDAA35EF-64CF-4734-B847-FD1C681888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65FC45D9-48F7-4516-9D9C-D6ABB363A0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E4B8A839-1C32-4318-834E-376A9B4C31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DB83D250-34A2-46C6-B5B9-DD15830C9B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B75A4B1-EF5A-432B-A8B2-F111CF1189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A999710C-5AED-44EB-B0B6-B0B88592EB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9BB66C9E-5750-461E-B2A5-4E04E73F39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E693F204-C6AE-43E9-9CF4-D0824D99AC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C240DE43-967E-4F4B-A58A-D42940A28C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15D4C0B4-F260-43DA-A12B-28103A4F07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A744C4FB-0430-4856-97E1-47E560D961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1CA0690B-4FD9-460E-9B65-5B8F1F3DFF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C2E0C835-CDCE-41D9-AE1D-5FB4C09787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0C479CB1-3090-46F7-9ABA-3DFC5D28ED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938CD3D5-DA2C-4B50-90F7-BA56D1BAA8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5DA22C3D-C920-4422-937D-C5746CADB0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D6101BBD-B029-493E-B0F5-B46A33C4CE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901956EB-C3F4-4193-8271-74CD1D0832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0918143C-207E-4C07-8235-6E2B34D28C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BE644A6A-3C87-429F-9E1F-882E6A29D1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5C97C32C-F47F-4D2A-ACE9-08B1EE70BB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D19CC35E-C920-45F1-A6F4-C11867BD48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182087A0-BFA3-4A2B-BDD3-A199EA3143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B5E25479-FFB2-4836-B2BA-60431E4655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B05BF8FF-1868-412C-9023-A53CEE6418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21729C6A-BDFB-44A4-B152-C7985CB012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7A26E100-5DF3-42C5-8B3F-2BAC1FA9EE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B8A01148-99C6-4AE8-A259-8C0888CE30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45743183-CCD7-45A3-A65A-077169EE5A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73AE0AEE-53E3-40FF-B100-BCC92AFF09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D3CFC613-403B-48A6-A62A-2EB0E26873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92B9658A-21C9-4977-88E4-D198EA8434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B33D94CB-EB8B-4BC7-A8E9-12FD87FD3E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E72532C1-4194-4C95-8281-7D46A7F961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44E80ECC-EE6D-4DEC-B445-BB73E14710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0AA7BC3F-6E66-4362-8B59-EA8F271094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95932C8D-9C46-4588-A6F7-567B705CA5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F734230E-0A5C-44DB-AE24-7C3F24252B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B2369C56-66D5-4F25-9CB9-914303967B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E44668CB-49E3-45A8-A4B2-86D853D5BB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BAA5FE2C-8D3A-4E66-A081-1AE48605DB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B42192BD-FA8F-46EA-9FC3-8FDE2535D4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8D5219E5-185C-46C4-AED7-EAB7FE5540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F87C0118-B0BB-45B4-A2B3-5751DED8EF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496E4EB0-086C-41B4-8D2E-1D3781FC2F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1AECEDFB-D7BC-4820-9B10-AC667CC871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A5E67DCA-93EC-4111-ACCE-147B11456C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A43C619E-2971-4E2D-B024-89911E5E52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0D301861-80F5-4F02-A1B6-06AA08DC8C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4F455973-1F0F-44F3-B3C0-D606015EC5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999EB139-A10F-4AE6-8B42-DA0DD8FEED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2.5000000000000001E-3</c:v>
                </c:pt>
                <c:pt idx="1">
                  <c:v>-2.7699999999999999E-2</c:v>
                </c:pt>
                <c:pt idx="2">
                  <c:v>0.1125</c:v>
                </c:pt>
                <c:pt idx="3">
                  <c:v>3.0999999999999999E-3</c:v>
                </c:pt>
                <c:pt idx="4">
                  <c:v>2.9000000000000001E-2</c:v>
                </c:pt>
                <c:pt idx="5">
                  <c:v>3.8600000000000002E-2</c:v>
                </c:pt>
              </c:numCache>
            </c:numRef>
          </c:xVal>
          <c:yVal>
            <c:numRef>
              <c:f>Sheet1!$B$2:$B$7</c:f>
              <c:numCache>
                <c:formatCode>General</c:formatCode>
                <c:ptCount val="6"/>
                <c:pt idx="0">
                  <c:v>0.2843</c:v>
                </c:pt>
                <c:pt idx="1">
                  <c:v>0.45100000000000001</c:v>
                </c:pt>
                <c:pt idx="2">
                  <c:v>0.45279999999999998</c:v>
                </c:pt>
                <c:pt idx="3">
                  <c:v>0.44919999999999999</c:v>
                </c:pt>
                <c:pt idx="4">
                  <c:v>0.51259999999999994</c:v>
                </c:pt>
                <c:pt idx="5">
                  <c:v>0.21190000000000001</c:v>
                </c:pt>
              </c:numCache>
            </c:numRef>
          </c:yVal>
          <c:bubbleSize>
            <c:numRef>
              <c:f>Sheet1!$C$2:$C$7</c:f>
              <c:numCache>
                <c:formatCode>General</c:formatCode>
                <c:ptCount val="6"/>
                <c:pt idx="0">
                  <c:v>784.41176470588232</c:v>
                </c:pt>
                <c:pt idx="1">
                  <c:v>757.83333333333337</c:v>
                </c:pt>
                <c:pt idx="2">
                  <c:v>369.25</c:v>
                </c:pt>
                <c:pt idx="3">
                  <c:v>502.89285714285711</c:v>
                </c:pt>
                <c:pt idx="4">
                  <c:v>511.97674418604652</c:v>
                </c:pt>
                <c:pt idx="5">
                  <c:v>10463.09</c:v>
                </c:pt>
              </c:numCache>
            </c:numRef>
          </c:bubbleSize>
          <c:bubble3D val="0"/>
          <c:extLst>
            <c:ext xmlns:c15="http://schemas.microsoft.com/office/drawing/2012/chart" uri="{02D57815-91ED-43cb-92C2-25804820EDAC}">
              <c15:datalabelsRange>
                <c15:f>Sheet1!$E$2:$E$58</c15:f>
                <c15:dlblRangeCache>
                  <c:ptCount val="57"/>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EEF29BDA-6CAB-4FAF-9160-6E773D2F47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51EA9A0C-5BFF-4F26-87DA-C02E186F41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4FEAECB-0869-49BF-9667-408F346E2D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4CB7C49-5BA9-44B3-A4C6-D33F4B9300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5728DD9C-C79F-4104-B4BA-273EB5A782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A02458BA-1166-4B30-B1CE-15AEE73DCD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A2B14AFC-2668-48FD-8699-CB65DC104E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B4488ACC-FD5B-401B-A632-40671F93A1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455192A5-7202-44BA-BC33-D184B6C3BA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5E6BA744-79EB-4501-89DD-963267203C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4DF893D-85DB-41EE-B260-3F77F4E9E2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1D5C76B-FE46-4241-8220-EB727EC379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EDC86C68-6BF9-467A-AC4C-4534FDC7C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42F87A3C-C27F-4FD3-9147-96ED36A171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30BDB40C-CCB8-492C-A8F0-49084D3157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F2D38099-BAE3-4EFA-A799-666B5C4F8E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BA119B93-FF41-470F-95B6-CBF2439D42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3AAC56F0-17E3-46DD-8462-FE54DDD1F3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72AA08E4-AE0C-4A8E-BE4F-D398E6C330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FA941394-E686-41FF-B4D5-52B598020D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B06ED2F3-428C-4391-A008-AB0FA59952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EBFFC364-9013-4FBD-B751-23CF8270FD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616346F0-D5EE-4F2B-9621-E00F9B876F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8BBA8C9D-5D85-44B0-963D-1EEC2B44B5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4A28AC58-FCA3-40CD-9044-822B024FA5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E738AC48-DA73-45B4-B3C7-2EA40EC487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F2A5AB2F-7489-4D63-98FB-746796E3AD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DF719CA4-C3AA-4925-BA1E-35C524BE3C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9CE65D26-827B-439E-810F-F7F48E30C6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84739D96-5825-4584-A382-E7110B06D9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AC1786E6-CED0-4778-ACB4-C6E46E5DF7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291402AA-8A30-46C7-B6C1-BD05F89295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222DAC0B-00E4-4F2B-B627-57DE4FABFA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638BC63A-07ED-4A5E-AACE-78B78F52BD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8DD15083-E99E-453A-9454-B730B1B882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39E37099-1B27-458F-B88F-AF52A73DBE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2D8BF6FC-FF61-4164-86DE-72F73FD154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2FE83B6A-799A-4BD3-81D7-BE90285D08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C2C947D6-C2FA-4203-8A1D-FC5BC58EDD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B904CB2C-4632-46B2-A386-9D73B602C1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5F376A36-3566-4737-A94A-579198B76D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05DBC6E0-41F3-414B-9C7D-235A78D7AC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DFB3AF59-047B-483A-986E-DA2FB516E9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E5C8353B-D2E1-4825-9AA3-554A5611AA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ABB8CD0F-49D1-43FE-B369-7DE476BED1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84DAE7FE-9B8A-4BB9-8D00-848BA47DBF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232368F0-41F8-4AC1-948E-7D03BA53D1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F5E6DC06-ABF5-4B06-A4C5-7B4A6ABF7E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D0C112BE-8646-4FCB-A423-9E3E8AD3C6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CBD9CCBC-F10C-4152-8E3C-7A341F632D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B0787D32-C51D-4996-8AED-D0E93EB947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4253D723-4A40-400D-832B-EECD831235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70D01F49-D4B2-4548-BEA7-9DB3BCB3D8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E4F1A995-70CD-4F30-AE9C-90A2021B0B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029FE1FD-D5D3-4D4C-BB25-4DA6A77AB1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2FF5DC22-03A1-4128-872A-A296BB92DC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87A00F7C-F4E7-465A-AACD-BE4551EBC4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2.3599999999999999E-2</c:v>
                </c:pt>
                <c:pt idx="1">
                  <c:v>-3.0800000000000001E-2</c:v>
                </c:pt>
                <c:pt idx="2">
                  <c:v>0.1338</c:v>
                </c:pt>
                <c:pt idx="3">
                  <c:v>1.4200000000000001E-2</c:v>
                </c:pt>
                <c:pt idx="4">
                  <c:v>3.2199999999999999E-2</c:v>
                </c:pt>
                <c:pt idx="5">
                  <c:v>3.95E-2</c:v>
                </c:pt>
              </c:numCache>
            </c:numRef>
          </c:xVal>
          <c:yVal>
            <c:numRef>
              <c:f>Sheet1!$B$2:$B$7</c:f>
              <c:numCache>
                <c:formatCode>General</c:formatCode>
                <c:ptCount val="6"/>
                <c:pt idx="0">
                  <c:v>0.28410000000000002</c:v>
                </c:pt>
                <c:pt idx="1">
                  <c:v>0.45090000000000002</c:v>
                </c:pt>
                <c:pt idx="2">
                  <c:v>0.45279999999999998</c:v>
                </c:pt>
                <c:pt idx="3">
                  <c:v>0.44919999999999999</c:v>
                </c:pt>
                <c:pt idx="4">
                  <c:v>0.51119999999999999</c:v>
                </c:pt>
                <c:pt idx="5">
                  <c:v>0.21179999999999999</c:v>
                </c:pt>
              </c:numCache>
            </c:numRef>
          </c:yVal>
          <c:bubbleSize>
            <c:numRef>
              <c:f>Sheet1!$C$2:$C$7</c:f>
              <c:numCache>
                <c:formatCode>General</c:formatCode>
                <c:ptCount val="6"/>
                <c:pt idx="0">
                  <c:v>461.28571428571428</c:v>
                </c:pt>
                <c:pt idx="1">
                  <c:v>361.03296703296701</c:v>
                </c:pt>
                <c:pt idx="2">
                  <c:v>409.58333333333331</c:v>
                </c:pt>
                <c:pt idx="3">
                  <c:v>378.90476190476193</c:v>
                </c:pt>
                <c:pt idx="4">
                  <c:v>364.95555555555558</c:v>
                </c:pt>
                <c:pt idx="5">
                  <c:v>6289.38</c:v>
                </c:pt>
              </c:numCache>
            </c:numRef>
          </c:bubbleSize>
          <c:bubble3D val="0"/>
          <c:extLst>
            <c:ext xmlns:c15="http://schemas.microsoft.com/office/drawing/2012/chart" uri="{02D57815-91ED-43cb-92C2-25804820EDAC}">
              <c15:datalabelsRange>
                <c15:f>Sheet1!$E$2:$E$58</c15:f>
                <c15:dlblRangeCache>
                  <c:ptCount val="57"/>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B4C2235-B49C-4105-B1FC-7911E738CF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DF256AC1-81B9-4EC3-AB10-62E9521582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F988B21-3FFC-4553-95ED-4995D8E95E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DA5E352-18FE-4728-A258-F60EBA95F9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F3CE3C96-176B-481D-9DD6-2B56A205D7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DE06CC87-74E7-403D-9967-D7CC2A526F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554F418F-611A-4F0F-A903-78AF4DC491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19CE478-2C89-43A2-8A19-A9B1647ECF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08073F8F-C86F-418B-8EDA-58C937A482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1E0E7AAD-B2CA-4D53-AAEC-E6A369358F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3FCF9B3-4842-4D7E-9E4F-75BB72D5AB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7B6BE71D-0924-4C8B-80FC-67F4A8163F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07635ED0-6F05-46E3-A27B-3D7BDDC01C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4A2D464D-EC3D-4468-98CA-11072F4A65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15D4A9F2-E44B-4B84-BC6E-48544D8DF4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62C9BE85-67A2-4361-BDAB-200A17DE81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6C1578C2-A406-4485-A45C-9B9BF92AAF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235CB8CA-2278-4BF9-81DB-AA66C6F459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EB799659-1A84-4833-A2EB-91BC5E6358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FFA1546A-6785-4DA4-962B-A161B16260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6456A503-B71F-4FD8-833F-7A23D299B7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77E99556-51FF-4018-9BB7-7EBD3721F0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EAC75BCC-C941-4803-BD15-65864A7E4E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350B5804-2915-4E9D-8F9C-8A34EB0C54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72C9ABE9-A679-4593-A2B2-190FCB7397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730756A4-EF92-4070-AD87-46038E6E17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9EEA6309-C7E7-4911-9F06-E0A6F57F85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A6549E35-26D3-46A2-830C-858C08BC34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5CA9E4D4-2A7F-4D19-9AC6-B055AC8D96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29539722-FD71-4759-ABEB-D3C250E276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F248F4E6-FB79-4B80-BA5E-D77D270052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C0BE2A68-9F0A-4B15-8062-6A1FB65EC7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1B6056E5-58D1-4126-8369-A2DA3C03FF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04DA5782-9F90-4BD3-ADAF-EE99989AFF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929F7DB4-BC0A-46A5-9092-FFD4ADFE78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3FA91B05-3B60-427B-BB68-82EC6F43BA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FF0916CD-4F55-4580-9EFF-71E982E55B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6708E664-0287-4FC9-8386-EA8FC773F0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1FE63644-E599-4D88-B6A7-C2D0B10839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EB521BA4-3397-4023-BDF6-2A99078123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DACFC34A-09EB-45E4-9817-061C5DA87C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97FD0339-EFCB-4D5C-850D-DB89159867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E6A27B85-D77B-40E3-A26D-3555ABF256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1D4B58A5-44F7-42DA-AD4C-CCFC354E1F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08783C69-A3E5-48E5-AA45-7377A3781C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B10B5CD7-3EAC-4870-9A63-E1330BB774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B81091F9-25F3-4EF7-9762-2D78951E90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8EAC455D-9670-409E-8BC4-8254A7D110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E26B10B2-67A2-4226-AD7C-00B3D57877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DB435804-2A1D-4B99-80FA-850155DD8E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859D9610-C33D-475C-92E1-BC900D91A5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77A7B712-1025-4F0C-824E-C34AED616C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36A62781-2B8C-48A1-B8AB-72C620ECEF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E7A9BB83-D285-4508-94BF-55AC9610F6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F41379C1-A82D-468E-8DA7-E660EDC867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07BF1FED-47AD-4E2A-BB2F-FE76E0D7F5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242D8703-BDFE-48EB-9450-AD8181BF18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5.5999999999999999E-3</c:v>
                </c:pt>
                <c:pt idx="1">
                  <c:v>-2.69E-2</c:v>
                </c:pt>
                <c:pt idx="2">
                  <c:v>0.13969999999999999</c:v>
                </c:pt>
                <c:pt idx="3">
                  <c:v>1.4200000000000001E-2</c:v>
                </c:pt>
                <c:pt idx="4">
                  <c:v>2.9700000000000001E-2</c:v>
                </c:pt>
                <c:pt idx="5">
                  <c:v>0.04</c:v>
                </c:pt>
                <c:pt idx="6">
                  <c:v>8.72E-2</c:v>
                </c:pt>
              </c:numCache>
            </c:numRef>
          </c:xVal>
          <c:yVal>
            <c:numRef>
              <c:f>Sheet1!$B$2:$B$8</c:f>
              <c:numCache>
                <c:formatCode>General</c:formatCode>
                <c:ptCount val="7"/>
                <c:pt idx="0">
                  <c:v>0.28460000000000002</c:v>
                </c:pt>
                <c:pt idx="1">
                  <c:v>0.45090000000000002</c:v>
                </c:pt>
                <c:pt idx="2">
                  <c:v>0.45279999999999998</c:v>
                </c:pt>
                <c:pt idx="3">
                  <c:v>0.44919999999999999</c:v>
                </c:pt>
                <c:pt idx="4">
                  <c:v>0.51249999999999996</c:v>
                </c:pt>
                <c:pt idx="5">
                  <c:v>0.21199999999999999</c:v>
                </c:pt>
                <c:pt idx="6">
                  <c:v>0.43819999999999998</c:v>
                </c:pt>
              </c:numCache>
            </c:numRef>
          </c:yVal>
          <c:bubbleSize>
            <c:numRef>
              <c:f>Sheet1!$C$2:$C$8</c:f>
              <c:numCache>
                <c:formatCode>General</c:formatCode>
                <c:ptCount val="7"/>
                <c:pt idx="0">
                  <c:v>1297.4705882352939</c:v>
                </c:pt>
                <c:pt idx="1">
                  <c:v>779.16883116883116</c:v>
                </c:pt>
                <c:pt idx="2">
                  <c:v>1504.166666666667</c:v>
                </c:pt>
                <c:pt idx="3">
                  <c:v>741.27777777777783</c:v>
                </c:pt>
                <c:pt idx="4">
                  <c:v>636.66666666666663</c:v>
                </c:pt>
                <c:pt idx="5">
                  <c:v>9504.58</c:v>
                </c:pt>
                <c:pt idx="6">
                  <c:v>175.6875</c:v>
                </c:pt>
              </c:numCache>
            </c:numRef>
          </c:bubbleSize>
          <c:bubble3D val="0"/>
          <c:extLst>
            <c:ext xmlns:c15="http://schemas.microsoft.com/office/drawing/2012/chart" uri="{02D57815-91ED-43cb-92C2-25804820EDAC}">
              <c15:datalabelsRange>
                <c15:f>Sheet1!$E$2:$E$58</c15:f>
                <c15:dlblRangeCache>
                  <c:ptCount val="57"/>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pt idx="6">
                    <c:v>CHAMPAGNE NICOLAS 1ERE CUV ET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7ACE4C39-D6D5-47F2-AD7D-19BF827B1D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DCB1F4D-B2B4-4C08-8760-055491D246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03F2ED6C-049C-42C1-952B-61FA5A33B3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8EE7D4FF-7209-4DCE-A8EA-381E8A2D8C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2E5B1D4E-D643-47F1-BA14-587864325B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402B9E7E-7299-4AFF-A27B-E4417BC093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CB1F6751-8572-4390-82F8-D4552AD2E1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E2AEE2F0-CF11-4429-B6FF-9786FD9050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0.8073</c:v>
                </c:pt>
                <c:pt idx="1">
                  <c:v>44.137700000000002</c:v>
                </c:pt>
                <c:pt idx="2">
                  <c:v>21.497800000000002</c:v>
                </c:pt>
              </c:numCache>
            </c:numRef>
          </c:xVal>
          <c:yVal>
            <c:numRef>
              <c:f>Sheet1!$B$2:$B$4</c:f>
              <c:numCache>
                <c:formatCode>General</c:formatCode>
                <c:ptCount val="3"/>
                <c:pt idx="0">
                  <c:v>0.50060000000000004</c:v>
                </c:pt>
                <c:pt idx="1">
                  <c:v>0.39660000000000001</c:v>
                </c:pt>
                <c:pt idx="2">
                  <c:v>0.51800000000000002</c:v>
                </c:pt>
              </c:numCache>
            </c:numRef>
          </c:yVal>
          <c:bubbleSize>
            <c:numRef>
              <c:f>Sheet1!$C$2:$C$4</c:f>
              <c:numCache>
                <c:formatCode>General</c:formatCode>
                <c:ptCount val="3"/>
                <c:pt idx="0">
                  <c:v>101783.1632</c:v>
                </c:pt>
                <c:pt idx="1">
                  <c:v>1499753.3894</c:v>
                </c:pt>
                <c:pt idx="2">
                  <c:v>16746.812700000009</c:v>
                </c:pt>
              </c:numCache>
            </c:numRef>
          </c:bubbleSize>
          <c:bubble3D val="0"/>
          <c:extLst>
            <c:ext xmlns:c15="http://schemas.microsoft.com/office/drawing/2012/chart" uri="{02D57815-91ED-43cb-92C2-25804820EDAC}">
              <c15:datalabelsRange>
                <c15:f>Sheet1!$E$2:$E$29</c15:f>
                <c15:dlblRangeCache>
                  <c:ptCount val="28"/>
                  <c:pt idx="0">
                    <c:v>Mousseux</c:v>
                  </c:pt>
                  <c:pt idx="1">
                    <c:v>Champagnes</c:v>
                  </c:pt>
                  <c:pt idx="2">
                    <c:v>Effervescents Sans Alcool</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2.965240000000001"/>
          <c:min val="8.6458399999999997"/>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439746755429373"/>
        <c:crossBetween val="midCat"/>
      </c:valAx>
      <c:valAx>
        <c:axId val="1011451359"/>
        <c:scaling>
          <c:orientation val="minMax"/>
          <c:max val="0.98160000000000003"/>
          <c:min val="7.7280000000000015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1.80707003219531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42BD25D4-2538-4AE6-BDAB-EB3DD1EA55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89CB8421-FD9E-4867-8F02-00914376E6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4255218-B6F0-47D2-98C8-1D8C85A461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9BBDE8F-EB1B-4E35-B147-F77AB6B579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AB28A5C7-11D1-40A7-8BB1-BDC77DFBF8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F435FA86-AC66-4131-BAD7-AA7351A04D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EA9901E4-6BB7-4796-BA80-C4C9FC8742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77421F7-2E73-4689-98CB-CB4B6C09D1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56B534C3-6A3E-40EE-9A91-41C13627FD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D1116DBA-9DCF-4A96-BAE6-8EE80B8B3A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4E2DD6F-C9A5-4B82-ABFF-1632700C91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61CAFB7A-AC0F-4E8B-8EEF-6198879731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204D393B-E370-415C-8886-BA04FD1145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E131A619-F935-459A-877F-F1705FC6C4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9B2D38A3-4CEF-4962-8C89-9DD5FE01AC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99B86063-BC85-4049-A818-8F3EA21B78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9781FF3F-5B68-4AED-8B86-52704B1DC1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B8E9B6FC-9A39-4517-8FC5-9F5684D20C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F1E3438D-7725-4974-8ADD-9C933ED7B7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614AF9FA-FDA5-484F-8411-7FB71111EB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CA934BF7-B5FA-4286-9CA2-ADBE4F6BFF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597A46DB-41E6-4C7D-A90D-E84E7C68FD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EBAF87B5-8389-4439-B91F-AE451F6257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D0D34537-9783-4541-9092-CD58476613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8650E8D8-54AE-40F8-9ACF-DA2AEC446F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FDB9DBB7-DA29-49C5-BC10-2615212B2A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1387774D-72D9-4673-A4B5-5B3220BF76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A4FBA25C-D525-49ED-BA35-E74065BD31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D56205C7-B096-4040-82BA-A5D1C4D45D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3EF6388D-9D97-4A7D-BEAA-0CC680790D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DE0795D4-C37F-4CE8-A344-D1D2129303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7485B32C-AB6F-47E2-9B2F-24C4FCCC28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83A304BD-0DEB-4303-9FAA-3C5DC5A4BD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FD035470-3AC0-4EB1-B265-2DD7B49681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0D9D4989-B7DD-4C2F-B83F-96BEBBB8DD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A36A6AD0-BC67-4613-9279-EF648B3184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B81A67EE-ACC1-4A55-A0F8-E681073AB8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E37D5387-3016-411B-92D7-53F1053329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F8BBA351-0E70-4C60-9E30-46FE1AECFB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93904FBB-76D0-47A7-9F2E-3F64E7D3E4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42C4EC9F-C94C-4C5A-AF4F-20D9F0BCEE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3E90F3FF-880E-4F6F-84F3-9CDD51F6A3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363FC842-E061-4877-BB1D-13B8EE71F0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36ECD216-48FD-4755-B7AA-20B3742476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618BFA34-8E66-4A70-91C1-698B52738B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73B12486-30F2-46EA-AB91-F13D062AAE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C30DDB23-70F2-40B7-90B2-EEC4DD291D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AFDEA96B-1F51-4564-A4FA-F5ADEAF6F8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80293EDE-DEAC-4EFF-B6F8-1CAC5C8CDB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06B3BD0D-9DB3-4549-B6BF-9B1757CE28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98F0815E-0DEF-45D1-B6C9-4529E8CE0B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F4327ED0-1BFD-409A-A135-363CB6332E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AA4BFEA4-DA4B-4257-96D8-6B145BCD42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E3541335-457E-4F5C-8AC7-1183787391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9CE95EAD-E159-4CD9-90D2-8D3BBEB714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4D99D5CA-0CA5-496D-BF4E-70089D9A21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4C3C1EDE-A505-4629-AFEC-5206E12081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1.1900000000000001E-2</c:v>
                </c:pt>
                <c:pt idx="1">
                  <c:v>-2.1999999999999999E-2</c:v>
                </c:pt>
                <c:pt idx="2">
                  <c:v>0.122</c:v>
                </c:pt>
                <c:pt idx="3">
                  <c:v>1.0500000000000001E-2</c:v>
                </c:pt>
                <c:pt idx="4">
                  <c:v>3.4599999999999999E-2</c:v>
                </c:pt>
                <c:pt idx="5">
                  <c:v>4.2799999999999998E-2</c:v>
                </c:pt>
                <c:pt idx="6">
                  <c:v>4.3299999999999998E-2</c:v>
                </c:pt>
              </c:numCache>
            </c:numRef>
          </c:xVal>
          <c:yVal>
            <c:numRef>
              <c:f>Sheet1!$B$2:$B$8</c:f>
              <c:numCache>
                <c:formatCode>General</c:formatCode>
                <c:ptCount val="7"/>
                <c:pt idx="0">
                  <c:v>0.28460000000000002</c:v>
                </c:pt>
                <c:pt idx="1">
                  <c:v>0.45090000000000002</c:v>
                </c:pt>
                <c:pt idx="2">
                  <c:v>0.45279999999999998</c:v>
                </c:pt>
                <c:pt idx="3">
                  <c:v>0.44919999999999999</c:v>
                </c:pt>
                <c:pt idx="4">
                  <c:v>0.5111</c:v>
                </c:pt>
                <c:pt idx="5">
                  <c:v>0.21179999999999999</c:v>
                </c:pt>
                <c:pt idx="6">
                  <c:v>0.43819999999999998</c:v>
                </c:pt>
              </c:numCache>
            </c:numRef>
          </c:yVal>
          <c:bubbleSize>
            <c:numRef>
              <c:f>Sheet1!$C$2:$C$8</c:f>
              <c:numCache>
                <c:formatCode>General</c:formatCode>
                <c:ptCount val="7"/>
                <c:pt idx="0">
                  <c:v>1184</c:v>
                </c:pt>
                <c:pt idx="1">
                  <c:v>658.12727272727261</c:v>
                </c:pt>
                <c:pt idx="2">
                  <c:v>1187.833333333333</c:v>
                </c:pt>
                <c:pt idx="3">
                  <c:v>1202.5999999999999</c:v>
                </c:pt>
                <c:pt idx="4">
                  <c:v>800.18181818181813</c:v>
                </c:pt>
                <c:pt idx="5">
                  <c:v>7707.4123711340208</c:v>
                </c:pt>
                <c:pt idx="6">
                  <c:v>383.23076923076923</c:v>
                </c:pt>
              </c:numCache>
            </c:numRef>
          </c:bubbleSize>
          <c:bubble3D val="0"/>
          <c:extLst>
            <c:ext xmlns:c15="http://schemas.microsoft.com/office/drawing/2012/chart" uri="{02D57815-91ED-43cb-92C2-25804820EDAC}">
              <c15:datalabelsRange>
                <c15:f>Sheet1!$E$2:$E$58</c15:f>
                <c15:dlblRangeCache>
                  <c:ptCount val="57"/>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pt idx="6">
                    <c:v>CHAMPAGNE NICOLAS 1ERE CUV ET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3F243627-A828-47C7-A831-BEABD0D422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5D8D648F-A99A-4B61-8042-991D4B5400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8854E53-8F22-4DCD-8A9F-9953F07A42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CEECB7E-64D4-4B63-8515-EB975AB0AF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E6E4515A-693F-4606-AEC0-53F21AB31D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1F72C67B-23C5-4092-A92A-A8B12F7819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C343DD76-7483-43D0-B9A4-A6AF222051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1FABCDF-5EEF-4019-B845-7BDF0F6FFE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EA2EF069-EA4B-4724-8B45-980D7C6DD2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864687A6-B02A-4972-8388-4A4F488856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F063F39-5D6C-4DBE-A6E0-06592B2D57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9748B87F-91D5-4397-94F0-D0C23B1989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513116C4-A1C5-4509-B14B-144C46260C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BAAC0A11-AA7F-4A8D-8796-8D8467B062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FE43EA0F-4BBC-48EC-9653-FB60E5FFC5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19943CC0-96CA-40DB-B3FD-2A7D184469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536F2011-C936-4356-93D9-3F6608A129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7135BEF0-726E-4A5A-9ABC-04E909F2FF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6728E31D-74C6-40CA-97CB-7B9952185F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2E971D69-A394-4F25-918C-A8FA887328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EA866985-500D-45DA-A11D-3903DFA418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ABD85DEF-E7CC-49DD-8481-1E9CDC76BD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0B25B675-F5F7-412C-BDFB-1D19504C7D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1889AE27-D618-4C6A-BF45-D0474E0FDA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408D47A4-6FBC-4607-A696-4D2A5C8CEE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8FD883FE-2729-4296-A173-18DBC18CDE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F140E9AB-2A2E-43D7-8997-8FB8BDA516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89464B8E-E8B6-4DF9-831B-9E130BF402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33081638-9981-477C-BBE8-60C27D9217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21CCB19A-4A48-4DF1-80CB-5D90C41874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72F66FCC-83FF-4376-9112-87F298BD75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988A3E11-2D69-4783-A557-C604D5DE20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30451F0D-8D00-440B-8623-F6E062B6B4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4444020A-5972-43CA-A238-CEB13CAE88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97196007-ED8E-4084-9A10-B77AE7D728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BEF1ED29-4775-4B1F-B83E-5C15CA42B9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BB30C7DB-C6EF-49CF-B795-E8B6647DA5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6EB1B68D-0E43-482D-A668-184E77B9FB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BA256D06-FCBA-4208-9973-E74C885C80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00D45FC4-6A9C-4E9B-BF1C-915459D134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3CD69DA5-177F-4A72-B5B8-D6093BBBFE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E27747EB-EE4A-45E6-B140-96A81CD2D6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7F5FDDA7-8917-47D5-A3C4-8411680189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5F60FE5B-F922-418C-93FC-636EFE54BB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67D2ADA8-6D00-4506-A1B7-D22BCD57CE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96B235F7-D23E-4D11-AD71-099EACCB3E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796EFF82-2B4F-4DD5-9AF6-CBC50E919E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F57816B8-4308-4591-84FD-AB955DD466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86944F90-1FCA-4AFE-9BF6-1FAAA3721D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1B3EA004-AEE5-41BC-BBCB-24CE0F13D9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31276C2A-DA14-4EE8-8FDC-D28B15F0F1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D42C7273-55DC-4095-965F-45AB9DB3D4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7434B36D-5915-41CB-BFF2-C160E8A1D4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F9567025-8CF1-4ACC-8F9E-383F95F92D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74A70843-368A-4F0C-8525-E1B4F1E0BD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3AF7DE07-BFA8-4A7A-9E04-F29E0F3863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EBC99183-CF52-4014-A63F-5440C74F88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1.52E-2</c:v>
                </c:pt>
                <c:pt idx="1">
                  <c:v>-2.2700000000000001E-2</c:v>
                </c:pt>
                <c:pt idx="2">
                  <c:v>0.1225</c:v>
                </c:pt>
                <c:pt idx="3">
                  <c:v>8.8999999999999999E-3</c:v>
                </c:pt>
                <c:pt idx="4">
                  <c:v>3.2399999999999998E-2</c:v>
                </c:pt>
                <c:pt idx="5">
                  <c:v>4.3900000000000002E-2</c:v>
                </c:pt>
                <c:pt idx="6">
                  <c:v>5.0799999999999998E-2</c:v>
                </c:pt>
              </c:numCache>
            </c:numRef>
          </c:xVal>
          <c:yVal>
            <c:numRef>
              <c:f>Sheet1!$B$2:$B$8</c:f>
              <c:numCache>
                <c:formatCode>General</c:formatCode>
                <c:ptCount val="7"/>
                <c:pt idx="0">
                  <c:v>0.28399999999999997</c:v>
                </c:pt>
                <c:pt idx="1">
                  <c:v>0.45140000000000002</c:v>
                </c:pt>
                <c:pt idx="2">
                  <c:v>0.45279999999999998</c:v>
                </c:pt>
                <c:pt idx="3">
                  <c:v>0.44919999999999999</c:v>
                </c:pt>
                <c:pt idx="4">
                  <c:v>0.50990000000000002</c:v>
                </c:pt>
                <c:pt idx="5">
                  <c:v>0.21199999999999999</c:v>
                </c:pt>
                <c:pt idx="6">
                  <c:v>0.43819999999999998</c:v>
                </c:pt>
              </c:numCache>
            </c:numRef>
          </c:yVal>
          <c:bubbleSize>
            <c:numRef>
              <c:f>Sheet1!$C$2:$C$8</c:f>
              <c:numCache>
                <c:formatCode>General</c:formatCode>
                <c:ptCount val="7"/>
                <c:pt idx="0">
                  <c:v>1152.0666666666671</c:v>
                </c:pt>
                <c:pt idx="1">
                  <c:v>714.12903225806451</c:v>
                </c:pt>
                <c:pt idx="2">
                  <c:v>1150.333333333333</c:v>
                </c:pt>
                <c:pt idx="3">
                  <c:v>745.88888888888891</c:v>
                </c:pt>
                <c:pt idx="4">
                  <c:v>760.28</c:v>
                </c:pt>
                <c:pt idx="5">
                  <c:v>7373.9494949494947</c:v>
                </c:pt>
                <c:pt idx="6">
                  <c:v>254.6</c:v>
                </c:pt>
              </c:numCache>
            </c:numRef>
          </c:bubbleSize>
          <c:bubble3D val="0"/>
          <c:extLst>
            <c:ext xmlns:c15="http://schemas.microsoft.com/office/drawing/2012/chart" uri="{02D57815-91ED-43cb-92C2-25804820EDAC}">
              <c15:datalabelsRange>
                <c15:f>Sheet1!$E$2:$E$58</c15:f>
                <c15:dlblRangeCache>
                  <c:ptCount val="57"/>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pt idx="6">
                    <c:v>CHAMPAGNE NICOLAS 1ERE CUV ET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0EB7D308-DD56-4381-AC86-0F247E7469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77EA9589-1E3D-4C1C-948A-06034A2FF2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398FC28-06B4-4CE2-9669-9BD50AA465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710D36A-6497-4EC8-A563-B4D13DFF62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225CFFC5-D218-443F-B47C-1E9A68E33A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F3F28DBB-EBFD-4D6E-A219-B76C63F41A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3753A8E-EAB7-4CE5-8D24-74CA2D6135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B98D4A37-428C-40C0-B887-E34008132E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BF66E077-427E-40CB-90F6-51E6A3464D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DFA01702-88F1-46F4-A5EC-DA1E4FE367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12088FD-D650-4ED4-9AC2-45055EFEEB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B28DC943-008D-4DEE-ADD9-12F6DB9125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BF77913F-DB9F-4FE7-A946-E2AA77AC7D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5647105C-8489-4D98-9E0A-E5243003BF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63C61A5A-B677-4ACD-8696-D4E32C94C2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8B31CF08-4A6C-462E-89F0-A9EB61A497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F1EE92A9-984E-40B6-8C6D-134D199C11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116F07CE-CE24-4530-857A-D7638DDC4C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7F9F01A4-ADA1-46B2-9BB1-6F97800612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21CA19E2-74C4-4715-BC7E-ADD0150D1D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46E8D2D7-C602-49CA-99C3-32570743DE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C259F12A-F0B0-4B24-9452-2EA2DCF63B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94AE01B7-D0D4-4E64-AD16-267AA6FBF7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E9C67B70-3070-448E-A70D-5CE7040A1B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AFD11E07-BE10-4E44-88AB-FA85CB9776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77CFB3E1-2F45-4E16-B955-5AFD5D67F2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EAFF2290-F863-4148-938D-8A146D43B7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BA9B443C-1025-4474-BCA7-13B9965E8C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A6571D8F-6DFE-4014-A38B-83CD377E89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3CB8647E-D08E-4C7B-96FC-732E1DA9F1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A5453C23-6CD5-4AC0-B77C-DE30FC4FF9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60856758-B494-4AB4-9E7D-355A9A5231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9FC8C58A-9E7A-4606-BFAB-3A502D51EF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9A1E8498-D5AE-43AD-A1FF-4283BF0886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D2085E5F-9BD7-45C1-8E37-8E90BD253A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A1C7C3D0-8E6F-4187-85CE-FC3ABEE8B7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236020C7-DA43-4CA2-A5E8-EEF08EB215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98D8D0DB-A701-4F13-82E1-3ABDE23EE3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6B0CF495-1431-4E1A-9B30-7C9343783F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C5CF8799-9E43-43C1-9A59-7B3997627D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D74B4F87-8B7D-4634-9964-A74BC0B6DC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90CEB8EF-3550-47A7-9823-4E58586F3B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E829EDF3-BCDA-4543-91FB-2490F27D3F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651BC478-7F2B-45E5-9F7C-1418FB5AA7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F8536D1E-5BE0-4F4D-BA6C-C50AFC19C0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D0F0B533-03CB-44BB-9D89-9D6E24D91B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D8C430BA-C150-4D1C-8CF9-5200EC39AE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7556B4F1-8BCD-4F9D-9280-F469235E95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3161D5BA-7A0C-42C4-A0EF-F2D93221D7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CD9709B1-0D24-4E13-AA63-C1A1B33197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B35AB5DF-B7A4-4A1F-864B-24791F7AE0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40A2421D-CD6B-491F-A7DF-5E139B6076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C2C52760-110C-4B3D-ACA5-38218D73CE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4DF27A27-07CD-438E-825B-68B447E598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CB65122E-221E-41DE-B6C4-1DE3AE142C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8206A642-6B11-4383-ACC1-DD27B074CE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B6B49E69-DD43-437C-851A-BAB299C943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699</c:v>
                </c:pt>
                <c:pt idx="1">
                  <c:v>-1.7100000000000001E-2</c:v>
                </c:pt>
                <c:pt idx="2">
                  <c:v>9.9400000000000002E-2</c:v>
                </c:pt>
              </c:numCache>
            </c:numRef>
          </c:xVal>
          <c:yVal>
            <c:numRef>
              <c:f>Sheet1!$B$2:$B$4</c:f>
              <c:numCache>
                <c:formatCode>General</c:formatCode>
                <c:ptCount val="3"/>
                <c:pt idx="0">
                  <c:v>0.45279999999999998</c:v>
                </c:pt>
                <c:pt idx="1">
                  <c:v>0.4582</c:v>
                </c:pt>
                <c:pt idx="2">
                  <c:v>0.44950000000000001</c:v>
                </c:pt>
              </c:numCache>
            </c:numRef>
          </c:yVal>
          <c:bubbleSize>
            <c:numRef>
              <c:f>Sheet1!$C$2:$C$4</c:f>
              <c:numCache>
                <c:formatCode>General</c:formatCode>
                <c:ptCount val="3"/>
                <c:pt idx="0">
                  <c:v>210.33333333333329</c:v>
                </c:pt>
                <c:pt idx="1">
                  <c:v>264.47826086956519</c:v>
                </c:pt>
                <c:pt idx="2">
                  <c:v>339.18181818181819</c:v>
                </c:pt>
              </c:numCache>
            </c:numRef>
          </c:bubbleSize>
          <c:bubble3D val="0"/>
          <c:extLst>
            <c:ext xmlns:c15="http://schemas.microsoft.com/office/drawing/2012/chart" uri="{02D57815-91ED-43cb-92C2-25804820EDAC}">
              <c15:datalabelsRange>
                <c15:f>Sheet1!$E$2:$E$58</c15:f>
                <c15:dlblRangeCache>
                  <c:ptCount val="57"/>
                  <c:pt idx="0">
                    <c:v>MG CHAMPAGNE NICOLAS 1E CRU BS 1CT X 1500ML</c:v>
                  </c:pt>
                  <c:pt idx="1">
                    <c:v>CHAMPAGNE NICOLAS 1ER CRU BS 1CT X 750ML</c:v>
                  </c:pt>
                  <c:pt idx="2">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B6596560-C49C-4F40-A070-B42EC4A654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5E6B2340-3DCC-4951-BDD4-0C29DCC608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45B67D7-707E-4D8D-BF94-20364A3474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335E368-51E6-463A-96BF-FC8A31CEAE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65407407-0F50-45AA-BA95-1F7765EBA8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793D9747-17FA-481E-AD04-1E02164AB7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5500AD7-E362-4BCB-8C5C-4B89C5913F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C517ECD6-27FB-40FD-9A31-EBF9719E55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E317A21-2D0B-4FFD-9533-CE8BCB13A2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CFEF1349-DA7D-4846-9A41-7C491E32C1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B00AF8F-CB8A-4F63-BC4A-A8C09F47E6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698DD6A6-227D-428B-B1CA-32DC2D46D8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3126493D-A39B-4913-9C64-D65C0E5C88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B33C4239-180C-4709-BC1D-6BC4C64005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39556E95-BAEE-4C37-925A-AF16DDBA3C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B2E59ED5-D653-4250-951C-E1137979AB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C270BA97-EC7C-4914-BB2A-010E4D2245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CD4BE638-2F8C-4837-AEA4-A846136A2D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68B220DB-8D9B-42BE-BB43-4E66EDC099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0995A09F-C791-49E6-B2C7-7CB4E09475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1C680D2B-0E37-4953-853B-073EA82FAB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52C9A745-3FFE-495D-A960-786A613382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3AAEBA12-46A1-404A-B196-B90F44E09C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949F94EC-18B0-4292-AC80-CA19E28DB1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6B695BD9-01BB-4CA3-8A57-A55B007E0A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FCB1CA3D-F0DF-46A8-8DDB-5BC69FA2EE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12E9F5F0-B8ED-471A-A95E-48A224D0CB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6B176AA0-5334-46A8-BAAB-2B324AAA42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32799E41-88AB-4213-A3DC-8BCFE79401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07CEC2ED-EB69-4118-93B4-49B0A3A12B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7411D8F8-C7E4-49A8-B48A-C4332E5ABB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104D13BC-8A1D-45B0-B472-AC8AB01CA9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26E550F8-7740-480F-8A3F-040F6C9B04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E73A511A-5317-455B-B094-039C91B2FD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22AFA7A4-6CD1-4FFC-A7E4-B2A21A7978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0016805E-090A-4283-97F6-917983A9D0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B299A541-713C-42E3-B5B4-18426617AD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20E659C1-8624-4D2B-9D00-3A55B9417E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4557CD3A-789E-4DF6-BD41-C6679C409B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01E7D4FD-E0B0-45D6-9A49-532B77F6B5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D6CBB13A-AE78-4539-86C8-63DD7D1D5B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B9EC2BD6-46B5-4242-82F1-1514D6E879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4F38B6D9-448C-4AB4-A052-AAC081E110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D87AC87F-4A20-44D0-8CF6-255961A3D4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CBA44A6A-54CD-41D1-A289-8568BE3D05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EEE9CD89-ED85-4169-9623-3E12AA400E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63BCE9B4-1055-458D-8377-AEB178EA5D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202B57F7-489B-4884-B5BD-8D7769E178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2D630E68-3035-4FD6-97B9-C1412A01F8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DA85B862-8C90-4F21-A20F-E03FFC75C2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C9F807F8-A5D2-4139-BD54-44FD810D85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E5866FBC-321B-42ED-A944-88DE334619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65F3213D-5C7E-4C4D-987F-37FCEF825A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BEBAF725-F844-473E-8CF4-BFA23DFB20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2F1DAA18-24A6-4C7B-A24E-93EFD5457C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0BF29465-D662-47DE-9E86-B61A4D13F6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FE7FE0B3-FFCF-4A2E-A9F0-D99E9BFEA6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298</c:v>
                </c:pt>
                <c:pt idx="1">
                  <c:v>6.1999999999999998E-3</c:v>
                </c:pt>
                <c:pt idx="2">
                  <c:v>6.6900000000000001E-2</c:v>
                </c:pt>
              </c:numCache>
            </c:numRef>
          </c:xVal>
          <c:yVal>
            <c:numRef>
              <c:f>Sheet1!$B$2:$B$4</c:f>
              <c:numCache>
                <c:formatCode>General</c:formatCode>
                <c:ptCount val="3"/>
                <c:pt idx="0">
                  <c:v>0.45279999999999998</c:v>
                </c:pt>
                <c:pt idx="1">
                  <c:v>0.45829999999999999</c:v>
                </c:pt>
                <c:pt idx="2">
                  <c:v>0.44990000000000002</c:v>
                </c:pt>
              </c:numCache>
            </c:numRef>
          </c:yVal>
          <c:bubbleSize>
            <c:numRef>
              <c:f>Sheet1!$C$2:$C$4</c:f>
              <c:numCache>
                <c:formatCode>General</c:formatCode>
                <c:ptCount val="3"/>
                <c:pt idx="0">
                  <c:v>1024.5</c:v>
                </c:pt>
                <c:pt idx="1">
                  <c:v>495.65625</c:v>
                </c:pt>
                <c:pt idx="2">
                  <c:v>496.88888888888891</c:v>
                </c:pt>
              </c:numCache>
            </c:numRef>
          </c:bubbleSize>
          <c:bubble3D val="0"/>
          <c:extLst>
            <c:ext xmlns:c15="http://schemas.microsoft.com/office/drawing/2012/chart" uri="{02D57815-91ED-43cb-92C2-25804820EDAC}">
              <c15:datalabelsRange>
                <c15:f>Sheet1!$E$2:$E$58</c15:f>
                <c15:dlblRangeCache>
                  <c:ptCount val="57"/>
                  <c:pt idx="0">
                    <c:v>MG CHAMPAGNE NICOLAS 1E CRU BS 1CT X 1500ML</c:v>
                  </c:pt>
                  <c:pt idx="1">
                    <c:v>CHAMPAGNE NICOLAS 1ER CRU BS 1CT X 750ML</c:v>
                  </c:pt>
                  <c:pt idx="2">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AA16851F-9E3A-41C3-B3B7-EF5CD6C56C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3E90B845-0F62-46E4-AFDE-1A95F6FD75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9DD7A46-1251-43DE-A79A-17AE7F13F0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B86D45F-90C7-4B3E-A3C4-AF5C51CE99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E36CA854-6B10-44A6-8CF3-FEB2957C51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C2A309F2-1FA8-4D43-BA8F-D8C9A26B10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1E0C606-67A8-46CA-8633-B54F0468FD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C779ACB1-4A64-4CCE-9508-C37250ED07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668534E4-9A45-449E-96A5-FA69DCD991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1D818C2A-1151-4310-84E7-C569C191E8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A32FADC-781D-4E48-953E-0858734B1E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6ECACCEC-6C65-4571-A5D5-4426FA6D86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C798CCD0-E607-4E94-AF79-D31FB48EE9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1389B4EF-28E0-4CFD-A9E6-2086791D9E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669AB934-0013-479A-BE36-D7B75EADF1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EE3B1D3D-4E48-4245-8E25-EC8F80A01B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1C3A4CD6-1073-4596-BF4A-7541B1766E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A84ACD55-71AF-4269-88D8-7AFE97F08F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2EC999A0-2A00-4E95-BBCA-3C46D0BB20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C78B826C-80B9-4D40-8E43-68FFD0BDFA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65E1224B-9A51-4D26-9081-9D43ED3678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3166B595-434F-4557-BF07-30FD99C655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0E0FAF29-4E50-44C3-BF98-0A66CF55C7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A741D22C-7DC0-4B34-9801-DD730A49B3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5265705C-D8E7-460B-8CED-7E614B7DC5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2019777D-3C6B-46DB-B2EE-F99C2B09A5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302F9E8B-FA32-4826-90A6-A8074426B9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DF049D4C-B8E2-4E70-B941-44B7828FEB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490F6BF8-B84C-4370-ABC0-12D620D59F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D59DED19-EAED-4C34-8D00-6EFB98F25E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EB2A5A6D-4843-4AB6-B31C-21AD38B5CB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5913D722-BFC4-4813-9D38-FEF8BC3ACA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C7756793-7F7E-486F-94EB-D5E0209A47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09D48A9C-8342-4C9C-931C-1615CA8709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FDD5D4DF-CF6C-4CAE-BB09-22220953D3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C0B97FEF-A0AF-496C-8EBC-986D027559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2EA05369-8486-4F99-88AF-F45CB3D94F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23D2B6A8-F90D-4BB4-AF47-3402A81472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06F9251D-99B4-4BB8-9C35-7A03430BB6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8B022AB7-3757-4083-B178-70FB7C1683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7BE61004-AA2A-4BDF-B877-A3080F793D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3FB9B9E8-7428-46A0-9DE6-190A512239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21C262D2-A994-4B61-BB65-AEFD16BEFE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B06E7985-673B-427D-8C50-C9E1920EB5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AE1D488B-88A4-4AC7-AC9F-18A81071B4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CA59173F-AF94-4ADA-910D-01902A8DB0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1C250D31-33F4-4F0E-A6AE-DE8DAAD92B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C4C14924-48F4-439F-A12C-9F426779B8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7950DB55-6C5B-4BD3-83DE-F9C873F194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37536553-47FE-49A4-A0D2-3D3480F930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C7EB74AD-9312-44A2-A2AD-7E44841610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7461B2A6-BDFF-45F0-85CD-A25F46E9E4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5AA0E0C9-5688-4BD9-881C-259E0640A0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003405EB-7320-406F-AFB7-B41A21CB6E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838D1D22-F7AB-402F-9426-50D338D4E7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A3623018-C210-4B92-91D7-2905B8CD5E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09C8750C-6673-48E0-9A8F-7442EA1AB1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4560000000000001</c:v>
                </c:pt>
                <c:pt idx="1">
                  <c:v>2.9899999999999999E-2</c:v>
                </c:pt>
                <c:pt idx="2">
                  <c:v>9.5600000000000004E-2</c:v>
                </c:pt>
              </c:numCache>
            </c:numRef>
          </c:xVal>
          <c:yVal>
            <c:numRef>
              <c:f>Sheet1!$B$2:$B$4</c:f>
              <c:numCache>
                <c:formatCode>General</c:formatCode>
                <c:ptCount val="3"/>
                <c:pt idx="0">
                  <c:v>0.45279999999999998</c:v>
                </c:pt>
                <c:pt idx="1">
                  <c:v>0.45710000000000001</c:v>
                </c:pt>
                <c:pt idx="2">
                  <c:v>0.45029999999999998</c:v>
                </c:pt>
              </c:numCache>
            </c:numRef>
          </c:yVal>
          <c:bubbleSize>
            <c:numRef>
              <c:f>Sheet1!$C$2:$C$4</c:f>
              <c:numCache>
                <c:formatCode>General</c:formatCode>
                <c:ptCount val="3"/>
                <c:pt idx="0">
                  <c:v>1330.526315789474</c:v>
                </c:pt>
                <c:pt idx="1">
                  <c:v>1162.651296829971</c:v>
                </c:pt>
                <c:pt idx="2">
                  <c:v>1170.6878306878309</c:v>
                </c:pt>
              </c:numCache>
            </c:numRef>
          </c:bubbleSize>
          <c:bubble3D val="0"/>
          <c:extLst>
            <c:ext xmlns:c15="http://schemas.microsoft.com/office/drawing/2012/chart" uri="{02D57815-91ED-43cb-92C2-25804820EDAC}">
              <c15:datalabelsRange>
                <c15:f>Sheet1!$E$2:$E$58</c15:f>
                <c15:dlblRangeCache>
                  <c:ptCount val="57"/>
                  <c:pt idx="0">
                    <c:v>MG CHAMPAGNE NICOLAS 1E CRU BS 1CT X 1500ML</c:v>
                  </c:pt>
                  <c:pt idx="1">
                    <c:v>CHAMPAGNE NICOLAS 1ER CRU BS 1CT X 750ML</c:v>
                  </c:pt>
                  <c:pt idx="2">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0F729909-0EB2-4418-884E-D581330D51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04F98880-E0A9-4B92-8740-2EBA0FA7AD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83D68E2-0680-4C32-AD17-FD6EA4D48F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7E7A8E29-3D32-4704-A7C7-F8C2A54585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1047B040-7CBB-446A-B081-85169E9543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346A052D-463E-4E59-B54F-27D3893A8C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9B8D50F-C5E2-4AC5-9E35-11B4CC897C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AB9EE0D7-92D6-4F17-B482-04742F121C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13A715A6-7133-41A6-B7F2-C5BF0AC1B9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A1502DF2-E021-4EB3-A1C4-A9D5ADF99C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C2C6DBD-F105-4B13-9877-2918447F21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BD44BD1A-50E4-4609-A23A-DE7EC1DBB2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136AC773-7CB3-4C04-9582-D602657DFE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9438F42E-8160-448E-A5C2-668F5A8B4E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0D04D789-0889-48E3-8762-D7923AE73E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1B4F70A0-1C72-4F52-B534-71F752F2C4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C3CE22B8-6E69-43C2-8F88-BEBB91EAA5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770B86F8-02A3-47F7-8D33-043C44E252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16FF5FAE-AD31-4924-B913-19B7A84377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219B07BE-E128-49EC-93F7-2A0BC341B9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6EEF4A2E-9E3A-40FF-9EB1-10473DC391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7A2716E6-71F8-4294-A21E-B72D67F266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80D5CF23-B15E-47BE-8BE2-421A19F943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AB390258-7474-4153-97D1-6436E8F2D3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3A000249-2495-43AB-A6AC-1D4A6D61FE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EB1110DF-1052-46D0-A9D9-EC2D698AF1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EF578FAD-C8A9-4509-A150-23639D025E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DF7486C1-9724-46D0-B294-90CC6AF8C6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CA4DDFFF-BC0C-4265-9BD5-7676375503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510E98EE-7DE8-4ACA-9708-C088F6018E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748338C9-2359-4F24-BD40-D9726450B1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D34FE264-E4DE-4205-81FE-323B569B38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AF348C64-12EF-496D-BDB3-3C917C4726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C2A64A52-72E7-4098-AB2D-790C1DC4E4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E9542588-1455-407A-B9FD-C31FEFB330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E2E01043-BE3F-4DC3-9C27-70C1BD3245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E291DA61-8888-4C47-93AD-16FB38CE88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674380D3-81DD-4DF0-A640-61BB290612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4815B242-853D-4CCE-8916-500310C238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68F50A8B-02B3-4522-9CC6-64D260C8C4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F973FA68-1009-4E03-B8A5-23CD34450C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742F959B-B691-4024-B33A-B35A49E40A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412AF7AD-C26E-4BDF-AE9F-CDAE718051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E9927C01-106E-439E-AA2A-81E5709BF0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9D019DCF-6E0B-426E-954D-0CEC8D9746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29215B54-FB9C-4F5B-924C-398125F6A9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78AB459A-050B-43A2-8D38-8F4AD2066E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6F521528-1637-4C6B-9992-EF74DF6613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4AC9F498-12FB-418C-BAD9-15CABDF28B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0C72AD25-D76F-4B90-8F96-4D052C3C17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8295EA5F-D58A-418C-B110-BAA1F3FA2E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DA8D1239-FEEB-473A-A143-A480FF4825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79E61604-8D89-4077-B4BC-CC743D54EF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8C55DFDE-E0C7-4D38-B54E-4592449F4D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532E0839-6983-488D-9DF2-69393645D3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6C91E44A-B29C-4263-B384-950E4D11A7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0F541084-1978-4C29-89E2-92E51AB07D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9.8000000000000004E-2</c:v>
                </c:pt>
                <c:pt idx="1">
                  <c:v>0.1158</c:v>
                </c:pt>
              </c:numCache>
            </c:numRef>
          </c:xVal>
          <c:yVal>
            <c:numRef>
              <c:f>Sheet1!$B$2:$B$3</c:f>
              <c:numCache>
                <c:formatCode>General</c:formatCode>
                <c:ptCount val="2"/>
                <c:pt idx="0">
                  <c:v>0.45129999999999998</c:v>
                </c:pt>
                <c:pt idx="1">
                  <c:v>0.44969999999999999</c:v>
                </c:pt>
              </c:numCache>
            </c:numRef>
          </c:yVal>
          <c:bubbleSize>
            <c:numRef>
              <c:f>Sheet1!$C$2:$C$3</c:f>
              <c:numCache>
                <c:formatCode>General</c:formatCode>
                <c:ptCount val="2"/>
                <c:pt idx="0">
                  <c:v>102.3333333333333</c:v>
                </c:pt>
                <c:pt idx="1">
                  <c:v>182.625</c:v>
                </c:pt>
              </c:numCache>
            </c:numRef>
          </c:bubbleSize>
          <c:bubble3D val="0"/>
          <c:extLst>
            <c:ext xmlns:c15="http://schemas.microsoft.com/office/drawing/2012/chart" uri="{02D57815-91ED-43cb-92C2-25804820EDAC}">
              <c15:datalabelsRange>
                <c15:f>Sheet1!$E$2:$E$58</c15:f>
                <c15:dlblRangeCache>
                  <c:ptCount val="57"/>
                  <c:pt idx="0">
                    <c:v>CHAMPAGNE NICOLAS 1ER CRU BS 1CT X 750ML</c:v>
                  </c:pt>
                  <c:pt idx="1">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D49D5024-54BB-42B4-BC08-B1E27C8157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9ABB75C8-5868-4F6C-972D-2C1BEAA4B3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3A2E427-4BB8-4E82-BB09-E495E5CCCB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772DC4AE-BF98-4390-B3C0-825BC74728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F40CFC88-46E7-404D-84C0-BFF92DD777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C945A92B-1366-451F-8178-7B7821AC93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EE8F275-98C9-4019-B08D-89CCF62506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94249EBC-E0AF-431D-B340-8AD04D9DC2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DEEF3BC5-BEE3-48DF-A8C2-A4563F6D39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988E502D-1924-4CB3-B216-4E2B5AFFBA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AE048E7-7396-46E8-9E07-2857541FBC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6D9378DC-FAA7-4CBB-B58C-53B23606FC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708F624A-5DB6-4D3C-9FB9-E446322D2E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C337FCA2-8469-4609-A33E-713FD23AD6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6C46CB64-F079-4A61-96AD-DE6BD6D35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824FE727-8C55-4FC5-BA55-1132232F76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50BFE4C4-2518-40F0-ACFE-C3D01985C2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6A8AB63A-5713-4C1A-BAED-DA859A1194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B5C6F39C-D426-42C0-B924-0C11B779B4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86CDBA54-6EFD-4655-8279-E6CB7D5B78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CE24E205-BDDF-47A8-B2EE-CBBC487E4F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5C492DB7-E0A8-4562-973E-8545E609CB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8C0E59B4-287D-4C64-B380-7D0BB49A01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9F3AF61C-41D0-460E-AC89-5A32C69292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4D3E6CC7-AAA9-481C-9280-90B8DA9704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7EE79B90-D7FD-4397-8F9C-1DF360D25A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D316CE91-BE68-49B5-822A-567689E042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2014692C-F9B2-467B-BF11-90C9CFB8A1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F6BC4423-DA09-43BC-9709-149AF238B2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EEC2DC82-1C76-4726-B284-701859D0D0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3B7948D5-AA77-4C38-92E3-4DADFEA008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5A2B6618-DF41-4F24-9371-876C38CDC2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842EBC7C-66B0-41EE-BE3B-D6A32AFAFD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01802931-0062-404E-A2D6-B663A35FC4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17CB627B-F24C-445F-993F-07B1F42B0A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592B8F32-7B91-4B95-BA5D-B7126CEAEC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6EE03173-09A2-42CB-924D-B80F388E02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6D860E05-F6FD-461D-B573-A10FFAD2CB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9BEC286D-4F6C-4057-9D32-E81D2B44ED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24A39672-56CE-44FA-AB65-790019C2BA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06B0E687-05B6-4362-9A6C-CDF1FD516F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21C35953-D193-45DA-B8B5-9A2D0B31DD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36FC8B59-0ED9-49A0-9CBD-963BE7C62C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1D762C9D-D34B-4B84-8ABC-E708E80264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58246017-E374-441F-9F8D-97E12A7EC1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F6248DAC-420F-49E8-ABB4-57A2AFC04E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7D976535-C866-4039-8A82-86A691F990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77EE7FE1-2B79-444E-809D-6869EA429E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C8EBE775-7048-43EC-9C04-2450D1D7E6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F4FE8D78-22C1-4159-995E-C25A6AD457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13A5BFF8-BF42-465B-9BB7-EC4DDB4A03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EDC1B19C-F24D-4E7B-AB3B-1968B90025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B30CC261-705D-4B94-A30C-433173B66D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E1BFCE47-CE04-419D-BDC5-92F08DB86B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DF639EBE-262B-43CF-BF21-882BE78758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9596B591-4750-4F84-ADCC-1347FAE005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9984776D-8F65-467D-BD45-F65441F59D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7.1400000000000005E-2</c:v>
                </c:pt>
                <c:pt idx="1">
                  <c:v>9.01E-2</c:v>
                </c:pt>
              </c:numCache>
            </c:numRef>
          </c:xVal>
          <c:yVal>
            <c:numRef>
              <c:f>Sheet1!$B$2:$B$3</c:f>
              <c:numCache>
                <c:formatCode>General</c:formatCode>
                <c:ptCount val="2"/>
                <c:pt idx="0">
                  <c:v>0.45910000000000001</c:v>
                </c:pt>
                <c:pt idx="1">
                  <c:v>0.4516</c:v>
                </c:pt>
              </c:numCache>
            </c:numRef>
          </c:yVal>
          <c:bubbleSize>
            <c:numRef>
              <c:f>Sheet1!$C$2:$C$3</c:f>
              <c:numCache>
                <c:formatCode>General</c:formatCode>
                <c:ptCount val="2"/>
                <c:pt idx="0">
                  <c:v>95.55</c:v>
                </c:pt>
                <c:pt idx="1">
                  <c:v>61.825000000000003</c:v>
                </c:pt>
              </c:numCache>
            </c:numRef>
          </c:bubbleSize>
          <c:bubble3D val="0"/>
          <c:extLst>
            <c:ext xmlns:c15="http://schemas.microsoft.com/office/drawing/2012/chart" uri="{02D57815-91ED-43cb-92C2-25804820EDAC}">
              <c15:datalabelsRange>
                <c15:f>Sheet1!$E$2:$E$58</c15:f>
                <c15:dlblRangeCache>
                  <c:ptCount val="57"/>
                  <c:pt idx="0">
                    <c:v>CHAMPAGNE NICOLAS 1ER CRU BS 1CT X 750ML</c:v>
                  </c:pt>
                  <c:pt idx="1">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80E45A31-1A7A-4D0E-8EC4-ED2DA3F341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FB83F005-3B5C-455A-ACC8-63FBC80E0A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DD9EA44-92A5-46E0-B3DA-760E2AE7F0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574B1823-29EF-4CEC-BB31-04A3C9CC49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AB215DC-5E6A-414F-93FD-D71AA4DBD8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829E490C-BA03-43C5-ACED-E3A0B7A74C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622E21B-2013-4741-BD0D-6EA89D74FA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27DBFC48-3FB4-45FC-866D-A3D86F845D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42079949-4430-4A35-973C-F25963E91E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D17C73F9-401E-4E96-91E3-9250E7440A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CFC79A4-1C40-4880-9634-D5030BC936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F22D84C2-6660-475B-8C95-609676B6D4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192F0634-83E3-425C-A015-BEDA6D5D01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624ADEE3-07AA-4C2A-AF40-B442B13605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5B464E09-38E8-43BC-9D46-FA7B04E767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53EADB12-32FB-443E-BDB6-5F794E8C49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802E65C3-DE3B-467F-A1EE-D8C8435B9B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2A0BEF17-4CDD-4F9F-99C0-A3AE2CBBDD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0366999A-D3DD-4498-A9AC-C0CD256477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85F17B34-EDD3-41B0-ADDA-C38FE246A6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1C274638-2A4A-4D96-B547-8DC6F9F533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AF6663BE-5FD2-411D-AC70-ABE5161877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DC8A1837-A589-482C-90D3-DC4C7CAB89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3CA5ECAB-9373-428A-98D5-4B66493C5F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2494EE37-CBFB-4B6A-BDD0-F3D4531F89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C6F26496-8A82-4324-B6B6-FD1051F985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5EB3874E-9B91-483A-9310-D4E941F06C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267231AF-BF8E-44C3-94F7-B7FA296523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05A65096-C8EF-44F1-B25C-A6E7BACC43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53B9B537-22A8-4B4F-A7CE-789BF4238B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7EC01A12-AC11-4DF2-B183-15F745857A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DFD18C44-B570-4E64-B7AE-641623243C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320FBCB3-4811-401F-9B99-9F5A222C94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EFAAD5B1-AFE1-4F51-9BBB-C3ABCE2497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32413A75-63EE-4C27-BE29-19446CD9E0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43F27E05-CEE2-4EDB-A050-7376B68D55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EA4BCBC9-3C20-4EEA-A319-EB41E93ABA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06E5060E-DA31-4FB9-929A-E3E1D5F063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7D4DB93A-7869-4F37-9248-8EAB809081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97EAA2BF-FC70-4ABD-A887-F1B5EB05CE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65DF2442-97A0-49CF-9A55-7DC17E437A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BAD669BA-72B8-4E17-AFF8-918008CD71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A5FC2769-0485-4DCC-AFAA-466603D03A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F4E9A51D-885C-420E-A962-087B2FD6BA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A9A2B64E-1425-4B64-A815-C44A0BFAB5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23AFBA10-5458-425F-8E29-7F5FB26E25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10637C80-C49F-4B06-83F5-42C0EAFB30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9B0D63A5-A622-4C2F-AFE2-F14468B07C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B7D12602-0E81-4235-B7F9-81EE3C4886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476ACDC0-3C4B-4278-B03A-BA6E48E2FF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12E3E1E3-3023-4D94-9844-CC56727907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36FBA982-62DA-4DB7-8389-AF4E07B21D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57D03D04-599F-4D27-822D-0E67AD1F05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EB5A2C63-6D5F-4666-B024-C4558AC078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9E25E939-FB8C-4857-B7F1-EB274A9C03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8370FB07-5F7E-4EE1-99AC-949280BF1A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B09533FD-8940-4F75-A79F-05363475B5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4.07E-2</c:v>
                </c:pt>
                <c:pt idx="1">
                  <c:v>0.15770000000000001</c:v>
                </c:pt>
              </c:numCache>
            </c:numRef>
          </c:xVal>
          <c:yVal>
            <c:numRef>
              <c:f>Sheet1!$B$2:$B$3</c:f>
              <c:numCache>
                <c:formatCode>General</c:formatCode>
                <c:ptCount val="2"/>
                <c:pt idx="0">
                  <c:v>0.4551</c:v>
                </c:pt>
                <c:pt idx="1">
                  <c:v>0.4496</c:v>
                </c:pt>
              </c:numCache>
            </c:numRef>
          </c:yVal>
          <c:bubbleSize>
            <c:numRef>
              <c:f>Sheet1!$C$2:$C$3</c:f>
              <c:numCache>
                <c:formatCode>General</c:formatCode>
                <c:ptCount val="2"/>
                <c:pt idx="0">
                  <c:v>174.64</c:v>
                </c:pt>
                <c:pt idx="1">
                  <c:v>138.5625</c:v>
                </c:pt>
              </c:numCache>
            </c:numRef>
          </c:bubbleSize>
          <c:bubble3D val="0"/>
          <c:extLst>
            <c:ext xmlns:c15="http://schemas.microsoft.com/office/drawing/2012/chart" uri="{02D57815-91ED-43cb-92C2-25804820EDAC}">
              <c15:datalabelsRange>
                <c15:f>Sheet1!$E$2:$E$58</c15:f>
                <c15:dlblRangeCache>
                  <c:ptCount val="57"/>
                  <c:pt idx="0">
                    <c:v>CHAMPAGNE NICOLAS 1ER CRU BS 1CT X 750ML</c:v>
                  </c:pt>
                  <c:pt idx="1">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C5AF9461-DBD6-432F-A953-435B8922C6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B13965A9-EC00-4865-BBC7-6AAC458BE3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A847126-09AC-4E3D-8F39-21FEEFD002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A2CD7B9-41F0-42AB-AC9A-7F97F3657A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E79544AF-8784-4E18-BB3A-20CE84A4CC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A6DE7062-5E0A-4811-8B93-619B1BE23F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906E804-68DA-4CC3-8464-08C8FD40D8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0590FCAD-DEB2-4313-8BE4-576A3A29A5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1A0A2735-BEDE-46FB-9DB1-C6E2051A15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F5996112-33E3-4058-B1CB-E8E8CF0B8F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A43BA51-D413-4539-96E1-C82FB356CF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B20D1D6C-69DA-4655-B727-19FB04934D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2A8C7883-6CAC-4AEE-9D41-C797FE21FD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4BA7AD0F-1E13-407A-8670-9497E01EF3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7CEAC1A6-A188-4E3D-B8FC-45F1B2245D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0665DE90-7C2D-47DE-88CC-5CF3AF22D4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635C3E4F-D146-4011-BE6B-DDAF33494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E0F0B4A8-05FB-4FFA-987A-98F556062D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4628EBE4-1899-47D5-93D2-92F84D8A4B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C1F952BF-B313-4392-BFA0-B7EC73054B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43335D0F-9128-4B2D-8E1B-D495D72421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81DBA509-4566-4DB4-9E07-09FA76F6DE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FD9AEE3D-DCEC-4498-B63E-85416F5F2A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30A3C366-98B8-4052-87B8-1E1E939D2E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0A857B4D-9A45-495A-9567-C6B4A470C0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76366140-2ACD-4B61-A670-4A94180340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AA08365C-2ABE-45B1-8861-F4AD012ECB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96B47679-6587-4722-8B1E-04EE1DD0C1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4B7482AF-740D-4357-9DBA-9C0777FD0A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A11CB169-4904-4D3D-B916-FFB7237C25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C52F259F-309F-4C40-92CC-6C83BF90BC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59022AEE-F527-4509-A258-CA483CC45C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8C868702-F7C3-4411-8DD1-7FF8A77407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0179850F-E1E4-4783-A94B-ADB32759BB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30420241-DC7E-47DF-A250-2E4C93EEB5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35358CF0-89F7-458C-8D17-196CE9E7BB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0D752760-69E2-4033-9758-2EF3AB43F3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20456AE0-D32B-4076-ADCA-61200D4888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2CC94B13-51C3-4778-91CB-EB1D750033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C9DDDDC7-66C2-46BB-827D-D775E8ED49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707BA5FE-29D0-4751-A791-394F2061C4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E7B21DC2-0624-4A20-96EE-9A10B49570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3ABDD3DB-2B76-4392-94EC-A872E340B6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373269CA-DCDA-439B-A86C-31816FF236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8A01BA73-D9E8-4AC0-9747-D7612CB17D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50588B6D-7946-4787-8D4E-262250B3E8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C376F865-AC43-403C-9349-D3459BE481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31D006A1-8774-439D-A5FD-20CDE583D8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A3057DDA-3081-417C-A94D-CAE0F3DD41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7EC056EA-6E01-4C63-94EE-488E8295C4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2F0BBA8B-1672-41AA-8C89-103F9F325B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75C10832-ACDA-4A28-B4A6-854393282E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7FC1D794-486A-4A70-81A2-51DF4A9C8B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33B8F1FD-95C4-4B19-898A-974167CD0A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F1ADB795-10D1-4A3F-B79E-ACFB714951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35E46084-64C5-4D2E-B500-DD1EC74F3C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2A29D57F-819D-4248-9B36-671BF24B98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241</c:v>
                </c:pt>
                <c:pt idx="1">
                  <c:v>1.3100000000000001E-2</c:v>
                </c:pt>
                <c:pt idx="2">
                  <c:v>5.4199999999999998E-2</c:v>
                </c:pt>
              </c:numCache>
            </c:numRef>
          </c:xVal>
          <c:yVal>
            <c:numRef>
              <c:f>Sheet1!$B$2:$B$4</c:f>
              <c:numCache>
                <c:formatCode>General</c:formatCode>
                <c:ptCount val="3"/>
                <c:pt idx="0">
                  <c:v>0.45279999999999998</c:v>
                </c:pt>
                <c:pt idx="1">
                  <c:v>0.45739999999999997</c:v>
                </c:pt>
                <c:pt idx="2">
                  <c:v>0.45029999999999998</c:v>
                </c:pt>
              </c:numCache>
            </c:numRef>
          </c:yVal>
          <c:bubbleSize>
            <c:numRef>
              <c:f>Sheet1!$C$2:$C$4</c:f>
              <c:numCache>
                <c:formatCode>General</c:formatCode>
                <c:ptCount val="3"/>
                <c:pt idx="0">
                  <c:v>1233.5</c:v>
                </c:pt>
                <c:pt idx="1">
                  <c:v>770.59375</c:v>
                </c:pt>
                <c:pt idx="2">
                  <c:v>891.5</c:v>
                </c:pt>
              </c:numCache>
            </c:numRef>
          </c:bubbleSize>
          <c:bubble3D val="0"/>
          <c:extLst>
            <c:ext xmlns:c15="http://schemas.microsoft.com/office/drawing/2012/chart" uri="{02D57815-91ED-43cb-92C2-25804820EDAC}">
              <c15:datalabelsRange>
                <c15:f>Sheet1!$E$2:$E$58</c15:f>
                <c15:dlblRangeCache>
                  <c:ptCount val="57"/>
                  <c:pt idx="0">
                    <c:v>MG CHAMPAGNE NICOLAS 1E CRU BS 1CT X 1500ML</c:v>
                  </c:pt>
                  <c:pt idx="1">
                    <c:v>CHAMPAGNE NICOLAS 1ER CRU BS 1CT X 750ML</c:v>
                  </c:pt>
                  <c:pt idx="2">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02B6B245-0A93-431B-A639-6535FDF6B2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0333C159-E41D-4B76-9BD9-972C86940E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2786837B-9AC7-40DA-84FF-69182B53B8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A8BAC7EF-53B2-45A8-B3B5-9BF16C92D4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963D8B49-65E8-4DA7-8E1B-9F68C8B779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BF91D6C3-2DEC-4844-B945-8B840FDFE7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0C12839-1A18-404D-9E0F-BA9C3C822D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D40697ED-2773-455E-BB50-D59F738D93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8C08E03B-3F01-4449-A518-7FBB7A6E69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759CF0E2-5451-4617-8E3F-E97C8D53BC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CDBC46F-0E5B-4805-9B67-B73CBEF26C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ABC1B8D8-3F49-44B4-BDD2-F7D37EFE27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10876902-5FCD-489F-8BDF-393C41720D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F46B569A-E82D-4382-BBEB-D0B9FC596F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1CCFE2A4-95E4-43BE-9F9C-F2CDB9B3C4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479E4E20-2E83-47D4-B693-38AF1BE861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B4D736D4-6273-46AE-A840-FD13B0F0DC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49C5CCB9-CFAF-4192-BCB2-D2B6084E6B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0853A66F-AF38-4885-BB09-C5A286F80A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82E1646C-FBE9-42EF-A9D5-027768E12F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940CBFFB-CE23-4FFE-81A2-CB4F590C40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FAEE1F56-A6F7-4A2D-B729-DD3E1FB7D8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5D253AFB-CBA3-4359-9814-FA5EBE1B64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D1E05429-5D84-4B2A-A3A4-E9A98278C3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2D63BA9C-9AE8-41DA-B352-38E1B78A32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F7ED7C80-9B9F-4464-936C-9800BDC6A0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C5D7105C-85D1-41DD-AF48-94E02F6CA4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923A7A43-7F26-4270-AC8D-A125A6B25B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E5D4D175-0169-47A2-887F-41036ED8E0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8189F661-9A9D-48D8-9380-2AA0E07726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183910C2-B718-439D-A3A3-915C2D4AAC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60B15B8B-2FA0-494E-BAF4-672D95FC1B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268D151D-7B2C-44E4-9AE3-011D74C51A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9396EE6B-6B5D-4BB1-A2E6-FC821A16AA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DD8BFFF7-9C8B-4A69-AFFA-0EECFC53B1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EDD47022-E3E1-4BC4-A3FB-5141C5DDB1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62A93EE1-AF99-4DAC-8FB0-1702683E08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132F4FF6-0866-41DB-BDDB-2674812545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4DFDE400-4D74-4BD6-BA1E-9B7EB8298A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91A51911-8AB0-4299-99FA-A2970F72E4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689DCA06-69B5-4BFE-AC27-4B479AE9DD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9EF0DF44-E31A-490F-A834-7957C9E029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F17FF9DC-BB46-4FAA-AF96-C524EF6F72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B402D23F-6168-4E9C-9F7C-D1F426AECC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B604CA3A-093B-4E4A-932B-ADA877F9A9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164AA386-CF8C-4384-BA36-275AF6601D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31DE4747-E5C2-44A7-9BE1-3B4046F20D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47682021-6591-41A1-AAFD-19D3CB60D2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6143C3BA-7470-4DF2-A0CE-81B4E81E18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F0B97C62-5774-4716-8D86-D156BD3732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FD161E7F-A0B7-4930-ADF7-A245A1EB61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B4C8600E-4ACB-447E-9BEA-33A47307CE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35D205FB-FE58-49F0-B992-BE50FE8E17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54889B94-B762-4A35-AB48-3E9EDF977E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A7D0BB4A-5BFB-4414-A3C7-A3E25D49E8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FF430DCA-291E-473E-BB97-5E37FEA737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F0B1684C-6B30-41A0-A3AD-44766B56CF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6.3899999999999998E-2</c:v>
                </c:pt>
              </c:numCache>
            </c:numRef>
          </c:xVal>
          <c:yVal>
            <c:numRef>
              <c:f>Sheet1!$B$2:$B$2</c:f>
              <c:numCache>
                <c:formatCode>General</c:formatCode>
                <c:ptCount val="1"/>
                <c:pt idx="0">
                  <c:v>0.45860000000000001</c:v>
                </c:pt>
              </c:numCache>
            </c:numRef>
          </c:yVal>
          <c:bubbleSize>
            <c:numRef>
              <c:f>Sheet1!$C$2:$C$2</c:f>
              <c:numCache>
                <c:formatCode>General</c:formatCode>
                <c:ptCount val="1"/>
                <c:pt idx="0">
                  <c:v>45.39473684210526</c:v>
                </c:pt>
              </c:numCache>
            </c:numRef>
          </c:bubbleSize>
          <c:bubble3D val="0"/>
          <c:extLst>
            <c:ext xmlns:c15="http://schemas.microsoft.com/office/drawing/2012/chart" uri="{02D57815-91ED-43cb-92C2-25804820EDAC}">
              <c15:datalabelsRange>
                <c15:f>Sheet1!$E$2:$E$58</c15:f>
                <c15:dlblRangeCache>
                  <c:ptCount val="57"/>
                  <c:pt idx="0">
                    <c:v>CHAMPAGNE NICOLAS 1ER CRU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CECFC4EC-A5BB-44BF-9BF9-4AC19E26DB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5B7090E0-DE27-462C-ACF7-58109CBA40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9B6B5856-36EC-4ABE-9F72-062A7DF7BD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AB57B0E8-D5BA-4E43-9F41-819F60A2E4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8D64E78C-74EB-43A2-AD49-EA0E6DF414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43ADD342-03F2-4A55-A9BE-875D661655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B11AE0FB-01E6-4C3F-B643-85644E2CC0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E1CE65D9-3908-4312-A5A5-607E2D27EC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2997</c:v>
                </c:pt>
                <c:pt idx="1">
                  <c:v>46.510199999999998</c:v>
                </c:pt>
                <c:pt idx="2">
                  <c:v>24.430499999999999</c:v>
                </c:pt>
              </c:numCache>
            </c:numRef>
          </c:xVal>
          <c:yVal>
            <c:numRef>
              <c:f>Sheet1!$B$2:$B$4</c:f>
              <c:numCache>
                <c:formatCode>General</c:formatCode>
                <c:ptCount val="3"/>
                <c:pt idx="0">
                  <c:v>0.50380000000000003</c:v>
                </c:pt>
                <c:pt idx="1">
                  <c:v>0.39879999999999999</c:v>
                </c:pt>
                <c:pt idx="2">
                  <c:v>0.52780000000000005</c:v>
                </c:pt>
              </c:numCache>
            </c:numRef>
          </c:yVal>
          <c:bubbleSize>
            <c:numRef>
              <c:f>Sheet1!$C$2:$C$4</c:f>
              <c:numCache>
                <c:formatCode>General</c:formatCode>
                <c:ptCount val="3"/>
                <c:pt idx="0">
                  <c:v>528419.29000000027</c:v>
                </c:pt>
                <c:pt idx="1">
                  <c:v>7385860.1433999985</c:v>
                </c:pt>
                <c:pt idx="2">
                  <c:v>78030.997000000003</c:v>
                </c:pt>
              </c:numCache>
            </c:numRef>
          </c:bubbleSize>
          <c:bubble3D val="0"/>
          <c:extLst>
            <c:ext xmlns:c15="http://schemas.microsoft.com/office/drawing/2012/chart" uri="{02D57815-91ED-43cb-92C2-25804820EDAC}">
              <c15:datalabelsRange>
                <c15:f>Sheet1!$E$2:$E$29</c15:f>
                <c15:dlblRangeCache>
                  <c:ptCount val="28"/>
                  <c:pt idx="0">
                    <c:v>Mousseux</c:v>
                  </c:pt>
                  <c:pt idx="1">
                    <c:v>Champagnes</c:v>
                  </c:pt>
                  <c:pt idx="2">
                    <c:v>Effervescents Sans Alcool</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5.812239999999996"/>
          <c:min val="9.0397599999999994"/>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700163638960651"/>
        <c:crossBetween val="midCat"/>
      </c:valAx>
      <c:valAx>
        <c:axId val="1011451359"/>
        <c:scaling>
          <c:orientation val="minMax"/>
          <c:max val="0.99336000000000002"/>
          <c:min val="7.9039999999999999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3.96665410147207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ED08E09E-6A89-442A-8887-F534F0C91D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1941DE08-B664-4DE0-B5C1-D826BD14CE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EECCFCB6-362C-4621-B9EB-A3EA2F5CA6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E0ADE779-CC44-4B4A-BB74-B129771FCE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FC651A79-910C-4D03-AA50-FFD88080CF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93FE4F43-70CE-4B97-86B7-D13FD5822F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A013B0D-DF9D-4FD4-9BC1-A07E07F212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C93E56D1-07C7-466C-9767-9F63FD82F5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A3FF5709-5CDC-45A9-8D37-CEB39C9081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C63234C0-6307-4A63-B8BD-EB43AA47F1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00EAED8-1DFA-472E-9D33-EF2D8F8F0A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FD76D98A-113B-48BC-A861-E03CC148F1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8E75ECB5-DFB7-4D20-9148-E54C04E8BA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A3D989E1-EB3C-49DB-B812-98E769384C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DD181ABB-ECA7-483C-ACC9-DE18CECB7E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26E81DD1-211D-4FB4-89D6-C329339F92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2D20BC8E-947F-4885-89FA-CD2118D06E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1BA0D98E-1F08-4DEA-8340-BCE71E3BEB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1FE5537F-5C47-4118-B15E-EC5EE61320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327F6BCF-7AC0-4EE4-BC7E-FE71D2678E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32686706-B3F8-408A-9259-176F7618EA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F7B63D25-7272-45FA-81D4-33FE8E77BD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DE033742-BE27-4DDF-B000-F9903C1B68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EA66B9A6-295D-4EA4-8804-64ADA5B628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623DF6AC-8B7A-468A-98B2-8FF69F9E60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677F999B-2B1E-4126-A2A9-5AC4F69B4E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AF14BACD-8C94-4719-AD9B-D3655A2B2F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A5A35E73-4A27-4985-B86C-84EF4A738F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042715C4-2A70-4F19-AED9-E8CC6D5ECC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830A9098-1A9C-4AEF-987C-CF8EB22FA0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CB468BDC-D32F-4229-AFDA-1CD81F0AB6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BBA15DFA-EF29-4F33-941C-11D6E2AA80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0ADD220F-B1B9-43BA-8279-B94C986EAB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0E9AEC2D-1E49-4DE2-8C50-B62DDF12A0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EFF95075-98AC-49C4-B196-A887158A5F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A8A69EA1-A479-43A5-8E39-3747386386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0B3AEF9B-191B-4B13-80D2-ECE2F3F64D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1D9E6D39-0E2B-463C-8697-73129D54BB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3D8A31AE-7D5B-4DD5-89CB-4364C9EB60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4FEBDC3E-2E54-456D-A496-180727B1BF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CB690092-4478-4A9D-84A0-61DAD979F8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7A44E60F-6052-43F8-AC28-58BF572CA8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2BA328AD-C853-4DDE-81AF-DBEFE320DC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96DC816F-A199-43C8-8319-7E53624ACA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AC94A33C-8209-4EB3-A7EA-9686B6912D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85565478-4C1F-4089-B4BD-E1D4A7295F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AE4622B8-7084-493D-9ADE-422284FFAC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50B4AF77-2C2F-4ABC-AFD6-52C3F5A145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EABD5E6D-B844-4008-BFEC-B42D1CA7B7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6FC9ED21-EB2F-482E-BF94-B1C9672B76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E49FDE36-A5B2-4906-A923-12035F8E15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1A001610-543E-437B-8432-F10B3FD0B7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5F3DCE15-C522-48A4-9968-18BB49E1A0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E9E0E9D2-1A58-448A-98D5-C88101217F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5D3C38C3-3147-47D8-A980-8718557720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28ABF63F-B8E3-4994-BEE1-C33C7DBE20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E6038A21-7BF9-4D28-9FC6-E01627A670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1195</c:v>
                </c:pt>
              </c:numCache>
            </c:numRef>
          </c:xVal>
          <c:yVal>
            <c:numRef>
              <c:f>Sheet1!$B$2:$B$2</c:f>
              <c:numCache>
                <c:formatCode>General</c:formatCode>
                <c:ptCount val="1"/>
                <c:pt idx="0">
                  <c:v>0.4526</c:v>
                </c:pt>
              </c:numCache>
            </c:numRef>
          </c:yVal>
          <c:bubbleSize>
            <c:numRef>
              <c:f>Sheet1!$C$2:$C$2</c:f>
              <c:numCache>
                <c:formatCode>General</c:formatCode>
                <c:ptCount val="1"/>
                <c:pt idx="0">
                  <c:v>82.030303030303031</c:v>
                </c:pt>
              </c:numCache>
            </c:numRef>
          </c:bubbleSize>
          <c:bubble3D val="0"/>
          <c:extLst>
            <c:ext xmlns:c15="http://schemas.microsoft.com/office/drawing/2012/chart" uri="{02D57815-91ED-43cb-92C2-25804820EDAC}">
              <c15:datalabelsRange>
                <c15:f>Sheet1!$E$2:$E$58</c15:f>
                <c15:dlblRangeCache>
                  <c:ptCount val="57"/>
                  <c:pt idx="0">
                    <c:v>CHAMPAGNE NICOLAS 1ER CRU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49E4A9D2-4B78-4B96-B847-BD2D93E3D9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938ADD42-C195-4FBC-AA12-88692CA238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A5D6538-3797-4B62-8FE9-E1EB1CC026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620F0AB4-2D09-42B8-97A8-DF70BD91E8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82A1E975-CC57-4C1C-8B48-929EA6848E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9CB3DC9C-6917-488B-A5E3-B5A4C64B2F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0A06B40-8170-48FC-8F1E-F25F9E92EB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8A2BD807-5534-4CF6-95AD-B51D65EED8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4439DFB-3847-45F4-B085-38FA623601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C60B0412-9DB7-4450-BF88-CB74D5E3C1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3DBE1AC-BB7E-4EE1-BCBD-04B42BFE73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F80EB590-A24F-4AFC-8CEE-F261E94C53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CEBA3AD2-2922-4F61-BC46-CA20B92756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72A523D3-5C55-4ACD-B5F3-E7A2F4C567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43B76027-6075-4986-BA9A-5323C7556C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E9E82019-CEC2-47DC-A2EB-39C3FE0622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D0E4E5D7-5571-4881-8389-1564C3D7B4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54703A77-7ADD-420D-B703-FEBE2ED4F5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E0120F75-7A22-4231-977E-FC957F30D3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BEF516CD-73C8-4B98-A7C1-27A4A6CD86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338A072C-FE6D-4399-9B55-3EE2B434DC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F6196CE7-F63D-417C-85C4-8B690AC134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374FCE67-CD91-432D-966B-C2934CA773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18C48246-7C53-4B87-95B6-33E0A18D9A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195089E7-6582-41A0-99A3-C64F4D898C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7DBCE2CC-9C46-428D-BF5A-058E24A034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DC022B9D-75D0-4817-9902-93D6AF2F45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EA87A895-09E7-4833-B9E6-4ADEC73747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FE6BFE9C-21B7-4D28-A246-5AC7A93F11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D40BED78-79D7-4CA9-861E-0D47877BFD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2E6E4EF5-02ED-4780-A112-E42EF3CA57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AE2A1C53-2CD6-4C5F-B886-86216F1EF2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A0543598-EEC3-4B00-8181-C2118432A8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B88B6AAE-0EF3-417A-AABC-DDF49D063F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CB1C0456-E4AB-4F80-B239-1B29B80803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EAB2046F-CA25-471D-A925-0B495F2796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61D3B020-2803-47E4-B3D8-0067A2EFAA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CF57F109-8702-467B-9762-5461715CCD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2F126D80-0C60-4C84-8B0E-AE1FE1E2CE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BAE72840-1A5E-4A3A-AE9F-6221176FAF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3F4C537A-431A-47B7-8643-D010BBE33A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273BC215-375C-4D65-A8F5-0D0DE940DA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6D0EBBB4-9348-4E17-8863-4AE40DA2BE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59E9A173-B5CD-4E42-B57D-05DF730D23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A601D7B2-6AB7-4BE1-B4A4-2961FFD159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90ECDBF3-1B1B-4B97-B7D3-C15B9CDE87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FDCA3BF0-32B9-4CE3-9ED3-1C5A12C267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A8888E6C-4E2C-4574-ABD5-C74B69C6A9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82373599-2349-41FE-97D8-2127CC0732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3CE6C81B-4DA1-449C-AA19-57CF507C0B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D5D1039D-C5AB-431C-97AB-B6B3F7C92D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F9E15E39-8DE0-4EEC-89E0-AE3C4A1C4D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2D07B839-7E41-4F10-A9FD-48F02CB728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65D375C0-AD6A-4A52-835F-F19A4A970E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D5658AF5-1E7B-4566-98D1-70A6BC08EC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FA330540-6145-48C3-BCAF-293A7584C9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A3B6C7E9-1CE4-422A-9573-EFCE296722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4.2099999999999999E-2</c:v>
                </c:pt>
                <c:pt idx="1">
                  <c:v>8.5000000000000006E-2</c:v>
                </c:pt>
              </c:numCache>
            </c:numRef>
          </c:xVal>
          <c:yVal>
            <c:numRef>
              <c:f>Sheet1!$B$2:$B$3</c:f>
              <c:numCache>
                <c:formatCode>General</c:formatCode>
                <c:ptCount val="2"/>
                <c:pt idx="0">
                  <c:v>0.46010000000000001</c:v>
                </c:pt>
                <c:pt idx="1">
                  <c:v>0.45</c:v>
                </c:pt>
              </c:numCache>
            </c:numRef>
          </c:yVal>
          <c:bubbleSize>
            <c:numRef>
              <c:f>Sheet1!$C$2:$C$3</c:f>
              <c:numCache>
                <c:formatCode>General</c:formatCode>
                <c:ptCount val="2"/>
                <c:pt idx="0">
                  <c:v>148.58064516129031</c:v>
                </c:pt>
                <c:pt idx="1">
                  <c:v>207.47619047619051</c:v>
                </c:pt>
              </c:numCache>
            </c:numRef>
          </c:bubbleSize>
          <c:bubble3D val="0"/>
          <c:extLst>
            <c:ext xmlns:c15="http://schemas.microsoft.com/office/drawing/2012/chart" uri="{02D57815-91ED-43cb-92C2-25804820EDAC}">
              <c15:datalabelsRange>
                <c15:f>Sheet1!$E$2:$E$58</c15:f>
                <c15:dlblRangeCache>
                  <c:ptCount val="57"/>
                  <c:pt idx="0">
                    <c:v>CHAMPAGNE NICOLAS 1ER CRU BS 1CT X 750ML</c:v>
                  </c:pt>
                  <c:pt idx="1">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AA6EFD34-C0C8-4F34-836D-AA9876A08B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66B83259-E242-4335-8238-19AEEB36F8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B2AF288-DC33-47C4-A444-4CA3793A37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11EA683D-E34E-4EC5-8AD4-829E08FEE6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5A8FAA8A-2F93-4787-943B-4B88520044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9F32A816-8ED3-443D-8B8E-91267E9239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23704CE-5E6F-480B-9ADA-6D8DE02780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043A5BA4-B4F5-4370-A7F5-6427BFEC6F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6768788C-8066-471B-9A67-8D6B858388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C2ABAFE8-4EF0-4C7E-AA12-1C931B54F1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2284669-3BAF-4F49-8F2E-6D21FE22AC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2AD5C51F-5988-4B56-8A07-D99DAC1C06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665DBDF5-E469-4131-9D20-0DCBED4586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A1520244-F2B7-445A-993B-B97FE9C57F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13E9D277-282A-44A8-91A2-7223B49303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E2121258-ABAE-4BBE-B6E6-6CE5A45450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60701131-A454-4254-85F4-213522BE25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72101FE7-3F60-4538-9BF1-784B7CC7AA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89E8B6CC-753D-4BD6-A0D1-80EC523900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8C741599-E33F-4167-AB85-E4AB514804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F4B984E5-41E0-4433-90C6-08F545405B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3B964A9F-266C-4485-89B2-29FCD57201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F58B6F2D-3B17-4DAF-8774-D6923A4DEF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771B730E-A1B3-4088-A90F-CBA9ED78CC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1AFD9592-CA48-4085-8673-85537CCD07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17221D73-5F77-41E1-8C1C-45EC7F5283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F1175E99-4998-45DE-8048-FB8AFA29C5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5FF93E02-D329-4513-83B2-7A1138B722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875D7DFC-00BB-4796-880B-336E265D26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000294F3-0F37-4C48-BF06-6866CF8542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A6E6E164-F239-4C81-AC53-A759781DD7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8B1D00CD-3A88-4D0F-82D7-15B2756D6F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228EE424-3FD0-46BB-A898-55727A130F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70C24555-C4BB-46CA-AA77-9B76B54BE7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EA9A64C5-CFCB-4AE5-99A1-0CD64F0BC9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D4808E12-DE73-4EA2-B1DC-F8E4BD7477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0F47805D-EEB5-4AAE-875F-75E25FB38B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DF94F46D-23B7-4507-A4B6-0A4BA2BB30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4FD74E33-A9CF-45D4-9171-54505C52C3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D30E29CA-99BC-42FC-8F4E-9F4197B250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796A0B81-0D49-4317-95B7-6DB77B0778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7B8670DD-B538-4B43-9C06-8EC0144F7F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F14EAE88-C292-4871-ADFB-B0E6FA6B23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B3750A06-CA69-42F4-856D-2B062AD402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B4AF7075-AF49-4C31-B56A-56AB3B6212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7289A5FA-CDC5-4B77-827B-DAF8950879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D7561F3F-4557-4F38-9F55-0AA023F45D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D67B53B5-E971-42EA-B492-175AD24E49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DA2DAD88-3886-451E-9E63-444025019A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2B47E7D9-2B2C-4F58-B9D0-18D9258F78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62B1BB76-F4A4-411A-B371-955AAF43DD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F0B06F67-5A17-4225-9749-019189BFDF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317C0132-CFE7-4A62-8176-749D78C1B5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4121B06E-4330-4E68-9784-094CB12716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9E2EE0DE-DFA9-4832-A5A4-C950F77B82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2AC90E39-DBDF-4C33-8DB0-2D84F9829C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643DC1F9-954B-419B-AB39-77311E17F9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4.7899999999999998E-2</c:v>
                </c:pt>
                <c:pt idx="1">
                  <c:v>6.83E-2</c:v>
                </c:pt>
              </c:numCache>
            </c:numRef>
          </c:xVal>
          <c:yVal>
            <c:numRef>
              <c:f>Sheet1!$B$2:$B$3</c:f>
              <c:numCache>
                <c:formatCode>General</c:formatCode>
                <c:ptCount val="2"/>
                <c:pt idx="0">
                  <c:v>0.45950000000000002</c:v>
                </c:pt>
                <c:pt idx="1">
                  <c:v>0.44940000000000002</c:v>
                </c:pt>
              </c:numCache>
            </c:numRef>
          </c:yVal>
          <c:bubbleSize>
            <c:numRef>
              <c:f>Sheet1!$C$2:$C$3</c:f>
              <c:numCache>
                <c:formatCode>General</c:formatCode>
                <c:ptCount val="2"/>
                <c:pt idx="0">
                  <c:v>103.7045454545455</c:v>
                </c:pt>
                <c:pt idx="1">
                  <c:v>210.52173913043481</c:v>
                </c:pt>
              </c:numCache>
            </c:numRef>
          </c:bubbleSize>
          <c:bubble3D val="0"/>
          <c:extLst>
            <c:ext xmlns:c15="http://schemas.microsoft.com/office/drawing/2012/chart" uri="{02D57815-91ED-43cb-92C2-25804820EDAC}">
              <c15:datalabelsRange>
                <c15:f>Sheet1!$E$2:$E$58</c15:f>
                <c15:dlblRangeCache>
                  <c:ptCount val="57"/>
                  <c:pt idx="0">
                    <c:v>CHAMPAGNE NICOLAS 1ER CRU BS 1CT X 750ML</c:v>
                  </c:pt>
                  <c:pt idx="1">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FE91B4A3-2F29-4790-A004-DC45D32AEF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6E68E18C-51B1-477D-834F-6A9E7BC584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3B445DB-EF8C-4D48-AB1D-B3EA0A0522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FEC24D07-BB22-4514-8E2F-4FC02C8BC8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0B053090-C776-4BC4-A5E7-875518EE12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51932C4D-574D-4D41-B65A-4DF0387A23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7203FFB-356F-4070-8D09-57E8CE71B2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9D4499F9-0631-44D6-B6FE-A6E81A883B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FF47C754-54A2-4899-A437-EC6A4D9D4C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E1A29188-4EF1-4FDB-921B-18FF7B797B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DCF2581-B6D1-4827-AC96-D5C1DB7B46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581167E7-534D-4BAD-883C-2135CDF6EC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D9B1DD18-1140-4667-80D3-5D2BB7C842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99977D08-3336-42AE-AACF-F6B0EDC581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A4FD1E21-0F11-4DC9-977C-300B957AC3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9BDB6C81-7000-4CBC-9476-BD34D4678D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1A82CDCC-89D0-4C81-AA2E-C608534523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44368CC8-8527-4F70-A45C-ED2A551F65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1647E5AF-EA6B-476D-8F99-1DF4BEED85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FA5BC40F-AE2C-41DD-861B-CE1CCC0FE3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FCA517A2-9140-4EF7-AEE5-2E03DE8C84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4E445581-05A9-4A1B-BE31-89D075837D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F1F6DB50-D76E-49A9-9520-B85FA7E6F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B4CE314F-56B0-442F-BA6B-A98CEB5108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EB84FA5C-A666-4203-AFB8-EF72488FC1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798A4FBF-F972-45F6-8F77-5FBC7F967D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D9CA31C5-2AAA-4F7A-A753-B67240B098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6A1DDD7F-CA03-4B20-B022-E34DCA883F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25E7D8CD-0996-4FC8-876C-3E89D65012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0C173B1A-6A38-4719-B7BD-3443F5E961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BB3FCA2B-F599-43C0-BCDC-D0222779F0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A3B0874A-E759-4992-813E-305D07ECF4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1285548C-151A-4F0F-9F97-AEB851520D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B9BDFA36-0859-45B0-AE69-92C2CA4929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C4FEB6D6-9123-4492-8FC9-FC286661A7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51F25E25-2011-4F3C-B1B9-F7A80B86CB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56DC83A2-0C70-4F36-A705-503ACDCE79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68AAB4E0-AEE1-47D9-BCEE-795B5CDEA7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9B213528-97AC-4F59-8ED3-4C9E092FE1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10CE3348-F51E-4F27-B8FF-8224590AA5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763807C7-2B0C-4142-9AFF-A2D50D82F3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E44D8569-098C-4ACB-8B45-825C1862A6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D6386A01-E78D-4D26-9A5F-5A86AA2B55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C7C52AA4-680E-4908-88F8-72F8240393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DC9EDB20-6A5F-4298-BB7E-39851E6636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5AAA2F0B-9702-4559-A44F-A8E1D760BD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99BE8444-54FC-4943-945C-04D94FD8BE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96EF4C95-8CAC-4502-9E15-C137516394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FDF10AF5-543B-4BB3-9053-360F1E9687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8C8BB22C-D306-4D56-9DE3-460C85B200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AA553DFD-B96B-4249-87BF-D1E3B70606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AF35E0DC-48B0-45B6-9759-AD3BB7457C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1F4993CD-5EE5-45B5-ACCD-BD61880BEB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43E11BEA-7725-4967-B678-2A46972705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6A6DAB44-A3C9-472B-9407-CFC5F21BB0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39522F88-EA51-45E7-ABC1-61BEE7F766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6C8678F1-AC6F-44C5-860D-E0AB8DA300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5.8700000000000002E-2</c:v>
                </c:pt>
                <c:pt idx="1">
                  <c:v>9.2100000000000001E-2</c:v>
                </c:pt>
              </c:numCache>
            </c:numRef>
          </c:xVal>
          <c:yVal>
            <c:numRef>
              <c:f>Sheet1!$B$2:$B$3</c:f>
              <c:numCache>
                <c:formatCode>General</c:formatCode>
                <c:ptCount val="2"/>
                <c:pt idx="0">
                  <c:v>0.4551</c:v>
                </c:pt>
                <c:pt idx="1">
                  <c:v>0.4516</c:v>
                </c:pt>
              </c:numCache>
            </c:numRef>
          </c:yVal>
          <c:bubbleSize>
            <c:numRef>
              <c:f>Sheet1!$C$2:$C$3</c:f>
              <c:numCache>
                <c:formatCode>General</c:formatCode>
                <c:ptCount val="2"/>
                <c:pt idx="0">
                  <c:v>267.60714285714278</c:v>
                </c:pt>
                <c:pt idx="1">
                  <c:v>311.63157894736838</c:v>
                </c:pt>
              </c:numCache>
            </c:numRef>
          </c:bubbleSize>
          <c:bubble3D val="0"/>
          <c:extLst>
            <c:ext xmlns:c15="http://schemas.microsoft.com/office/drawing/2012/chart" uri="{02D57815-91ED-43cb-92C2-25804820EDAC}">
              <c15:datalabelsRange>
                <c15:f>Sheet1!$E$2:$E$58</c15:f>
                <c15:dlblRangeCache>
                  <c:ptCount val="57"/>
                  <c:pt idx="0">
                    <c:v>CHAMPAGNE NICOLAS 1ER CRU BS 1CT X 750ML</c:v>
                  </c:pt>
                  <c:pt idx="1">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35201C9-A106-4FC7-B029-A445EE4F83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67C1E1A6-A9E4-4ADB-AA76-F977EA8602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00D7E90-511E-46BF-A916-09A6D3B616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DC1620D-059F-446B-8144-C254E5EB08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1525C899-6EB9-4230-9064-7B3676BD4E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9D5ABFCB-E9E2-4EA7-8D57-27981B58A6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CE51FCB-31F8-4CD2-8476-EC584C8ADF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1DA2760D-C76F-4B97-8BF7-749ABE6F74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04DC975-7AD0-49F2-A8F7-F698D13A8A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D42F6A1F-04F2-419E-B2D7-2319D7B6D8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E149F04-88D2-4BC0-AD08-89BC456D55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D9AF9F74-4024-46C3-88F2-FBD4E294B6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B2441393-48FB-4E7E-AC93-80CF64C37D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03C2779F-1AB9-40E4-ABE1-B557C29342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09603448-1622-46AA-95BD-AE3DF6E766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E6D84040-CC54-4D35-897E-92532CC356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A996979E-27EA-4E5E-9AB9-66209A5384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56EE2F74-6F8A-49FD-9341-2478B09E9B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39BD88C2-D0D1-4895-8F7D-D1801B2FC1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2F689CEB-0CB1-4C0E-8F48-9BC09E80F5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876B9821-5521-455F-9E38-245CEF8CCC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A5A00A24-D60D-473D-95C9-F3FF70E351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F3F12C4C-B88C-4B8C-925D-38EED12385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75C7209A-55F4-4994-9905-E08A055D66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A8B1D34C-888B-43B1-AC5F-C02D8FE524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A467D5AB-2324-4BEF-AC09-C03CFA023F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39A2A217-B15D-407F-9C69-C9069B12F0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764FF4A5-0AFB-49E2-BF9C-FF03DE3B5D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15166434-F1CC-4D29-AD6C-39B80D3A19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660B7DA6-35FC-4D0A-AB4E-F4684EAB95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1D1EBEA9-2FAC-459F-B7C8-FDD2A454C4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139C2A60-5DCB-4425-8E37-00ED0A9044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9D56E051-3100-4EF8-8EE8-FF401F6438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5A59476F-C6DE-41BA-84FD-E4836AA270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46A77CBF-31AC-4773-A758-457FBE7BCD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E7E2CB57-EEDC-4A89-8666-F0FD657C6C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A7343B48-B4C9-4E81-9BA5-13DEA1C240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DDDCAEED-A93B-4DA3-ABD6-08B9CADFAA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940FFFCF-1777-4143-970F-39BE180423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C75B0806-038A-47A0-A1CE-416B84EE6F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841D0171-8497-4525-9CF3-0AFB620825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0A86B1C4-C0C1-4283-8767-13E8B9728F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AA4B5AC2-1FAE-40F7-9EB6-01CBA3CEC1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90B44DDD-95B9-4C44-9D8C-C5CA930ED4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B9B3B6F6-F848-4D11-B15D-2ED9932728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8489A139-36E5-4A31-82EB-312387DCC5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D1074CAA-AF32-4252-95CF-4671033CA4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40049370-678E-4F00-B29D-763A0F84E6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2F537AEE-9FEE-4062-8A56-A787D3A7F9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8FC4FA11-09D4-4FF2-82AA-EF86ED1FFC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C4CA1D1F-08A6-4226-82DA-21D2548BF8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B981E0DD-5DC2-4D7B-B658-79B4006828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8DD5649C-9213-4C1C-97DD-8E02BEABAE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897A42ED-EDDB-42C7-931A-436D46CB2F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2543787C-18C0-4819-BDBB-671D1AB8ED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C9A61CCE-1DA2-4714-8054-9E15229370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CD5E28BA-76A6-44E5-BFB7-F2F4BFD6F3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3689999999999999</c:v>
                </c:pt>
                <c:pt idx="1">
                  <c:v>3.2800000000000003E-2</c:v>
                </c:pt>
                <c:pt idx="2">
                  <c:v>7.0499999999999993E-2</c:v>
                </c:pt>
              </c:numCache>
            </c:numRef>
          </c:xVal>
          <c:yVal>
            <c:numRef>
              <c:f>Sheet1!$B$2:$B$4</c:f>
              <c:numCache>
                <c:formatCode>General</c:formatCode>
                <c:ptCount val="3"/>
                <c:pt idx="0">
                  <c:v>0.45279999999999998</c:v>
                </c:pt>
                <c:pt idx="1">
                  <c:v>0.45479999999999998</c:v>
                </c:pt>
                <c:pt idx="2">
                  <c:v>0.44890000000000002</c:v>
                </c:pt>
              </c:numCache>
            </c:numRef>
          </c:yVal>
          <c:bubbleSize>
            <c:numRef>
              <c:f>Sheet1!$C$2:$C$4</c:f>
              <c:numCache>
                <c:formatCode>General</c:formatCode>
                <c:ptCount val="3"/>
                <c:pt idx="0">
                  <c:v>556.33333333333337</c:v>
                </c:pt>
                <c:pt idx="1">
                  <c:v>297.49999999999989</c:v>
                </c:pt>
                <c:pt idx="2">
                  <c:v>535</c:v>
                </c:pt>
              </c:numCache>
            </c:numRef>
          </c:bubbleSize>
          <c:bubble3D val="0"/>
          <c:extLst>
            <c:ext xmlns:c15="http://schemas.microsoft.com/office/drawing/2012/chart" uri="{02D57815-91ED-43cb-92C2-25804820EDAC}">
              <c15:datalabelsRange>
                <c15:f>Sheet1!$E$2:$E$58</c15:f>
                <c15:dlblRangeCache>
                  <c:ptCount val="57"/>
                  <c:pt idx="0">
                    <c:v>MG CHAMPAGNE NICOLAS 1E CRU BS 1CT X 1500ML</c:v>
                  </c:pt>
                  <c:pt idx="1">
                    <c:v>CHAMPAGNE NICOLAS 1ER CRU BS 1CT X 750ML</c:v>
                  </c:pt>
                  <c:pt idx="2">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067A0900-B28F-4AC5-8F4F-DD9A4B4B08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45EE3E0C-E5C9-4E02-9EE8-C55A0522AE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BC01503-6927-42AB-84BA-68BBFA5958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B157540-C21D-4D7B-BF81-BE6B82E03D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1CE33BD5-E6DA-4062-BE63-0207EF7B5D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308E341B-BFEA-4497-A8C7-8CF6889931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CC5E44C-726B-4517-BF83-8ACB47E8B2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E7AB0427-0714-40EA-95EF-CF12954947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72F98BAB-93DA-4126-8672-52BCB0D9DF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C33CDB0F-63CD-40B1-97DF-9593A407B5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13C7BA5-C2B0-4265-9CA3-2E7E0D5CDB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14D446DB-BF02-4C9E-8769-262795572E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A610C15A-4795-4CE5-9D1C-54816A18D2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DBF1C6A7-4EF9-4FBA-980E-A1FC7EF9DF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75426B14-95D9-47B8-8F08-FFD2D24116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6C62DA0A-03A5-432D-84B2-1714FD62CB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A5780B9D-61DE-491B-8C04-7B47EFB42F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15074556-23F1-47B2-B341-043D8779EB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86591DDE-36ED-438A-A29D-1091AA209C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A63564BD-25A5-4527-8321-1B5956D9E7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B0A28B7B-B0B8-46D1-94E1-F93AE3708D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99429EAF-CB38-46D8-A4B8-486CD60A71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579DFCE6-932A-4FB9-BD32-5DCD79C04E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3AC09A5D-D9C6-46FF-812E-7AB24CA090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367DF35D-42E7-4DDD-9CAD-B828CCE891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D8A2ABC7-5E40-487C-9E42-162EC4CEEB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375B834B-8C13-479B-B4AB-3F5A254BA3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61ADC0B5-3471-43F5-82AF-167D7CB61E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0D1A9790-2B8A-4DE8-B1AE-4BF508C119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FF98D23E-C3B5-4A79-9F5C-4BA460AB76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CACC3755-474E-48DA-839A-5A92D7088F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B58782A9-A993-42E9-B087-F274DF995C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0D9B223A-AF72-440B-A07F-B9190D76FA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A1706736-9AD9-4DD9-8991-2CE59D5905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6AEF76AC-FFD7-4A92-862F-3BF23AE728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3E23475D-71E5-4230-A24D-E0B877E630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B0CF6B88-3D90-4AE0-929C-FE3F5EBFEB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90AFF230-A84C-4112-BF1B-3AEB331C83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069848CC-F3FE-4AD4-89E9-5AA203D007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15241FB7-62BB-4336-9EB6-0A2FDA43A1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25FCDED6-42E3-435C-9377-F3171FA8A7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37485BED-5B95-4A06-9BE1-2935AD0101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86BFD58A-2313-46C7-8258-2CEE22342B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2663D233-29A9-45B2-A3D2-B88F00DD45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25236C7F-D7E9-4121-BC8E-273A461290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F344C2B2-B9CF-4780-940F-B84636E4B0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37640CA3-074B-4F8C-AC1A-8B2C918402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3DBCB4EF-D233-4B73-B969-5E7FF0F58D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F6D21FB2-541F-48DB-9208-DBA7FA56D9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2956C2AE-7DE6-4466-A6CB-C658F8E6C9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97FE1D1C-4079-49F9-A3C0-C65D92ACFF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3A17E2CB-E0BC-448B-BE79-53B19CBDEE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B50A3C89-784C-486B-B449-3170EC4EBE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C4A75AB4-D072-4E8A-9C61-14E59B194D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806524BC-3F60-450D-864C-4AD319E548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E26F9273-109E-4013-852E-F04C7BED49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219E08AF-8D84-45C3-BB0E-9485C3A171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585</c:v>
                </c:pt>
                <c:pt idx="1">
                  <c:v>-1.43E-2</c:v>
                </c:pt>
                <c:pt idx="2">
                  <c:v>0.13100000000000001</c:v>
                </c:pt>
              </c:numCache>
            </c:numRef>
          </c:xVal>
          <c:yVal>
            <c:numRef>
              <c:f>Sheet1!$B$2:$B$4</c:f>
              <c:numCache>
                <c:formatCode>General</c:formatCode>
                <c:ptCount val="3"/>
                <c:pt idx="0">
                  <c:v>0.45279999999999998</c:v>
                </c:pt>
                <c:pt idx="1">
                  <c:v>0.45750000000000002</c:v>
                </c:pt>
                <c:pt idx="2">
                  <c:v>0.45469999999999999</c:v>
                </c:pt>
              </c:numCache>
            </c:numRef>
          </c:yVal>
          <c:bubbleSize>
            <c:numRef>
              <c:f>Sheet1!$C$2:$C$4</c:f>
              <c:numCache>
                <c:formatCode>General</c:formatCode>
                <c:ptCount val="3"/>
                <c:pt idx="0">
                  <c:v>663.75</c:v>
                </c:pt>
                <c:pt idx="1">
                  <c:v>357.30232558139528</c:v>
                </c:pt>
                <c:pt idx="2">
                  <c:v>832.5</c:v>
                </c:pt>
              </c:numCache>
            </c:numRef>
          </c:bubbleSize>
          <c:bubble3D val="0"/>
          <c:extLst>
            <c:ext xmlns:c15="http://schemas.microsoft.com/office/drawing/2012/chart" uri="{02D57815-91ED-43cb-92C2-25804820EDAC}">
              <c15:datalabelsRange>
                <c15:f>Sheet1!$E$2:$E$58</c15:f>
                <c15:dlblRangeCache>
                  <c:ptCount val="57"/>
                  <c:pt idx="0">
                    <c:v>MG CHAMPAGNE NICOLAS 1E CRU BS 1CT X 1500ML</c:v>
                  </c:pt>
                  <c:pt idx="1">
                    <c:v>CHAMPAGNE NICOLAS 1ER CRU BS 1CT X 750ML</c:v>
                  </c:pt>
                  <c:pt idx="2">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4DE3C726-1A23-4CCC-BAA3-30764124AE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BBE3FCFE-45A7-4426-8EF8-C4A8457E3C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CF3DA14-E90D-4DD2-8AD6-DC969447AE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BEBB453-441D-4B81-9714-A525774B03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8B483CBD-4444-43C7-84A7-3C8A516084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FC5065CD-FB78-4F65-94CC-14BDE11607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153FE9B-2BBE-4ABE-ADC7-B36404469C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99612F8F-5ABF-4F07-828D-89C91D7754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E129A36F-F11D-40D4-8DCC-E6E193A8C1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18D78334-4F6B-4FEF-9A5F-3ABDD8B58B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BB4CF0D-C4E7-46C4-9DAE-373D92828A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95F8922B-D5F9-4B09-BA13-377E2D3AE1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7F6A1B1F-5246-4634-BF7C-A8928269D1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D8623063-F3CF-49A0-83A6-C3D7774EC7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E0470421-B963-475A-B545-B5E6B16034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22D77EC3-6519-4788-8B80-244F9A48C4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4A13E07D-9693-447F-8D63-A6D558C43F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EBFF914E-1C8A-4DF5-939C-9CC6EDC178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62DB4BD8-98C0-483E-B8C7-3C1474A5E6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2F8E22DC-33B7-4D5C-A969-767FF3476C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DA74C662-CE7C-477E-9A6E-88687AA56C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59CF3CC0-E141-418A-B928-407C8EA452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CBB4456F-F5EF-491B-B54D-27643ED985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FC4197C0-7C55-4915-8AC7-105B5DDAA4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B301B28F-C288-4652-A801-3036E740C5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E7F49A70-E829-4772-A5DD-19ADD2732F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CF9EAB52-0ABF-4930-ADD4-5EE15212AD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D02AA34D-53B2-41E4-9DD4-236873FF12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79C5D18F-3654-4780-B118-D209AE9C5E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0A764030-C0A5-4DFE-9637-F49AE2A147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18B520EE-6FE9-44AB-8348-922B276DE2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4A1E08A2-9F43-4B62-A971-A440F5F4FD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3529FC0C-126A-4664-80F3-74B2F910AA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C15AA3DC-FFD4-47F2-9DD8-E900FDCED0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7545F640-54EC-4B21-AD61-9F943BF332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5BDFB20E-0BDF-4C87-B1BC-CBA523841C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3F8F0CD7-9553-4EBF-9235-E1566D0376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CA2FEDC9-5D97-4FC1-8D0B-245C65D32A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1CB72379-6503-4465-A9DB-3A0977B28B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21950858-1B79-45A5-9355-79BAB17ED2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681F78A0-54F9-4899-9A7C-1CBF2A4DB5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13EDB6EA-92C0-4D3C-ACBC-A1B1E59765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E4AE154A-7C48-4BC1-BC77-0082803700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BAD55856-A730-456C-BB61-EAA75BECFA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C8D641A9-56A8-4C2F-9A00-A68BE5DFC4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DDD47934-8338-4CC6-B19E-C077D45122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3A98A3E8-CC80-4DBB-9C58-18DD6C785D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834903BF-D6C4-4177-8597-AEC89EB52A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0A90A5D7-6427-4B35-845D-9EC1422235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877074F1-4EEA-4FEF-AA03-A268C22692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7798C0B5-E689-4EB9-BE46-8199721EC1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01CBD479-9B67-4093-BC51-C60EA83477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4E1217F9-9597-4D3E-9489-AA87F9AA0B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F5A5A2EE-BF86-4321-9FA6-DF7DF3FE10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E863C0CA-8127-4312-A120-975DBBC79F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A4892BC4-11AE-4063-A121-2793CEF9BA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3D380573-2368-4346-A9D0-F3D1B37EFE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7.0000000000000007E-2</c:v>
                </c:pt>
                <c:pt idx="1">
                  <c:v>6.9999999999999999E-4</c:v>
                </c:pt>
                <c:pt idx="2">
                  <c:v>0.1172</c:v>
                </c:pt>
                <c:pt idx="3">
                  <c:v>0.1086</c:v>
                </c:pt>
                <c:pt idx="4">
                  <c:v>4.65E-2</c:v>
                </c:pt>
              </c:numCache>
            </c:numRef>
          </c:xVal>
          <c:yVal>
            <c:numRef>
              <c:f>Sheet1!$B$2:$B$6</c:f>
              <c:numCache>
                <c:formatCode>General</c:formatCode>
                <c:ptCount val="5"/>
                <c:pt idx="0">
                  <c:v>0.52170000000000005</c:v>
                </c:pt>
                <c:pt idx="1">
                  <c:v>0.25600000000000001</c:v>
                </c:pt>
                <c:pt idx="2">
                  <c:v>0.49109999999999998</c:v>
                </c:pt>
                <c:pt idx="3">
                  <c:v>0.46139999999999998</c:v>
                </c:pt>
                <c:pt idx="4">
                  <c:v>0.48149999999999998</c:v>
                </c:pt>
              </c:numCache>
            </c:numRef>
          </c:yVal>
          <c:bubbleSize>
            <c:numRef>
              <c:f>Sheet1!$C$2:$C$6</c:f>
              <c:numCache>
                <c:formatCode>General</c:formatCode>
                <c:ptCount val="5"/>
                <c:pt idx="0">
                  <c:v>925.52</c:v>
                </c:pt>
                <c:pt idx="1">
                  <c:v>1972.583333333333</c:v>
                </c:pt>
                <c:pt idx="2">
                  <c:v>960.75</c:v>
                </c:pt>
                <c:pt idx="3">
                  <c:v>804.125</c:v>
                </c:pt>
                <c:pt idx="4">
                  <c:v>893.375</c:v>
                </c:pt>
              </c:numCache>
            </c:numRef>
          </c:bubbleSize>
          <c:bubble3D val="0"/>
          <c:extLst>
            <c:ext xmlns:c15="http://schemas.microsoft.com/office/drawing/2012/chart" uri="{02D57815-91ED-43cb-92C2-25804820EDAC}">
              <c15:datalabelsRange>
                <c15:f>Sheet1!$E$2:$E$58</c15:f>
                <c15:dlblRangeCache>
                  <c:ptCount val="57"/>
                  <c:pt idx="0">
                    <c:v>1/2 CHAMP NICOLAS ROSE 1E C BS 1CT X 375ML</c:v>
                  </c:pt>
                  <c:pt idx="1">
                    <c:v>CHAMPAGNE E.NICOLAS ROSE 1CT X 750ML</c:v>
                  </c:pt>
                  <c:pt idx="2">
                    <c:v>CHAMPAGNE NICOLAS ROSE 1E C BS 1CT X 750ML</c:v>
                  </c:pt>
                  <c:pt idx="3">
                    <c:v>CHAMPAGNE NICOLAS ROSE 1ERE ET 1CT X 750ML</c:v>
                  </c:pt>
                  <c:pt idx="4">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CBF72459-DDB2-48F0-A7D0-1FE9A67BD6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607C19A8-C36D-4D5D-B748-0CDC55D013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5885161-F854-4208-9701-D791FEC30E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74AF2A7-5997-4F21-81AD-B0E1A0B7D3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EE6872AD-0DB8-4204-951D-796BD23D1E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B4FFA1C9-2B26-4746-BC94-EDDA14B768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43AB99D-DB2D-4BF8-B881-6E24D38B6E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E965CD37-2F8F-476C-9E38-BF3A7DDB03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D8A3590C-C110-4B6E-8D1B-F1CDE30782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FC9306B-936A-4730-A89B-C30BF08CAA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F5DE541-7424-41A8-BD2D-5A08D83156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8C9A5792-1A7E-482F-9931-4F9DC83F03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076C541D-7C17-4962-8BD6-FAEF0956C6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84001545-3B25-4B74-8318-36548BEEF6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E02D8864-ECA0-450E-8E37-6BA4ECA782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F32F802E-C2A4-4028-B892-F7EF81ED55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32A508EC-A6C2-43D0-9E3D-87D6200A66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761BD3A7-9EB8-4F44-AF57-70E52F7AB9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731A44C3-9A21-4E8A-AF70-4081F9D02A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F11DCDE9-1EAD-4ADB-8B9F-E3338BBE4A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8F6B5528-D70B-4EB3-8379-C5B34F88F2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07D582B4-F20B-498E-A481-0F0C10E75D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C565EED0-0383-4136-B51B-1FB6DDD0BC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715A85B2-97C0-4152-81EA-8B82C0D84E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24317229-AE46-4AB4-8BF7-94AC62CBF5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B43FDE03-2513-48B6-832D-5BFB34FDB0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95B552B3-328B-4184-B20B-5AFF1C2C6B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0382C7F8-DC2F-4D66-9907-CE5D700531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935C2F5F-B180-4EC1-9CC0-58ADA0FC31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6F631832-9982-4363-8840-F77577BB4B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18244389-9C8B-4EE9-B57A-08560AA8D2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EE985154-E2CA-4603-A673-3675382A51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74D3FF7D-413B-428E-A36A-85476A7831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110E5D1A-E70A-4A3F-919B-3EB12EB55A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7B13F5C8-9758-42F9-9FC8-E343184147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68363D33-9AD9-4324-B717-41EF082D4C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CA972707-B6E4-4E2F-96A2-337B2F3394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5BDBE933-375D-4612-86EE-0071028565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3728C59A-87ED-47F9-94A2-32058BE322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C67E957C-AD4B-4520-BA10-8F11671B4C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3D5461AA-E56B-4AE4-ABDC-31343C35F0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959C8C6A-CB6E-4966-9FA9-9A6B379911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08819E15-B3EB-4CAA-9CED-E06EDD279F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44F3C7BB-A77D-461D-BE63-3529BCF30B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EC74A593-4B74-4E12-AC24-B2D1BCC60C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B46956AC-324C-4D23-AEDF-E0872EF004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CE28321C-7FEF-4971-B4B3-39D6092620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5CB139FB-3A4F-4532-B8E8-5A6BC3DADC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1F73A658-F048-4215-8F93-34259EE894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10FDB822-A167-437E-B1CF-71DACFDE86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750F86F6-D0B0-4644-AC9B-FA312969C5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34391C45-0E3B-448B-A873-FA59CB8E9E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167607B2-83E3-49D7-A674-511C8E46A7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E9B4AAE9-EB06-494C-B761-762C920ABC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3061594B-55BF-4ECC-8EA4-9D57C24BAB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68A480BC-8282-458D-B7CC-4F8A6DA163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F4963337-E350-402D-B2FF-45514F3FB4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8.43E-2</c:v>
                </c:pt>
                <c:pt idx="1">
                  <c:v>1.5E-3</c:v>
                </c:pt>
                <c:pt idx="2">
                  <c:v>0.13769999999999999</c:v>
                </c:pt>
                <c:pt idx="3">
                  <c:v>0.14019999999999999</c:v>
                </c:pt>
                <c:pt idx="4">
                  <c:v>6.0900000000000003E-2</c:v>
                </c:pt>
              </c:numCache>
            </c:numRef>
          </c:xVal>
          <c:yVal>
            <c:numRef>
              <c:f>Sheet1!$B$2:$B$6</c:f>
              <c:numCache>
                <c:formatCode>General</c:formatCode>
                <c:ptCount val="5"/>
                <c:pt idx="0">
                  <c:v>0.52210000000000001</c:v>
                </c:pt>
                <c:pt idx="1">
                  <c:v>0.25640000000000002</c:v>
                </c:pt>
                <c:pt idx="2">
                  <c:v>0.4904</c:v>
                </c:pt>
                <c:pt idx="3">
                  <c:v>0.46210000000000001</c:v>
                </c:pt>
                <c:pt idx="4">
                  <c:v>0.48099999999999998</c:v>
                </c:pt>
              </c:numCache>
            </c:numRef>
          </c:yVal>
          <c:bubbleSize>
            <c:numRef>
              <c:f>Sheet1!$C$2:$C$6</c:f>
              <c:numCache>
                <c:formatCode>General</c:formatCode>
                <c:ptCount val="5"/>
                <c:pt idx="0">
                  <c:v>1655.420875420876</c:v>
                </c:pt>
                <c:pt idx="1">
                  <c:v>4430.9394904458604</c:v>
                </c:pt>
                <c:pt idx="2">
                  <c:v>1171.481481481482</c:v>
                </c:pt>
                <c:pt idx="3">
                  <c:v>1485.238095238095</c:v>
                </c:pt>
                <c:pt idx="4">
                  <c:v>1793.0085959885389</c:v>
                </c:pt>
              </c:numCache>
            </c:numRef>
          </c:bubbleSize>
          <c:bubble3D val="0"/>
          <c:extLst>
            <c:ext xmlns:c15="http://schemas.microsoft.com/office/drawing/2012/chart" uri="{02D57815-91ED-43cb-92C2-25804820EDAC}">
              <c15:datalabelsRange>
                <c15:f>Sheet1!$E$2:$E$58</c15:f>
                <c15:dlblRangeCache>
                  <c:ptCount val="57"/>
                  <c:pt idx="0">
                    <c:v>1/2 CHAMP NICOLAS ROSE 1E C BS 1CT X 375ML</c:v>
                  </c:pt>
                  <c:pt idx="1">
                    <c:v>CHAMPAGNE E.NICOLAS ROSE 1CT X 750ML</c:v>
                  </c:pt>
                  <c:pt idx="2">
                    <c:v>CHAMPAGNE NICOLAS ROSE 1E C BS 1CT X 750ML</c:v>
                  </c:pt>
                  <c:pt idx="3">
                    <c:v>CHAMPAGNE NICOLAS ROSE 1ERE ET 1CT X 750ML</c:v>
                  </c:pt>
                  <c:pt idx="4">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B7BC0C3E-516C-44C0-834D-785080E454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996C3F5E-6BBF-4186-A8C1-91E4A6EC65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F2D995A-ABF5-46E0-8FBA-6C2E753525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659BF9A-61F5-4F57-89D4-889F0CDAD0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3F8832B8-9EF2-489A-9645-B95C08B6D3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F8F6B82D-4AA8-4DDA-A684-8453795D4C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709E5DD-FBDF-410E-AAA3-8E5C0939BC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F4B26CDC-463B-4DE5-A548-E02B8CC1C6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950045B4-BAD7-4041-B888-0474FFCFF6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22904CFD-3B79-497D-84A9-2EFBCE10A1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89387A1-3768-4B13-B2B5-874E8345D2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889C49C1-D989-4717-BA4B-B6AC3C62B6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0FC1338C-FC34-4E1D-820A-2D08B4B634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05792A03-F53F-40CE-B84D-E6720F0422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7FA41B8E-D230-4A6F-8207-FB5D407B86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5DF41901-AA73-4350-9605-7C45B8EDC2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9BF33C9D-20B7-4DB5-B102-13F2449AE4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87F01CA7-3DEA-4723-8858-98897E4141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3990931E-7BC9-40BE-8C0F-DB81FCD109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0FA2809D-FC2A-478B-B629-A40D570B21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3B7B135D-1639-438D-A51C-C340B32DE6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9433A603-C77F-4DF1-9786-5B60561F48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40850D34-AEE6-4394-8880-0668EBD0F8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0F4DF50C-EB6D-4677-A66C-32B66861F2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59BF8ECE-8134-4D82-A3AC-3D5A5C505C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F034DF35-EDB7-4D8C-8B88-5A370C629B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8CBFC3AB-B5B0-4827-8114-79964A7BD9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54461F09-D0FA-470B-8DB4-FBF97CD106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B1D78DCE-3A32-4685-8336-1C28A8671F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A74F8BEE-A350-4789-86B4-539AD4849E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85BFD67F-85C3-4154-8203-27CACED985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53A2CAFA-2578-4AD9-B9BD-FB27A2BF96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48F8CC63-C644-482B-95C3-09844F909C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C88C895E-F970-47B0-8817-A883B5179F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4CD08BC8-A55B-4860-B80C-260F9E508D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66D0DC39-07C1-425B-B567-1DB5FCF68D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77EFB8DA-5E4E-4A7D-9099-9972F181F8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D27F3714-4F7B-4F80-B96F-B3411859B8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418601DA-37B5-4C64-A1C2-26732B4813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71DEE72C-B96A-41BE-B02A-0B19A8B478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EA745CAD-A649-46BD-A4E7-C60D28B623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ECCC5775-CD0C-4A24-832E-2F07830F82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525DC018-ACDB-4E70-B7A9-7BD5551178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38E4CABD-2208-485F-A3B2-FE2CA1A942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9CDB45B1-39C9-43CE-B328-C8E69FBE26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6F369BE4-82D0-4D4C-9591-27A5CCC8B4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1FBF49E7-B261-43DE-B163-034052C0C3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19D61340-B1E6-4F56-BF0A-3472616D11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A5AC0CC0-D0D7-432F-AFFB-AE9712DE4D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703F8C8B-28C2-46BD-B845-45B53CC9C9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6070D581-3713-406E-A53C-16F6705E90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ECC163A0-5C24-461E-8E42-1853F441FA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A5AC4CEC-59E2-4FD7-AD93-4EAD48FF76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865F1930-B624-4AAA-B56B-42A42F0743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08F5CD17-EA20-406B-92F8-950B7B421D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1641A138-401F-432F-A7FF-149DE0DD36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236D67F4-860E-4312-B63C-6DB4BF5347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7.8E-2</c:v>
                </c:pt>
                <c:pt idx="1">
                  <c:v>-7.0000000000000001E-3</c:v>
                </c:pt>
                <c:pt idx="2">
                  <c:v>0.1542</c:v>
                </c:pt>
                <c:pt idx="3">
                  <c:v>0.1389</c:v>
                </c:pt>
                <c:pt idx="4">
                  <c:v>4.1599999999999998E-2</c:v>
                </c:pt>
              </c:numCache>
            </c:numRef>
          </c:xVal>
          <c:yVal>
            <c:numRef>
              <c:f>Sheet1!$B$2:$B$6</c:f>
              <c:numCache>
                <c:formatCode>General</c:formatCode>
                <c:ptCount val="5"/>
                <c:pt idx="0">
                  <c:v>0.52270000000000005</c:v>
                </c:pt>
                <c:pt idx="1">
                  <c:v>0.25650000000000001</c:v>
                </c:pt>
                <c:pt idx="2">
                  <c:v>0.48680000000000001</c:v>
                </c:pt>
                <c:pt idx="3">
                  <c:v>0.45979999999999999</c:v>
                </c:pt>
                <c:pt idx="4">
                  <c:v>0.47760000000000002</c:v>
                </c:pt>
              </c:numCache>
            </c:numRef>
          </c:yVal>
          <c:bubbleSize>
            <c:numRef>
              <c:f>Sheet1!$C$2:$C$6</c:f>
              <c:numCache>
                <c:formatCode>General</c:formatCode>
                <c:ptCount val="5"/>
                <c:pt idx="0">
                  <c:v>408.96</c:v>
                </c:pt>
                <c:pt idx="1">
                  <c:v>1087.5081967213109</c:v>
                </c:pt>
                <c:pt idx="2">
                  <c:v>344.125</c:v>
                </c:pt>
                <c:pt idx="3">
                  <c:v>421.66666666666669</c:v>
                </c:pt>
                <c:pt idx="4">
                  <c:v>450.67857142857139</c:v>
                </c:pt>
              </c:numCache>
            </c:numRef>
          </c:bubbleSize>
          <c:bubble3D val="0"/>
          <c:extLst>
            <c:ext xmlns:c15="http://schemas.microsoft.com/office/drawing/2012/chart" uri="{02D57815-91ED-43cb-92C2-25804820EDAC}">
              <c15:datalabelsRange>
                <c15:f>Sheet1!$E$2:$E$58</c15:f>
                <c15:dlblRangeCache>
                  <c:ptCount val="57"/>
                  <c:pt idx="0">
                    <c:v>1/2 CHAMP NICOLAS ROSE 1E C BS 1CT X 375ML</c:v>
                  </c:pt>
                  <c:pt idx="1">
                    <c:v>CHAMPAGNE E.NICOLAS ROSE 1CT X 750ML</c:v>
                  </c:pt>
                  <c:pt idx="2">
                    <c:v>CHAMPAGNE NICOLAS ROSE 1E C BS 1CT X 750ML</c:v>
                  </c:pt>
                  <c:pt idx="3">
                    <c:v>CHAMPAGNE NICOLAS ROSE 1ERE ET 1CT X 750ML</c:v>
                  </c:pt>
                  <c:pt idx="4">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3913D895-8C03-4982-A9B9-DA67F31DC3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29EE1CF3-B7B5-445B-9924-255304F643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8BDBF9F-F2D4-4753-B3AA-E6EE4442DE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C69785B-D544-467B-9EE3-68F86F3B7A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68041FB6-4C2D-44D5-9828-94CA768E8A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CCD852EF-24DA-4369-97B7-8FBECCA18F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DAA47FC-0FD1-4957-A9B3-650B1F0AA1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1880C034-0C0D-48CC-98FC-4F37BEF538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BD583469-365E-4668-91DD-BED7140C01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ED70B922-924D-4072-ABC6-FACEA82AB1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DE9360F-4F77-4095-89C3-07A50DF81C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E865EB2F-4191-4E73-89F0-1488541B7E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993DFECD-95CA-4B00-A3B8-02CC63E743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52DD55C9-F94B-4E6F-8161-04C51DF99A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2752ED1E-3965-4612-AFA3-80AF4B633E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25501510-F047-4B28-9A58-FE7BA6D68B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D3E4916F-9E10-44C0-86F2-6AD404EB76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9BD86CE3-864B-403D-B822-6012415854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CD3FAFDF-D27B-4DE8-BE43-3BEE2CB5D1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4D9A34BF-4D48-4862-9900-EAE823E5C8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54949E8B-498D-47F8-83B8-2FBB80B779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64F02F81-A9EF-4FA3-AC9D-6ECA4D2CE7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F185DF95-14D1-478B-98C3-3298F4B839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10A2533D-654D-4E01-9795-3D605955F1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D250C8C7-C3A8-4120-A3C1-3F4229BAD4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153C7D3C-CD53-4039-96BE-47A7DB5558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C1F05B13-B695-4EBF-8DD8-2A0B0CB5EB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CC62937A-2A8F-477E-BD4F-6B36F54046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B80BB7BB-841F-486D-9944-799A9661C5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24707930-7B41-4532-B578-518D454F1C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04093416-63E1-4A89-B31C-C5B3231B5B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19728ECE-95C4-491C-B1A5-938B9AB892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DC3E4B43-2497-49DF-914C-C921439BD5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EF33D2B7-B01D-4566-95E7-BB036E7B8B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FF9E1162-4276-49F3-933A-CEA2AD802A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EBF30172-B941-40D4-96EF-685470544E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0234A121-17B6-4652-8A60-ED576D10CF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4B6048FA-98AD-4E80-9512-DD91E71CB4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5BECE00F-5658-42E3-A21A-38A7D667AA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CA0FB7F3-7DD9-40A3-87B3-CB262498B5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69546D10-83C4-4348-ADFE-85730522B7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60E6D344-EF19-47A1-9E77-E1415A84B9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C76AFAF6-B1C2-46DC-92E8-FCE72405DD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091C6DB4-C73A-4D16-BED4-2C97225395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A891B932-83DE-4CA9-9608-B850AA52FA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8A6A4AFB-A5BB-4E96-B56F-37516D3CE7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7FDD0E30-D74A-44EF-B737-4183CCA072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78DBBA3C-5D13-496A-A81F-104A01F2B2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DE89F9E4-2CFB-4DC0-B454-F24C6D07DD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E85D0BB0-53AA-43CC-917E-BF69C52257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5AAE6C40-8F49-407B-AD45-08F514BE4C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C856DBD9-AFDB-42ED-BD60-9EE4165457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BC7491D4-97E5-4D34-AACD-8030B906D2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7141725E-094D-4487-83AD-76B206C0D1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1474AC9E-3B94-4F03-9B97-EF02DA0CC2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076FD12B-0957-4DE0-860A-83E7D19F88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DB1BE0E2-E7B5-4714-8B34-725CF4FCB9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8.43E-2</c:v>
                </c:pt>
                <c:pt idx="1">
                  <c:v>3.8E-3</c:v>
                </c:pt>
                <c:pt idx="2">
                  <c:v>9.06E-2</c:v>
                </c:pt>
              </c:numCache>
            </c:numRef>
          </c:xVal>
          <c:yVal>
            <c:numRef>
              <c:f>Sheet1!$B$2:$B$4</c:f>
              <c:numCache>
                <c:formatCode>General</c:formatCode>
                <c:ptCount val="3"/>
                <c:pt idx="0">
                  <c:v>0.5222</c:v>
                </c:pt>
                <c:pt idx="1">
                  <c:v>0.25700000000000001</c:v>
                </c:pt>
                <c:pt idx="2">
                  <c:v>0.48259999999999997</c:v>
                </c:pt>
              </c:numCache>
            </c:numRef>
          </c:yVal>
          <c:bubbleSize>
            <c:numRef>
              <c:f>Sheet1!$C$2:$C$4</c:f>
              <c:numCache>
                <c:formatCode>General</c:formatCode>
                <c:ptCount val="3"/>
                <c:pt idx="0">
                  <c:v>204.14285714285711</c:v>
                </c:pt>
                <c:pt idx="1">
                  <c:v>468.76785714285711</c:v>
                </c:pt>
                <c:pt idx="2">
                  <c:v>175.04761904761901</c:v>
                </c:pt>
              </c:numCache>
            </c:numRef>
          </c:bubbleSize>
          <c:bubble3D val="0"/>
          <c:extLst>
            <c:ext xmlns:c15="http://schemas.microsoft.com/office/drawing/2012/chart" uri="{02D57815-91ED-43cb-92C2-25804820EDAC}">
              <c15:datalabelsRange>
                <c15:f>Sheet1!$E$2:$E$58</c15:f>
                <c15:dlblRangeCache>
                  <c:ptCount val="57"/>
                  <c:pt idx="0">
                    <c:v>1/2 CHAMP NICOLAS ROSE 1E C BS 1CT X 375ML</c:v>
                  </c:pt>
                  <c:pt idx="1">
                    <c:v>CHAMPAGNE E.NICOLAS ROSE 1CT X 750ML</c:v>
                  </c:pt>
                  <c:pt idx="2">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86ECF658-1B81-43F4-AF3C-DACCC31E4D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2391504C-F018-4847-B089-0010612E6D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7C696C9D-04D4-40FF-B5E1-71B17C4DFB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8F36C4BD-4EC6-4E9D-B800-007AD0216E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A095244C-76AB-47A3-9DD8-5E3889D385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D51369C8-2AED-4CED-969E-1F028F6BE6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3A2FC661-720C-43E1-BD02-02E9EEBB09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8B5B8006-B76C-4E48-B916-96560D915E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1731</c:v>
                </c:pt>
                <c:pt idx="1">
                  <c:v>50.626399999999997</c:v>
                </c:pt>
                <c:pt idx="2">
                  <c:v>25.891300000000001</c:v>
                </c:pt>
              </c:numCache>
            </c:numRef>
          </c:xVal>
          <c:yVal>
            <c:numRef>
              <c:f>Sheet1!$B$2:$B$4</c:f>
              <c:numCache>
                <c:formatCode>General</c:formatCode>
                <c:ptCount val="3"/>
                <c:pt idx="0">
                  <c:v>0.51649999999999996</c:v>
                </c:pt>
                <c:pt idx="1">
                  <c:v>0.3987</c:v>
                </c:pt>
                <c:pt idx="2">
                  <c:v>0.53539999999999999</c:v>
                </c:pt>
              </c:numCache>
            </c:numRef>
          </c:yVal>
          <c:bubbleSize>
            <c:numRef>
              <c:f>Sheet1!$C$2:$C$4</c:f>
              <c:numCache>
                <c:formatCode>General</c:formatCode>
                <c:ptCount val="3"/>
                <c:pt idx="0">
                  <c:v>820117.99649999989</c:v>
                </c:pt>
                <c:pt idx="1">
                  <c:v>15491060.006500021</c:v>
                </c:pt>
                <c:pt idx="2">
                  <c:v>166299.56789999999</c:v>
                </c:pt>
              </c:numCache>
            </c:numRef>
          </c:bubbleSize>
          <c:bubble3D val="0"/>
          <c:extLst>
            <c:ext xmlns:c15="http://schemas.microsoft.com/office/drawing/2012/chart" uri="{02D57815-91ED-43cb-92C2-25804820EDAC}">
              <c15:datalabelsRange>
                <c15:f>Sheet1!$E$2:$E$29</c15:f>
                <c15:dlblRangeCache>
                  <c:ptCount val="28"/>
                  <c:pt idx="0">
                    <c:v>Mousseux</c:v>
                  </c:pt>
                  <c:pt idx="1">
                    <c:v>Champagnes</c:v>
                  </c:pt>
                  <c:pt idx="2">
                    <c:v>Effervescents Sans Alcool</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60.751679999999993"/>
          <c:min val="8.9384800000000002"/>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594279856586757"/>
        <c:crossBetween val="midCat"/>
      </c:valAx>
      <c:valAx>
        <c:axId val="1011451359"/>
        <c:scaling>
          <c:orientation val="minMax"/>
          <c:max val="1.0024799999999998"/>
          <c:min val="7.8960000000000016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8.41308806336692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0330173E-3CB9-481B-B9B5-7BD4107D15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0B389C8A-EB35-4074-A872-9CB84DEC84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7DDBBE8-08F6-4F95-95FD-9B7354A2C6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352EEE7-32B2-4153-AD14-26AD586E3C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41E6F581-A9C4-4692-B7AA-DB56ADA30A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1DC57736-A7BB-4BD5-B864-9C05A210CF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92844AF-BB99-470B-8DB3-868A1891D6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D28F3AC2-75DB-4A27-A6CC-855917A539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78D8AB6C-349F-4FC9-B228-621CB36EB2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41FB86F4-1616-4C75-9B52-315759915B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126C73A-8C91-4AFD-8605-E528B64EBC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B3C0DB9F-092B-49D7-BC54-1FF0A81DC7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AA5C9F91-9CC2-4577-A2A2-8156ED3D51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E3B2C31D-7A8B-4C9A-B049-8C50BF60F8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0A7F549E-82E8-45C0-B177-38DD8BDA4E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CA51589A-7BBB-4A48-87A2-271E2A43D0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12533825-576B-4706-8F84-40CA93E234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EAC5D2FC-4F37-4534-B505-DF55E6D163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ADB08E5A-AD9E-4938-8F9F-F8E71FCB21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AC0D5AB4-C9D0-4A4B-9DDE-D9730708C7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D008D2FB-DF4B-4D41-8EE3-9A36181F10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B85925E0-DAE4-4B4B-8074-A30212DECB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0E193D14-E5B9-488D-8D92-55E0C3B836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4CE4345A-115D-4A32-98D0-265D4ABD1F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34DC4BDE-4E70-40BC-942F-4E4E3241D7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A812CBD5-7B8D-4B2B-91FE-63B09535D4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11B23B86-7E3F-49C5-8544-F2C14A0841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00AB0098-AD1E-4E00-88AB-69E2EECF85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D97245EC-9BF1-49A0-8716-A6E9C4409A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B87ADAD2-B3B7-41DD-B279-D0CBE0DBFB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D8901E4D-6C73-41D1-B26E-4ABB9C0261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EACBDD45-0E91-4FD1-B8EC-410B47EAFF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28EAEDF3-B275-4812-94E4-41C6F23820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DF5F50FB-0C0C-43EA-8CED-FA4ED9A3D6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4ADE2545-8C3B-4980-B247-1483EDB429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1AB683AB-D5CE-47DE-9CAC-849836A8BF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C929C070-0AE7-4719-83E5-322DF23BFF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B673B2DC-CA79-4D2B-A9F5-B7D73BF7F0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975C07C7-B68C-4C1F-8AA6-5F950EA1F8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22F17256-9086-4ABD-AA44-BA183BF9F2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97FA1993-3B2E-4A2B-9FB7-85990675A0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BD482C44-9A52-4D1E-83CC-165878732B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33E5A688-ED13-46BB-A175-2B323226A6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85D2381B-1E74-4DAF-92E9-B8E7FDE670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E67192A0-2E46-448C-9B6A-5DE3605813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9B8975B6-FDAB-45C1-A233-2B4D4B0821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ED08721C-5F3A-4F0A-A2B4-EB93AA6217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498499A3-E6C0-4970-B16F-61768BAF99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7CC897D1-9B23-4B11-9B23-D50E493045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E0D65EE4-2428-475E-9D9F-139079073E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72349C5E-6AB0-436F-BF14-3AF62B126F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7EC84808-A596-42C5-9F63-FFD5A71E80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BBA5F250-B537-4C94-89F4-2FC75D18E1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05383BB3-874F-4E01-B168-AA1787EDF3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C8D1508C-1C8E-4730-8C12-93F730F849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03688168-437E-4BBE-BD4A-DEDB15387E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90C919F5-AB2D-4632-A674-906E5EFE73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056</c:v>
                </c:pt>
                <c:pt idx="1">
                  <c:v>5.4999999999999997E-3</c:v>
                </c:pt>
                <c:pt idx="2">
                  <c:v>8.43E-2</c:v>
                </c:pt>
              </c:numCache>
            </c:numRef>
          </c:xVal>
          <c:yVal>
            <c:numRef>
              <c:f>Sheet1!$B$2:$B$4</c:f>
              <c:numCache>
                <c:formatCode>General</c:formatCode>
                <c:ptCount val="3"/>
                <c:pt idx="0">
                  <c:v>0.52029999999999998</c:v>
                </c:pt>
                <c:pt idx="1">
                  <c:v>0.25619999999999998</c:v>
                </c:pt>
                <c:pt idx="2">
                  <c:v>0.4819</c:v>
                </c:pt>
              </c:numCache>
            </c:numRef>
          </c:yVal>
          <c:bubbleSize>
            <c:numRef>
              <c:f>Sheet1!$C$2:$C$4</c:f>
              <c:numCache>
                <c:formatCode>General</c:formatCode>
                <c:ptCount val="3"/>
                <c:pt idx="0">
                  <c:v>67.909090909090907</c:v>
                </c:pt>
                <c:pt idx="1">
                  <c:v>283.578125</c:v>
                </c:pt>
                <c:pt idx="2">
                  <c:v>100.0263157894737</c:v>
                </c:pt>
              </c:numCache>
            </c:numRef>
          </c:bubbleSize>
          <c:bubble3D val="0"/>
          <c:extLst>
            <c:ext xmlns:c15="http://schemas.microsoft.com/office/drawing/2012/chart" uri="{02D57815-91ED-43cb-92C2-25804820EDAC}">
              <c15:datalabelsRange>
                <c15:f>Sheet1!$E$2:$E$58</c15:f>
                <c15:dlblRangeCache>
                  <c:ptCount val="57"/>
                  <c:pt idx="0">
                    <c:v>1/2 CHAMP NICOLAS ROSE 1E C BS 1CT X 375ML</c:v>
                  </c:pt>
                  <c:pt idx="1">
                    <c:v>CHAMPAGNE E.NICOLAS ROSE 1CT X 750ML</c:v>
                  </c:pt>
                  <c:pt idx="2">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45471F9E-E1D5-4980-B6B8-4A015BEA5C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E6D87D37-1CFC-4C85-94CA-34D98C9B2E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3C8C74B-0FDA-4162-A2EA-87B88A5577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DBCAA07-8FF6-4DEF-BC8A-F75077E320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9AF60C09-4A8B-4F47-BE89-28E067FB9C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74E68CE6-1B59-4FE9-9858-09D75E7F10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B28563D-1D23-43CE-87AE-6524D3C4EC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9EB9BF85-1FEE-4D3A-85E6-E3FA39AD56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ABF283A0-FCE8-4960-88A2-454004F508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82B0BA6A-DCE2-4FB2-A66A-FB1A79914E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F24EC2D-5C39-456A-88AE-8F7E53BE85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7882FBEA-4A31-4F82-AF71-E0C3DA0FEA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926DAD74-7400-4AC2-8012-B0F3F3195F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05E2846F-F515-4895-BE6D-5E165F2111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D4FDE3DE-666A-44A0-8DFB-6D298438F2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3E26F148-BDB6-4783-8F24-67997ABECA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439349E4-0933-487D-87D6-BB4BB9DF1E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AE0F758D-1C20-4410-A923-3234741C36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C0D2BE33-9265-4457-9C68-923C408E46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AABA90AE-8406-481D-80EE-1D6D4ABC25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0A41CD74-8830-4D0A-9467-5E4D88AECC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A0E7E96B-68BA-4E06-9FF9-6B8823DF29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5E8567C4-8647-432F-908B-4E5C974AB6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7522B562-5153-4CA3-9B29-985F67DED3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FCA303B4-1810-49E8-9A5E-2262DF1813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C8C099B8-009B-46BA-8442-044AC5E92F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3652AF55-FB3D-4D9D-8742-B4511C8E6F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737773F9-13A6-4447-B761-82D02A4D10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058F924B-7710-41AB-8EE1-5B95D4A845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1ECD87B6-28F7-48DB-BFBC-7CE6D5DF36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B43A76D2-2256-4DCD-841D-E706E65DA5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A950CAD5-033F-42A2-B235-DE0D162222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102C87F1-0F49-42D5-B3DC-EDC2F2E541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2FF61214-1300-4E00-8C39-D537DE339D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EE33A1E3-BC70-4258-89AB-9D6C8FA46F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C43468A1-EE42-4AB6-B7C8-933741BF3C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A56F33A7-CA62-426C-8B67-F4E7FDD900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7C31214A-DCCE-430D-A498-94B4A25720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D1B2091F-3B73-4D22-B5DD-8782700B24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F641CBB1-A6F1-45C1-A372-89B9887F57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9019E6B9-5D51-48D4-9ECB-CD2DF1DD9E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C5BAF479-EBE7-493F-8A07-42B2C5B925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EC3EBD75-CA89-4E62-9A72-02068FDB44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C4ED22EF-506F-4EF7-84E1-3CE9EF1DC3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91B4C9B4-4DE1-4371-A3D2-7EFA6E1255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E823BA29-6E03-478C-B832-BB93088820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CDE58059-7901-437A-9685-C5D22DDCFF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FC2F6080-8D2E-4327-82D1-FAE7257A86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E86CA567-35F0-4047-BE17-FD7690854B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95553330-08AB-4046-A84A-6C95669622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DB6B2F1C-1634-46C7-A982-B2DCE0812B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8D712E56-2B60-4F6A-ADE3-501457A765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E6A0ECD7-B3DB-4B53-B73D-7997670E64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24640AA2-6973-4D51-9092-6462CF5FB2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1F83C4CA-C5E7-4391-8998-1F83BEF669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76CE61D8-BFD7-435F-8E26-26B1AEC6DE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68FFFF71-A017-4AE3-9AA7-7B32A665DF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3800000000000001</c:v>
                </c:pt>
                <c:pt idx="1">
                  <c:v>9.1999999999999998E-3</c:v>
                </c:pt>
                <c:pt idx="2">
                  <c:v>5.3999999999999999E-2</c:v>
                </c:pt>
              </c:numCache>
            </c:numRef>
          </c:xVal>
          <c:yVal>
            <c:numRef>
              <c:f>Sheet1!$B$2:$B$4</c:f>
              <c:numCache>
                <c:formatCode>General</c:formatCode>
                <c:ptCount val="3"/>
                <c:pt idx="0">
                  <c:v>0.52339999999999998</c:v>
                </c:pt>
                <c:pt idx="1">
                  <c:v>0.2576</c:v>
                </c:pt>
                <c:pt idx="2">
                  <c:v>0.47899999999999998</c:v>
                </c:pt>
              </c:numCache>
            </c:numRef>
          </c:yVal>
          <c:bubbleSize>
            <c:numRef>
              <c:f>Sheet1!$C$2:$C$4</c:f>
              <c:numCache>
                <c:formatCode>General</c:formatCode>
                <c:ptCount val="3"/>
                <c:pt idx="0">
                  <c:v>48.139534883720927</c:v>
                </c:pt>
                <c:pt idx="1">
                  <c:v>163.08536585365849</c:v>
                </c:pt>
                <c:pt idx="2">
                  <c:v>61.307692307692307</c:v>
                </c:pt>
              </c:numCache>
            </c:numRef>
          </c:bubbleSize>
          <c:bubble3D val="0"/>
          <c:extLst>
            <c:ext xmlns:c15="http://schemas.microsoft.com/office/drawing/2012/chart" uri="{02D57815-91ED-43cb-92C2-25804820EDAC}">
              <c15:datalabelsRange>
                <c15:f>Sheet1!$E$2:$E$58</c15:f>
                <c15:dlblRangeCache>
                  <c:ptCount val="57"/>
                  <c:pt idx="0">
                    <c:v>1/2 CHAMP NICOLAS ROSE 1E C BS 1CT X 375ML</c:v>
                  </c:pt>
                  <c:pt idx="1">
                    <c:v>CHAMPAGNE E.NICOLAS ROSE 1CT X 750ML</c:v>
                  </c:pt>
                  <c:pt idx="2">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C5304FB2-A441-4CE3-8854-8A37D618BE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F2D20D7F-2C8B-42B1-B21F-769F89D5FF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8E4DF6E-DA47-4C8B-BF45-0A772C139B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3BB34F6-49A4-4BC2-8E42-D81D469232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811E79D0-F922-4696-989A-3F1E73C0C6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D21A86D8-39D6-4D9F-9BA8-4C84F054A8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83B8960-F868-404A-8672-E7E95ABD00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844EE236-7A22-4007-9470-43114AB151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72877DDB-2919-4CA5-B5AB-62665B7303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57042380-0129-48D4-B2E1-2FBD9E134B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07F1CE8-1CEA-4923-985C-A7876673CB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9F08E705-F3BE-417A-A73B-F66EFAEDE5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30CC126E-7F30-4B48-B199-B6C101B729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06EAB6DE-3251-42FF-889E-C4E9440E34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13207225-BAD4-4FD5-BCC8-707034990B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03FD29EE-63C8-407A-85FB-9C8D6885E6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AE6B89CE-88AE-47D9-B2A5-297F06A022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242F2D83-D687-4855-8E52-93433711E4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0F642A3E-FF13-4E3A-9CF1-58B13FEC61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3A54183D-B5D6-4565-AFC4-5C77F3AD76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27E68CDC-B1E8-4CBC-ABEC-0DC30CC60E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4B985403-7509-4147-BDBE-7D9EA4491F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03256A10-7908-4176-9715-04F54113C9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A9E7C163-D0DD-4434-AF36-1985B28E23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276FE5D6-F7DE-4D87-B428-A5B5D72780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6D275480-E488-4193-929A-36ECE17E7A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266BFDC6-93FE-44E9-8F2B-49F199E798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F6F911C4-C6AB-411E-8901-51853434D8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BD28941F-2995-4C63-AC8C-247E483A8B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6A6800AD-03DC-4917-9C90-A82C2B895D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4BB53E2A-644A-4CEC-916E-BDC39DFFB2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4AF8E48E-27DE-4F71-AF46-8834590D98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5BF5A490-9AE9-4D87-8611-6B643A14D3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F7B3E539-8452-4BC8-8369-E212A76A55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7667A23F-46E0-459B-A0BC-66F7CF5D28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C9C80842-9519-4450-8802-E40E712275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A4877277-8E8E-4EF9-87C7-40A9B8813C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56754AC9-29FB-4D54-A4BC-AA2038406F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DF3657AD-044D-4BC8-A952-66F764367B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471727EA-5304-49E2-AF82-50A4FCFE91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B97A98DC-7AD1-4DD5-9C64-5822455B11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B88CEFA0-A8F3-4D87-8C3C-AE8A14C9DE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D157C87A-EA08-48A5-8E01-7FEB4E5E8A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2658F1C3-4B92-44D1-B2F7-3946DCAAED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15AD8B6C-490E-4422-AE7A-DEC6EFCCB4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9772F566-2CCD-48B5-A331-1DDAF584B4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9622C1AD-0B02-44BC-BAB2-F13B0CF245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110CB9AB-E623-4A7B-A1EF-60EB569BF6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A7167942-37B9-41F4-B097-B2C8DF19D6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4C4677F7-54A9-481B-9579-6C1448CCE7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D2C9EFCE-2C9A-4FD0-9352-2878B13501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3B4C14CC-2324-40B9-95CC-131DCC4A36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1960DD69-34AD-47B1-82E1-927A5A3A90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0508B683-62F4-4707-B4BD-77FC362C13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3D20AE95-FEEA-4A25-95D6-C034620422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A9625C2C-6BAF-4A13-AC97-2EF1FCD1BD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984AA5C3-AE5D-43AA-8D5B-9D152CE8A4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6.93E-2</c:v>
                </c:pt>
                <c:pt idx="1">
                  <c:v>8.0000000000000004E-4</c:v>
                </c:pt>
                <c:pt idx="2">
                  <c:v>0.1014</c:v>
                </c:pt>
                <c:pt idx="3">
                  <c:v>8.9899999999999994E-2</c:v>
                </c:pt>
                <c:pt idx="4">
                  <c:v>4.7100000000000003E-2</c:v>
                </c:pt>
              </c:numCache>
            </c:numRef>
          </c:xVal>
          <c:yVal>
            <c:numRef>
              <c:f>Sheet1!$B$2:$B$6</c:f>
              <c:numCache>
                <c:formatCode>General</c:formatCode>
                <c:ptCount val="5"/>
                <c:pt idx="0">
                  <c:v>0.52110000000000001</c:v>
                </c:pt>
                <c:pt idx="1">
                  <c:v>0.25590000000000002</c:v>
                </c:pt>
                <c:pt idx="2">
                  <c:v>0.4894</c:v>
                </c:pt>
                <c:pt idx="3">
                  <c:v>0.46010000000000001</c:v>
                </c:pt>
                <c:pt idx="4">
                  <c:v>0.48120000000000002</c:v>
                </c:pt>
              </c:numCache>
            </c:numRef>
          </c:yVal>
          <c:bubbleSize>
            <c:numRef>
              <c:f>Sheet1!$C$2:$C$6</c:f>
              <c:numCache>
                <c:formatCode>General</c:formatCode>
                <c:ptCount val="5"/>
                <c:pt idx="0">
                  <c:v>1250.962962962963</c:v>
                </c:pt>
                <c:pt idx="1">
                  <c:v>2988.0338983050851</c:v>
                </c:pt>
                <c:pt idx="2">
                  <c:v>1025</c:v>
                </c:pt>
                <c:pt idx="3">
                  <c:v>1141.2222222222219</c:v>
                </c:pt>
                <c:pt idx="4">
                  <c:v>1302.878787878788</c:v>
                </c:pt>
              </c:numCache>
            </c:numRef>
          </c:bubbleSize>
          <c:bubble3D val="0"/>
          <c:extLst>
            <c:ext xmlns:c15="http://schemas.microsoft.com/office/drawing/2012/chart" uri="{02D57815-91ED-43cb-92C2-25804820EDAC}">
              <c15:datalabelsRange>
                <c15:f>Sheet1!$E$2:$E$58</c15:f>
                <c15:dlblRangeCache>
                  <c:ptCount val="57"/>
                  <c:pt idx="0">
                    <c:v>1/2 CHAMP NICOLAS ROSE 1E C BS 1CT X 375ML</c:v>
                  </c:pt>
                  <c:pt idx="1">
                    <c:v>CHAMPAGNE E.NICOLAS ROSE 1CT X 750ML</c:v>
                  </c:pt>
                  <c:pt idx="2">
                    <c:v>CHAMPAGNE NICOLAS ROSE 1E C BS 1CT X 750ML</c:v>
                  </c:pt>
                  <c:pt idx="3">
                    <c:v>CHAMPAGNE NICOLAS ROSE 1ERE ET 1CT X 750ML</c:v>
                  </c:pt>
                  <c:pt idx="4">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1FDC8DA9-F9A3-42F9-8D29-2B77C7B81D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369F0F73-3018-4A27-A293-71276B6FE8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495DA3B-ECB9-4AA3-92D4-9757E4714C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3D53517-7B73-4F41-9EE0-9A4C14AFB6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47024D5-F2AC-4969-8300-7B2842799C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5CEDE98D-E5A0-48B5-97D4-0927E37A5A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41706EB-523C-4AAD-9172-0624B6B501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9C66AC75-4608-4175-82CF-062BAED977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CE6D73D9-9852-4FD9-B4F0-D643C08217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5FA56A7C-CD9F-472C-8FE6-1A394195B5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609DABD-3C2E-4AC3-9041-56CE45D260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05C08FAB-B588-4B86-AB16-4FAD65D2F4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25C9FCA0-C834-4EE1-BAD5-21A5CC37F9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1C35018B-1E06-47DD-AD98-96E26124AD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90056BF7-888A-4526-A069-07FF4E8FE3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DFADFEAD-A507-4456-A3FE-97246DBFFB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4312B8E0-239C-4A17-8C27-B49055CADE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EA574277-DEE6-4FF4-976B-EAF550B786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1D7F5388-6B48-4EA5-BA1E-06E94D27B2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B770110D-4FD0-4254-8C78-C1C04C70B2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5B8CA3EB-CEE5-4660-99AD-47D9C8C462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CB412253-83C9-4726-AE6E-27750C17A8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C8DE9C11-AFA1-4924-B7DE-BEECAA50D7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17B054E8-B7C7-4902-91B9-98E277CF47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7D8DE14D-D11B-4DB7-897E-2074A4C974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8797DB5C-5918-459B-A368-188AAA7F77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C82B5C30-453B-4C46-B49A-4B739DE112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E8A8BE7E-56D5-4333-B151-CA57A8F9DB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945CD450-DE93-4882-981C-341072604D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56E41065-90AB-4EC4-9A4F-89FB6199C4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BAD8A3D5-72C7-413D-B8FB-F5758BC318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738847F8-C3D7-45E7-A650-DC3BF78882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82A5B6DA-6086-450A-A9E2-49F4590A02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5E2BCD56-11EE-4EB0-BF68-9C4A923866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74DBC107-8AFB-4BBC-807E-A3FB8B79A7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BA3E6E86-1BD6-4DB2-B032-2C11056AD0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4297A746-8926-4BE5-BD8C-CCC7BEAEFB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2B6D5ADF-F088-4D6B-A888-FD810D8F1F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4BE74C68-4944-4ECD-9C14-120C1001A9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7E2EFDBC-9E3F-4318-8E4E-B072BAFA26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0EBF5C09-2EEB-4B1F-8EC3-2DAA4EEDC9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E983C666-2B78-4FDF-9009-372718619C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EA066C6A-2414-4290-94D3-02ED4DE75B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CEC9CD48-FE7F-42B8-9AD1-7FDD7130EA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0C696BBF-5AF6-4761-B12E-F94638965C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FC60B256-72AD-49BA-BB48-B9F567B127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72479276-57FB-450B-9F17-3A567FC1FA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56463B68-D8A4-4D33-8899-DB89C57DC6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3A3F2F28-6E35-4B82-A9F9-8F207E7346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3C8080C1-CDF5-427C-A3B9-FABD8CFE75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63DA7286-F17B-4735-961C-80A647C9AC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0C043FC2-A6A7-4FA4-96CC-4367C93D3F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D96C3040-190C-4F32-8780-B3714BAB8B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2F32DDE3-1351-43BF-AF5A-0188537692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26B1C1DE-B092-4D54-A75C-FFA2A75657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94FEB894-E078-4835-836F-DAEAA26B14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32A3975C-1969-4E97-A7D9-E574DC5223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9.9599999999999994E-2</c:v>
                </c:pt>
                <c:pt idx="1">
                  <c:v>2.8999999999999998E-3</c:v>
                </c:pt>
                <c:pt idx="2">
                  <c:v>9.5100000000000004E-2</c:v>
                </c:pt>
              </c:numCache>
            </c:numRef>
          </c:xVal>
          <c:yVal>
            <c:numRef>
              <c:f>Sheet1!$B$2:$B$4</c:f>
              <c:numCache>
                <c:formatCode>General</c:formatCode>
                <c:ptCount val="3"/>
                <c:pt idx="0">
                  <c:v>0.52449999999999997</c:v>
                </c:pt>
                <c:pt idx="1">
                  <c:v>0.25769999999999998</c:v>
                </c:pt>
                <c:pt idx="2">
                  <c:v>0.4829</c:v>
                </c:pt>
              </c:numCache>
            </c:numRef>
          </c:yVal>
          <c:bubbleSize>
            <c:numRef>
              <c:f>Sheet1!$C$2:$C$4</c:f>
              <c:numCache>
                <c:formatCode>General</c:formatCode>
                <c:ptCount val="3"/>
                <c:pt idx="0">
                  <c:v>105.609756097561</c:v>
                </c:pt>
                <c:pt idx="1">
                  <c:v>355.97674418604652</c:v>
                </c:pt>
                <c:pt idx="2">
                  <c:v>173.7441860465116</c:v>
                </c:pt>
              </c:numCache>
            </c:numRef>
          </c:bubbleSize>
          <c:bubble3D val="0"/>
          <c:extLst>
            <c:ext xmlns:c15="http://schemas.microsoft.com/office/drawing/2012/chart" uri="{02D57815-91ED-43cb-92C2-25804820EDAC}">
              <c15:datalabelsRange>
                <c15:f>Sheet1!$E$2:$E$58</c15:f>
                <c15:dlblRangeCache>
                  <c:ptCount val="57"/>
                  <c:pt idx="0">
                    <c:v>1/2 CHAMP NICOLAS ROSE 1E C BS 1CT X 375ML</c:v>
                  </c:pt>
                  <c:pt idx="1">
                    <c:v>CHAMPAGNE E.NICOLAS ROSE 1CT X 750ML</c:v>
                  </c:pt>
                  <c:pt idx="2">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BFEDB35B-244E-4469-B0A8-9B45E8901E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6F540FD6-D80D-492D-BF88-DF2003C30D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550495E-D6DA-464B-A6DB-C6F457C964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A198850-48E7-4D12-B9E1-34131D5F16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094A146C-43C1-4B7A-82B3-8ACB718B6B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8F920A76-BE80-4DE3-A8C5-0A5C894C9B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52EF194-17B9-499C-A019-39936927AC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B9CBF62D-8F83-4AA1-AD20-99066A2CCA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ACC03C07-1857-4DC9-9A49-46E34C62DF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BBE9866C-5C6B-4672-B56F-92828343E3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FBDBCA7-9A5E-4F84-A776-351512F0B7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1480D91F-E1FB-4C97-9FDE-C262FA4C6B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FDEC2CD8-B7CB-4AF4-A236-A51E4C79C9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DD207BEB-DC4F-485B-BF5D-3FC1E5D404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DC4A3ECF-C0B8-4CA6-B5A1-8FA8D1C732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5A99EA5A-3C3D-47C3-9C46-FC602C0F43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2E49D23E-267A-482C-9CFC-2DC3C16D63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2FDD974D-1DAE-4DE8-AEBF-25D4F8EF8F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F0CF5F9B-5F51-4F72-A6CD-1B887F088B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B8AF32B1-3C6F-4C40-9EC0-382583B26A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D70A4081-4352-46F3-992D-21CBBE409E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B9B63BC1-C47F-42D1-B6C9-94FBBF92EF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417DD250-E785-48FE-BCD0-1898295368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FD74D711-B978-47AF-9EC4-BC493E3C66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167DDCF3-A061-4A64-B9C4-11EBA4ACCD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3588CB8F-F50C-4895-8991-0CC3377EF5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390A9EF6-515B-4EC5-909C-1EDA133E97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BC57AAFA-BE0E-446B-943E-2423ABDFE3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17140E2E-FC31-4DF4-99AD-11DF6E95F8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4ED7CB46-CAA3-4A52-B822-87EEA7150F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CC3AAF15-BFAB-47DC-BB1F-2A296EF72C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90EBF621-F33E-442B-A558-F0945093BD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93DF9D79-81AC-4EBA-8155-00AA200B2E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40873B02-FBD1-41FA-9B90-BC3570F1E4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14B1606C-314E-498D-9C74-EDD5411885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48B8D87D-E8EF-4F1C-B37E-6A6C15A53B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E4C536AD-863A-47FC-9006-D8DB744FD6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DD138B39-CA1D-4FCF-9514-B3C8DCC69B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75568A83-6F0F-4C82-BF75-B75911512D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4726F78B-DE71-41B5-A727-0B65A94384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18807E70-36D9-451B-9473-CACF291727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C42FA9C8-E508-49E7-A787-BF568E0954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09E069DB-C2A4-4736-90B7-7009C6DBB5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28646A68-26CA-40AA-AA99-713C31D223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82A40432-C202-4914-A10B-0321FE0F80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9996060A-74C6-412C-A44B-31A80991DB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0B3AE4D7-AA64-47EC-9AB6-78599870F1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76C1B375-0775-437D-902A-23423B0563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05B3B85F-A564-4C80-9404-A6A402D63E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8942FA47-7526-4844-AB1C-C5A2B5D059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D03603D2-6A88-4EDC-8806-A3BD10F750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9702A9DB-F201-4EB1-81F5-C7125EA298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EFA2AB99-9852-4D43-B319-00F81369F4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B928D56D-F1B1-42CF-9018-F20E2D36E2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E1CAB24F-4751-463E-A597-59FD68F460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D1E79F1C-87CF-430C-8B28-35201E5943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3F522E44-AF82-471D-B6CC-173975C77E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186</c:v>
                </c:pt>
                <c:pt idx="1">
                  <c:v>6.7999999999999996E-3</c:v>
                </c:pt>
                <c:pt idx="2">
                  <c:v>1.4999999999999999E-2</c:v>
                </c:pt>
              </c:numCache>
            </c:numRef>
          </c:xVal>
          <c:yVal>
            <c:numRef>
              <c:f>Sheet1!$B$2:$B$4</c:f>
              <c:numCache>
                <c:formatCode>General</c:formatCode>
                <c:ptCount val="3"/>
                <c:pt idx="0">
                  <c:v>0.52449999999999997</c:v>
                </c:pt>
                <c:pt idx="1">
                  <c:v>0.25740000000000002</c:v>
                </c:pt>
                <c:pt idx="2">
                  <c:v>0.4763</c:v>
                </c:pt>
              </c:numCache>
            </c:numRef>
          </c:yVal>
          <c:bubbleSize>
            <c:numRef>
              <c:f>Sheet1!$C$2:$C$4</c:f>
              <c:numCache>
                <c:formatCode>General</c:formatCode>
                <c:ptCount val="3"/>
                <c:pt idx="0">
                  <c:v>66.042553191489361</c:v>
                </c:pt>
                <c:pt idx="1">
                  <c:v>238.43055555555549</c:v>
                </c:pt>
                <c:pt idx="2">
                  <c:v>85.72</c:v>
                </c:pt>
              </c:numCache>
            </c:numRef>
          </c:bubbleSize>
          <c:bubble3D val="0"/>
          <c:extLst>
            <c:ext xmlns:c15="http://schemas.microsoft.com/office/drawing/2012/chart" uri="{02D57815-91ED-43cb-92C2-25804820EDAC}">
              <c15:datalabelsRange>
                <c15:f>Sheet1!$E$2:$E$58</c15:f>
                <c15:dlblRangeCache>
                  <c:ptCount val="57"/>
                  <c:pt idx="0">
                    <c:v>1/2 CHAMP NICOLAS ROSE 1E C BS 1CT X 375ML</c:v>
                  </c:pt>
                  <c:pt idx="1">
                    <c:v>CHAMPAGNE E.NICOLAS ROSE 1CT X 750ML</c:v>
                  </c:pt>
                  <c:pt idx="2">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ABC08481-AB95-4A14-AF24-D22F232C7B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C268D9BE-BF56-4562-ACB9-2996C97C22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432A58D-05DC-4CB9-9630-55F2ED92E4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0B7AF431-6716-472D-A45F-B1E5402EDF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47CFD9E7-4359-4CF0-8A54-237DFD5D10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32DB0A0B-CE17-4153-82DB-D81EB84BCE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2463842-7BB7-491F-8903-12EB802BAF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63767375-96B0-4D6F-9D5C-EF3FF765CB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E6967656-2771-4F57-BB4C-AF8ACF4516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58D8E434-2DFE-45A0-945F-AE05F5321D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29D4C28-12D5-4EDA-ACB1-997A54DFE2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A459BF6-B1BE-4E82-B51E-A1BDB85229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9B9E01D7-9D61-456D-92F6-E840CADB0C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66D5ED9F-BEA6-489F-8899-97B1F991DA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91516914-30CB-490B-8AD3-BB164388A3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E22E0204-EB2F-4111-A818-09EE5138E4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51668581-1DFA-403A-AF6C-92D296DB3F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72B32679-A363-4D15-9C93-2EEC44CA56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40615878-3109-4602-9AC4-AECA3409B5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1F1BDDA3-E0BC-402F-96D1-9126CFD402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33F99C4C-03FC-4F5B-A5AD-405A8A52F3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F12821F0-188D-4A2E-AFBE-2C15D0F53C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FBC82F00-CB9E-4A39-93F7-EDA27B6282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253D792D-A3BD-4656-B64F-197EDACCA5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10C68A3A-45DA-4A95-B848-5E2F3E4889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7A9BB522-799F-4C65-9058-6379EE1140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9728BAF4-F966-4514-9458-DFC1F83E9F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60349795-418F-451C-858A-28FB954222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BA5F6360-0655-4C2E-A286-3727F359E6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6AC76DC4-3DCA-4AF3-8892-733B41C58A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07BD938C-25CD-4B84-8761-83A5FB8816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D3428E5A-A7D8-4A7B-AAB5-39AB5C357B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9AB4A72A-DAAF-41D7-BD15-C9B93B66DD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FAE58202-42A2-4FE8-A7C9-DCE7A8C064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46A71CB5-EDD1-4ED3-ADAA-D281195072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E98169C4-EE76-4F36-9C85-F1E1C6C694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054084A0-5E1D-4C84-84B9-97CC86C3B9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15B8C5DF-EC26-4343-A7E3-CB9676E9C8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359BF3BE-9DE9-4C52-A95C-87465BBC81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10C13A6A-9BE6-4D3B-97D3-27D918CE8E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0B61CABD-C7FD-48CA-B3B8-B2BBA88209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30427C43-A4A4-44C2-B540-029AC41F20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0BCC608B-D247-4F7B-8256-4B34490C9F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2A5E9B32-3916-4D2B-BFCD-F567947239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5A008891-04BC-4490-BB30-230F95C800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ACB3DC7F-891E-4AA2-BE38-758C484E38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760DF266-BA2D-4925-B3D7-89E910039D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861FAEEA-FFA4-49C0-85A0-43A18F8E38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53E2C035-7198-4E5E-9C49-FB81A44622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1FCE15C7-98F0-4208-9481-F78AA43D99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1CC7F14E-2651-4657-9431-DAD247F712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BC572363-43E8-4218-AFF2-AA2E70DECE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23B6E9E1-4511-47F4-9C2F-A6D44CFB86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C693A718-7990-4C71-BBDD-81C43580EA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2DE0D387-8965-4893-957E-51F7BD1427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E6098BD6-76F5-4CB4-B064-240A641CCC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2EE4C2D1-2AAA-47AC-A852-98C2BC0C95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6.0000000000000001E-3</c:v>
                </c:pt>
                <c:pt idx="1">
                  <c:v>5.9799999999999999E-2</c:v>
                </c:pt>
              </c:numCache>
            </c:numRef>
          </c:xVal>
          <c:yVal>
            <c:numRef>
              <c:f>Sheet1!$B$2:$B$3</c:f>
              <c:numCache>
                <c:formatCode>General</c:formatCode>
                <c:ptCount val="2"/>
                <c:pt idx="0">
                  <c:v>0.25690000000000002</c:v>
                </c:pt>
                <c:pt idx="1">
                  <c:v>0.47910000000000003</c:v>
                </c:pt>
              </c:numCache>
            </c:numRef>
          </c:yVal>
          <c:bubbleSize>
            <c:numRef>
              <c:f>Sheet1!$C$2:$C$3</c:f>
              <c:numCache>
                <c:formatCode>General</c:formatCode>
                <c:ptCount val="2"/>
                <c:pt idx="0">
                  <c:v>165.33823529411771</c:v>
                </c:pt>
                <c:pt idx="1">
                  <c:v>40</c:v>
                </c:pt>
              </c:numCache>
            </c:numRef>
          </c:bubbleSize>
          <c:bubble3D val="0"/>
          <c:extLst>
            <c:ext xmlns:c15="http://schemas.microsoft.com/office/drawing/2012/chart" uri="{02D57815-91ED-43cb-92C2-25804820EDAC}">
              <c15:datalabelsRange>
                <c15:f>Sheet1!$E$2:$E$58</c15:f>
                <c15:dlblRangeCache>
                  <c:ptCount val="57"/>
                  <c:pt idx="0">
                    <c:v>CHAMPAGNE E.NICOLAS ROSE 1CT X 750ML</c:v>
                  </c:pt>
                  <c:pt idx="1">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B5B9F82A-5D72-43D4-8534-39B4FE56D9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B8A433A5-30FF-4A56-AEBF-A4E3129ABF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45E971D-7E6E-41F8-9BAF-599CA08E5A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7B3F3FE-B54C-4F25-AD8F-9EFE4423A6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91B8FBE3-45AE-491E-8967-CB2AA66C92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0D4EC14D-6862-4C0A-93AD-77ED7A8EF1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C67D756-DEB0-42E2-8E95-154DAEBB2A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37AAA6F9-8245-4E7C-88A7-57D5008FC4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01ABEA5-8ABC-4A85-9BBA-BE917F9F15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79874651-6F7F-4C2F-95F2-267064E322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8B10FD2-B5CD-4FD4-AC9A-05631FDBE9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873A5C80-F04F-4046-B124-E2CBA0F55D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99B32E4F-DD05-4745-BB3A-2F5F40350E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05CB174E-D34D-48D8-8EEE-2B8E92B99B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7A963FB1-510F-42B0-8828-598AD2ED98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42CF9894-F401-4DA3-849F-D08B680AB2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5222F497-7E03-41FE-B694-4F7B4B1E9D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70A07353-A1EE-40F0-A037-D99936690A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12341E97-6865-4C93-8E3A-703C1E73A9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EB97EFB2-4F53-42BC-85B9-7FC57446AC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04E5EDD0-301B-4E46-9EF4-B9ACC30238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10699445-2265-472E-9F88-7BB6887D79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22CC4AB9-DD6F-49F8-9743-65A5FBA655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C119C456-4680-4509-AF05-548C14917B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12709C57-11CF-49FA-AA86-3FCFD699FE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2E8AB34E-0112-475C-84D7-6FE9E776BC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731B2C05-46A2-4AD3-83BA-8CFF81A470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D1A19C0A-6B5A-4A55-BC89-5A2C468A1B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3C694166-C03B-4DA4-AE5F-3FD5B622CE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15333E2D-0537-400F-B358-EAC83DCF1D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ABD002A1-2553-4796-AC5A-CF94827508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D61E15F9-9B10-4B3D-8463-A1F19E8C8A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8D72C176-7E59-461B-8191-AA47CA33E9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1CEC5C2C-D946-46F0-91D5-87741FAECC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08420A50-817B-4F23-9DF2-FC42CAAF72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A287C56E-8F6A-459E-831B-C177EE7B96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55DBCC92-ECDF-4C9E-83AD-A5D7548A3D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E32991BF-DF2E-4559-9334-209B9F228D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2C949B7A-92C2-46C1-85D4-04F6806D45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AD3737A8-341B-4446-AA65-4BDF75A63F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5FFB97A3-F04C-42D0-99FE-E6760D6DB1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40B42453-D57F-431F-A9C1-964E174820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5199FDF4-2DF1-4C24-853E-DCEAD968BD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E09EC12E-6F3C-4B92-A68C-FD2538E03D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1547AD18-679C-4E0F-B18E-DD5A51452C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F913ADF8-7C76-4536-A363-CB276726DD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86A02870-381A-4F63-86A1-A00087AC43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F0C438B6-FB8C-42A1-BF3F-09C6558C9C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2680533A-14FA-40EE-8EA6-7229C9707F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BED7FE74-CEF6-440E-9A2E-9FB0494F09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F8E53207-C347-4D5E-8302-F68BDE5CA3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CD1E442C-FB54-423D-A83D-DE5E57968A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D8EF5A06-CC23-4C0C-AD4D-C1B8FF643D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C25FDD6E-1E8C-4985-ABD3-DD41B1E156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30AA3B20-F6FA-4877-9A68-31BC1C3F24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168ADDAE-4BF9-4783-BBE5-EB08EFBD38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05411494-545D-4D1A-BF0A-CECF5E959F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9.3700000000000006E-2</c:v>
                </c:pt>
                <c:pt idx="1">
                  <c:v>-2.8000000000000001E-2</c:v>
                </c:pt>
                <c:pt idx="2">
                  <c:v>0.14449999999999999</c:v>
                </c:pt>
              </c:numCache>
            </c:numRef>
          </c:xVal>
          <c:yVal>
            <c:numRef>
              <c:f>Sheet1!$B$2:$B$4</c:f>
              <c:numCache>
                <c:formatCode>General</c:formatCode>
                <c:ptCount val="3"/>
                <c:pt idx="0">
                  <c:v>0.52470000000000006</c:v>
                </c:pt>
                <c:pt idx="1">
                  <c:v>0.25650000000000001</c:v>
                </c:pt>
                <c:pt idx="2">
                  <c:v>0.48170000000000002</c:v>
                </c:pt>
              </c:numCache>
            </c:numRef>
          </c:yVal>
          <c:bubbleSize>
            <c:numRef>
              <c:f>Sheet1!$C$2:$C$4</c:f>
              <c:numCache>
                <c:formatCode>General</c:formatCode>
                <c:ptCount val="3"/>
                <c:pt idx="0">
                  <c:v>56.647058823529413</c:v>
                </c:pt>
                <c:pt idx="1">
                  <c:v>197.51351351351349</c:v>
                </c:pt>
                <c:pt idx="2">
                  <c:v>56.44</c:v>
                </c:pt>
              </c:numCache>
            </c:numRef>
          </c:bubbleSize>
          <c:bubble3D val="0"/>
          <c:extLst>
            <c:ext xmlns:c15="http://schemas.microsoft.com/office/drawing/2012/chart" uri="{02D57815-91ED-43cb-92C2-25804820EDAC}">
              <c15:datalabelsRange>
                <c15:f>Sheet1!$E$2:$E$58</c15:f>
                <c15:dlblRangeCache>
                  <c:ptCount val="57"/>
                  <c:pt idx="0">
                    <c:v>1/2 CHAMP NICOLAS ROSE 1E C BS 1CT X 375ML</c:v>
                  </c:pt>
                  <c:pt idx="1">
                    <c:v>CHAMPAGNE E.NICOLAS ROSE 1CT X 750ML</c:v>
                  </c:pt>
                  <c:pt idx="2">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3BD68F0E-601A-47A7-90EB-14EF938DD9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E279002B-4B08-4B18-877D-A05A472E6B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9D855DE-3CF7-4797-B7C0-D17A40FB18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1609CEC-35FC-4C59-99E7-65FA434B72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55161F9D-DED9-4C86-A61E-CA0413AB1E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674FE964-42D0-4A58-AA20-24B8FC9C0E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428F66D-4231-49C9-B66E-B0065D79DC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001B0824-4D7C-4C1B-B7C5-B9B2360884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0E6C4736-7B26-4D81-9412-19B940049D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13C5417A-E3B8-4622-BA99-EE6B6FF799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44E0529-806C-4065-B669-6996A3A072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EE2EC103-C18D-4269-BEEB-BAE25DC0C9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D7DE7587-0C8B-4448-8413-91077B531F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A9D85C8C-332E-46FC-BEC6-192AFA122F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21F1D80B-02B7-4A85-AF84-AD5296F526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0CFFB21E-0D56-4DC5-96BD-318EAD5EE9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970D9F06-BB9E-45AE-AEEA-8E13D5DBFA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D4049FAB-A171-434C-BEA2-15641B03C6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D29E12D6-AB92-4F6A-B410-2614303D7E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42B90E80-14A3-4C1E-BEB5-61CD4F756D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C3CCF798-EBCE-40F9-854C-1F953405F9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3C19EA9A-F6C3-413A-BFB4-D3CE7EE983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2C9EE091-5E61-43EE-9E79-E9142CE27D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A943BD03-2240-4CD9-8A6B-8C0EC40621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A29C1C00-F44F-4D34-B48B-0466F2BEEF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6F693690-CF88-4417-BB2B-C7799DCD21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D704328D-BA53-48AF-8028-9E21EF7DF3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5F0E7066-4B6A-4152-930C-C67187FFEC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72DD0E25-3C17-4918-9549-07E33F1624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D3617405-8869-4FC3-BE07-2C2982A1CC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BBDCDD84-535C-4AED-B39B-7AE56E2413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38A6D025-23D7-4EFD-9933-7695A4D45F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F708EED4-95A6-45B7-90DD-8ACB88B30D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656A2C6F-A73A-42CC-8A95-38D5FD77ED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0D2836E2-2BF7-4F62-831E-E9213AFF77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AE19C1B6-5C1B-4B8F-A7C0-CEF0E81DB1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4D9B35D4-D394-4EF4-99BF-63173F54CD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C295D96E-63BC-449F-B1A1-4B33FB9625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857D88E5-E72E-4FA8-8C6E-368BE18772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6CB3EB6B-CD2B-4C37-A5D2-F536BE0F30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83D09CBB-2B16-4B58-A3DB-510F519645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92E3D341-9304-4EAE-A925-DC27615A97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3B171F5F-9D6A-4498-985D-F6B3F17145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6EA4C7E6-08EB-4C56-AFB3-79B8CDF85C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785E3776-3AF5-4360-B020-48E007FCC3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DACB4AF0-3B6C-4A34-BCD9-8E871B2AEF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4F0DDCF1-AAD4-4E9D-A4AC-837EB04D5B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C0444DD4-FD54-4A18-AD46-76BD350745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E1413F47-2C88-469A-AF52-BAB8EB9E7A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787FFAA1-7AE6-4A23-8944-BB8097C71E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D1EC4793-3F5C-4B0F-BAE9-75BA740D8E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0A219403-9D70-488C-842E-FAEA18CE64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EAEF1248-106A-4400-AA47-B1C0D9F8AF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B1BD2513-D767-4EF9-BA2F-B4AD49D1E3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518A6687-AEC2-403A-A557-6164520AC4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D4C86133-B314-41B3-88E5-A819393917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0A04E58C-8B2C-4CEB-8DCF-44FD5B8D2E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7.2700000000000001E-2</c:v>
                </c:pt>
                <c:pt idx="1">
                  <c:v>-3.8999999999999998E-3</c:v>
                </c:pt>
                <c:pt idx="2">
                  <c:v>0.1081</c:v>
                </c:pt>
                <c:pt idx="3">
                  <c:v>3.2800000000000003E-2</c:v>
                </c:pt>
              </c:numCache>
            </c:numRef>
          </c:xVal>
          <c:yVal>
            <c:numRef>
              <c:f>Sheet1!$B$2:$B$5</c:f>
              <c:numCache>
                <c:formatCode>General</c:formatCode>
                <c:ptCount val="4"/>
                <c:pt idx="0">
                  <c:v>0.52210000000000001</c:v>
                </c:pt>
                <c:pt idx="1">
                  <c:v>0.25659999999999999</c:v>
                </c:pt>
                <c:pt idx="2">
                  <c:v>0.46260000000000001</c:v>
                </c:pt>
                <c:pt idx="3">
                  <c:v>0.47860000000000003</c:v>
                </c:pt>
              </c:numCache>
            </c:numRef>
          </c:yVal>
          <c:bubbleSize>
            <c:numRef>
              <c:f>Sheet1!$C$2:$C$5</c:f>
              <c:numCache>
                <c:formatCode>General</c:formatCode>
                <c:ptCount val="4"/>
                <c:pt idx="0">
                  <c:v>325.47619047619048</c:v>
                </c:pt>
                <c:pt idx="1">
                  <c:v>1000.931506849315</c:v>
                </c:pt>
                <c:pt idx="2">
                  <c:v>377.28571428571422</c:v>
                </c:pt>
                <c:pt idx="3">
                  <c:v>364.28571428571428</c:v>
                </c:pt>
              </c:numCache>
            </c:numRef>
          </c:bubbleSize>
          <c:bubble3D val="0"/>
          <c:extLst>
            <c:ext xmlns:c15="http://schemas.microsoft.com/office/drawing/2012/chart" uri="{02D57815-91ED-43cb-92C2-25804820EDAC}">
              <c15:datalabelsRange>
                <c15:f>Sheet1!$E$2:$E$58</c15:f>
                <c15:dlblRangeCache>
                  <c:ptCount val="57"/>
                  <c:pt idx="0">
                    <c:v>1/2 CHAMP NICOLAS ROSE 1E C BS 1CT X 375ML</c:v>
                  </c:pt>
                  <c:pt idx="1">
                    <c:v>CHAMPAGNE E.NICOLAS ROSE 1CT X 750ML</c:v>
                  </c:pt>
                  <c:pt idx="2">
                    <c:v>CHAMPAGNE NICOLAS ROSE 1ERE ET 1CT X 750ML</c:v>
                  </c:pt>
                  <c:pt idx="3">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34DC31C5-83C1-450E-8567-63F3D8F509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20838B01-E002-481D-8441-27993B7AC6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F00BECB-CC53-4C57-A893-3C754E6529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78FF7B4-908E-4DE5-9424-CD43697A82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A29B22CD-99FC-4C86-A7DE-6EE264498A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4C9F9033-F5AA-4A25-BA45-A1300B46E8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732B1F2-F29C-4FFC-B57A-854338B2C2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C177DC0B-02CA-4DA6-AB03-B7AFF91659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57BE3DBC-8AFE-4A00-90AB-B9EF17A3E6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F90FE8BE-1C60-4A87-A52F-8C0A7637D9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16018E6-825A-44E4-A7FC-D4FB170EEF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7746E6BD-6E8A-4013-8C44-CD41C84910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41914533-734F-4879-8D2D-610B874E45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84BA493A-1E56-4A35-B1B0-875C1E3268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43AAA1B3-E3C8-4743-B601-A933A635E5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7EC49969-39F7-4F71-B151-3122321FA0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A1DE6668-1B96-447A-9415-4AFFF15FCC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9567EFE4-62D2-4EDA-93BC-1F7AD8B149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A7600DE5-8D8E-4809-9D0B-F300CF72C4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896375A4-0B18-4142-A692-598B460307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AEED0FA4-7AED-483B-91DA-12155AEE8A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F2EAFEB7-8476-4964-95CF-EEC470F9FE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1252CF0D-5B04-47EF-9A45-D0ED2FAEA6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84E5527B-71B3-47B0-88AF-820D11B476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DE1B88BF-797C-40E4-AF72-2201E5D43D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41F0867D-498D-450C-935F-D605FA8CA6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C6FFA12C-3AAC-4892-BC8F-DD8A575E8A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C7D1BC80-3774-48A7-8611-AB912BDDDC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FAA116A9-B9D1-41A9-A89B-0D643C83DF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BCB9CA76-0C72-459D-AEE2-0DE77610FF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BCB846BD-2EF0-4A5F-A989-CC735CC8FB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0D9C10A0-03E4-4C4F-89FC-3EECC47822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3893A835-EFE8-4589-BFEF-9DD5362AF5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72C3E228-31EB-4BF3-BF3D-21119D41F0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D46B6C87-83F3-4A4A-914D-2133AA2581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ADB6C443-3058-4093-B78C-C20188284E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E1737DF2-839A-4F8B-8D30-AA57B3DFBC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A1BE0F9D-4BDA-40B9-BBB1-8CF413D698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D39EB6D5-FD32-4252-955A-2459B50C2C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9862D062-4591-4CDD-BF71-399B0FE0AE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5F74625F-7706-4EAC-905B-1706974792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5558A3E8-82F3-4B2B-8FA5-CEDB787A13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5748AC98-ADB0-41A4-A552-0FE34EF130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3C1B615E-283F-4E48-B38A-2ACA05206F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058FD8BD-D810-4104-9B44-E0D7B88427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9741E278-F938-4A45-8328-2F9A128CEF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8730726F-2C67-46A1-81BB-70E14A81B7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3BCF8294-9A3B-44E8-A83C-FBDE8749F5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E075F62E-E581-40A4-906D-764983167A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4E15CCC8-9803-43B0-9E16-A3A27BD20A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D3475755-A307-4215-AF16-495AA1B506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E013E592-7FD4-4B19-9E5F-43E9286535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A517683B-C1E6-4F05-8D25-9A2FF30D9E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09C0EF1F-6FCA-4B0D-9139-15CD7D61DC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6DE8E173-13E9-4AC6-A894-575516D0FE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7C390277-4D49-4001-9D67-0323A7340C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96C67EB0-DAFA-4D2C-9E85-03DC1C0E1F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8.6699999999999999E-2</c:v>
                </c:pt>
                <c:pt idx="1">
                  <c:v>3.0999999999999999E-3</c:v>
                </c:pt>
                <c:pt idx="2">
                  <c:v>0.15390000000000001</c:v>
                </c:pt>
                <c:pt idx="3">
                  <c:v>7.0400000000000004E-2</c:v>
                </c:pt>
              </c:numCache>
            </c:numRef>
          </c:xVal>
          <c:yVal>
            <c:numRef>
              <c:f>Sheet1!$B$2:$B$5</c:f>
              <c:numCache>
                <c:formatCode>General</c:formatCode>
                <c:ptCount val="4"/>
                <c:pt idx="0">
                  <c:v>0.52200000000000002</c:v>
                </c:pt>
                <c:pt idx="1">
                  <c:v>0.25619999999999998</c:v>
                </c:pt>
                <c:pt idx="2">
                  <c:v>0.45200000000000001</c:v>
                </c:pt>
                <c:pt idx="3">
                  <c:v>0.48180000000000001</c:v>
                </c:pt>
              </c:numCache>
            </c:numRef>
          </c:yVal>
          <c:bubbleSize>
            <c:numRef>
              <c:f>Sheet1!$C$2:$C$5</c:f>
              <c:numCache>
                <c:formatCode>General</c:formatCode>
                <c:ptCount val="4"/>
                <c:pt idx="0">
                  <c:v>210.625</c:v>
                </c:pt>
                <c:pt idx="1">
                  <c:v>516.91999999999996</c:v>
                </c:pt>
                <c:pt idx="2">
                  <c:v>176.1875</c:v>
                </c:pt>
                <c:pt idx="3">
                  <c:v>272.1875</c:v>
                </c:pt>
              </c:numCache>
            </c:numRef>
          </c:bubbleSize>
          <c:bubble3D val="0"/>
          <c:extLst>
            <c:ext xmlns:c15="http://schemas.microsoft.com/office/drawing/2012/chart" uri="{02D57815-91ED-43cb-92C2-25804820EDAC}">
              <c15:datalabelsRange>
                <c15:f>Sheet1!$E$2:$E$58</c15:f>
                <c15:dlblRangeCache>
                  <c:ptCount val="57"/>
                  <c:pt idx="0">
                    <c:v>1/2 CHAMP NICOLAS ROSE 1E C BS 1CT X 375ML</c:v>
                  </c:pt>
                  <c:pt idx="1">
                    <c:v>CHAMPAGNE E.NICOLAS ROSE 1CT X 750ML</c:v>
                  </c:pt>
                  <c:pt idx="2">
                    <c:v>CHAMPAGNE NICOLAS ROSE 1ERE ET 1CT X 750ML</c:v>
                  </c:pt>
                  <c:pt idx="3">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22BFB7D-6C09-4A06-B07D-4C3FD6DFF0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DF64DEBF-C3FE-45B7-ABB8-44464C17BF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B8BE699-B931-4E4E-A063-520E3D49ED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A0ABD98-E1D4-493F-8A16-794596B0F2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6DB6380F-2667-4F13-8D13-6F5DFF574E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1108C4EA-1FC7-4520-B230-14BE16A09F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D23155E-EDD1-4293-9F0D-CFAE6DEFCC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24769400-2D6F-4051-9B7D-8346D131BA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FD3594C3-E786-46BF-94C6-9128AEE84B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5D60C0EE-11CD-4CF9-B2B0-8647E8D898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35A8B15-54FB-4E2E-BEB2-8AA0F1C476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261D949D-E4E9-4391-A441-FCE490E001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3B9EEEF2-0885-42CE-90A1-E8172EEE0B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51F25EA6-4B50-4095-922A-3123B4CE65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8347A62A-573C-4100-B530-4F126E60CA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9AA334DF-B335-43DD-A682-D5078CF3C2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866B5B33-7A34-4E49-9462-518D61AE3F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D539A2A2-C3A3-4793-9266-3FA85FFE30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A642DE27-4A33-4C83-8683-8B60BF4538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F3393C46-4C18-43E1-A3BA-8F7B2B2720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DAFF1E46-D7F2-4C03-BABD-AA7FF36282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629308DE-D4D2-4DB6-8FB6-8989CE4F6F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73C7C272-3AF2-4787-AB0F-8A4936CCD6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70310A52-B4CF-4D09-9C04-9C02526D3C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40793293-6639-4B98-AC5D-FFB09DAA5B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6AE83738-E410-4614-A7DD-14AFF10147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3BF601C6-9C1C-4256-8260-75642F4166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4A465771-089D-49DA-AEEB-B5E13C9892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BB3D68A0-140D-4C40-9B83-7A2262ED16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3DE249BD-E7E7-4AEF-927E-2C2303CE4A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189C07B7-528C-4F59-B957-7CE9A4F748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3EBB6F48-7529-4393-A6DB-6951B8AA61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89D01A2D-44F4-4D22-A85D-441F8D45F3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E9B18CBD-8E0E-41A9-814C-B26621C554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98CC2281-A971-42CC-9BFB-530323E67D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95F2591E-474A-40C0-BB25-D8B8C91B35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98D4C971-090C-450D-ACFD-50050FCD8D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EFB8A7D9-7E9A-4D67-AA7E-35857B4E44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3B0E14A4-5E8F-4BE5-AC1B-B15DB65FCD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2E131C16-B015-4C3A-A17F-91B1A7D8F2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DFFAF86F-E70C-46AE-98E7-E8A37E29E5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F28DA093-AC12-4907-96A4-D255F69EBD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AEB0710F-A702-4C5E-8D52-3D73F6CA74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FC067314-CA70-4D07-95F4-4070B80CCE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583DE714-1A81-43B2-ABE7-4B52268659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567C2475-A4C7-4195-A4DC-9405F41A2A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62BD6728-099A-4D25-A2CF-9B79EB21FD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36AEAAA2-DF75-422E-9A4E-CBFE107239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89869F8A-EA30-4DE1-8BF3-7CBE07D116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D217BBB0-2CB4-4472-A041-6E5E50B071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F8D93A4E-0FF0-4E6D-9F49-51AC882069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D2BBE0DD-0BDF-4AA2-B163-AB48151175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93128FBF-3BD9-4EFC-A388-2BEE5294C6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153AD557-47F5-416C-9092-F86DA90508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E9973409-ECA8-422A-8CE3-D850324D5F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E7F758CE-D72C-45C8-B4DC-FA14562771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B104E62E-1AE8-4AB8-B5D7-564CE719E0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7.3800000000000004E-2</c:v>
                </c:pt>
                <c:pt idx="1">
                  <c:v>1.6000000000000001E-3</c:v>
                </c:pt>
                <c:pt idx="2">
                  <c:v>0.1424</c:v>
                </c:pt>
                <c:pt idx="3">
                  <c:v>0.15690000000000001</c:v>
                </c:pt>
                <c:pt idx="4">
                  <c:v>6.0999999999999999E-2</c:v>
                </c:pt>
              </c:numCache>
            </c:numRef>
          </c:xVal>
          <c:yVal>
            <c:numRef>
              <c:f>Sheet1!$B$2:$B$6</c:f>
              <c:numCache>
                <c:formatCode>General</c:formatCode>
                <c:ptCount val="5"/>
                <c:pt idx="0">
                  <c:v>0.52090000000000003</c:v>
                </c:pt>
                <c:pt idx="1">
                  <c:v>0.25609999999999999</c:v>
                </c:pt>
                <c:pt idx="2">
                  <c:v>0.48949999999999999</c:v>
                </c:pt>
                <c:pt idx="3">
                  <c:v>0.4652</c:v>
                </c:pt>
                <c:pt idx="4">
                  <c:v>0.48060000000000003</c:v>
                </c:pt>
              </c:numCache>
            </c:numRef>
          </c:yVal>
          <c:bubbleSize>
            <c:numRef>
              <c:f>Sheet1!$C$2:$C$6</c:f>
              <c:numCache>
                <c:formatCode>General</c:formatCode>
                <c:ptCount val="5"/>
                <c:pt idx="0">
                  <c:v>500.30434782608688</c:v>
                </c:pt>
                <c:pt idx="1">
                  <c:v>1071.7678571428571</c:v>
                </c:pt>
                <c:pt idx="2">
                  <c:v>391.66666666666669</c:v>
                </c:pt>
                <c:pt idx="3">
                  <c:v>392.11111111111109</c:v>
                </c:pt>
                <c:pt idx="4">
                  <c:v>517.75</c:v>
                </c:pt>
              </c:numCache>
            </c:numRef>
          </c:bubbleSize>
          <c:bubble3D val="0"/>
          <c:extLst>
            <c:ext xmlns:c15="http://schemas.microsoft.com/office/drawing/2012/chart" uri="{02D57815-91ED-43cb-92C2-25804820EDAC}">
              <c15:datalabelsRange>
                <c15:f>Sheet1!$E$2:$E$58</c15:f>
                <c15:dlblRangeCache>
                  <c:ptCount val="57"/>
                  <c:pt idx="0">
                    <c:v>1/2 CHAMP NICOLAS ROSE 1E C BS 1CT X 375ML</c:v>
                  </c:pt>
                  <c:pt idx="1">
                    <c:v>CHAMPAGNE E.NICOLAS ROSE 1CT X 750ML</c:v>
                  </c:pt>
                  <c:pt idx="2">
                    <c:v>CHAMPAGNE NICOLAS ROSE 1E C BS 1CT X 750ML</c:v>
                  </c:pt>
                  <c:pt idx="3">
                    <c:v>CHAMPAGNE NICOLAS ROSE 1ERE ET 1CT X 750ML</c:v>
                  </c:pt>
                  <c:pt idx="4">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0D055F75-0E19-4C95-9460-36AF21968D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3BA970BB-B67A-41CA-9F15-966EF34572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485D8FC-6212-4267-A03B-D264FD5BA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E1FE60AF-B170-4B9C-BF20-85CAD4CD9C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DD5B55FA-2261-4744-B341-BFEC2F2AF9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9B80A0AC-E1DA-47B0-8745-E5C9952DBA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D9E0C8D8-83F7-43F8-B3A9-C1457B76DD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A36B4E1A-605C-4C0D-90D6-4501BD9245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5017</c:v>
                </c:pt>
                <c:pt idx="1">
                  <c:v>46.3812</c:v>
                </c:pt>
                <c:pt idx="2">
                  <c:v>23.111799999999999</c:v>
                </c:pt>
              </c:numCache>
            </c:numRef>
          </c:xVal>
          <c:yVal>
            <c:numRef>
              <c:f>Sheet1!$B$2:$B$4</c:f>
              <c:numCache>
                <c:formatCode>General</c:formatCode>
                <c:ptCount val="3"/>
                <c:pt idx="0">
                  <c:v>0.50039999999999996</c:v>
                </c:pt>
                <c:pt idx="1">
                  <c:v>0.40039999999999998</c:v>
                </c:pt>
                <c:pt idx="2">
                  <c:v>0.52359999999999995</c:v>
                </c:pt>
              </c:numCache>
            </c:numRef>
          </c:yVal>
          <c:bubbleSize>
            <c:numRef>
              <c:f>Sheet1!$C$2:$C$4</c:f>
              <c:numCache>
                <c:formatCode>General</c:formatCode>
                <c:ptCount val="3"/>
                <c:pt idx="0">
                  <c:v>665789.91659999976</c:v>
                </c:pt>
                <c:pt idx="1">
                  <c:v>9127076.6103999969</c:v>
                </c:pt>
                <c:pt idx="2">
                  <c:v>88841.785500000013</c:v>
                </c:pt>
              </c:numCache>
            </c:numRef>
          </c:bubbleSize>
          <c:bubble3D val="0"/>
          <c:extLst>
            <c:ext xmlns:c15="http://schemas.microsoft.com/office/drawing/2012/chart" uri="{02D57815-91ED-43cb-92C2-25804820EDAC}">
              <c15:datalabelsRange>
                <c15:f>Sheet1!$E$2:$E$29</c15:f>
                <c15:dlblRangeCache>
                  <c:ptCount val="28"/>
                  <c:pt idx="0">
                    <c:v>Mousseux</c:v>
                  </c:pt>
                  <c:pt idx="1">
                    <c:v>Champagnes</c:v>
                  </c:pt>
                  <c:pt idx="2">
                    <c:v>Effervescents Sans Alcool</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5.657440000000001"/>
          <c:min val="9.2013599999999993"/>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824523254299405"/>
        <c:crossBetween val="midCat"/>
      </c:valAx>
      <c:valAx>
        <c:axId val="1011451359"/>
        <c:scaling>
          <c:orientation val="minMax"/>
          <c:max val="0.98831999999999987"/>
          <c:min val="8.0320000000000003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3.82195481285226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EE41F7D2-8D03-46DD-A6ED-A750D11F81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F67544F1-CC50-4552-BC73-76E658F273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A442BEB-B62F-4CB8-92AA-46B9F181B8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ACF99F7-540D-4347-BFE1-2095304570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361CEC2B-E6DF-4E60-848E-CC6767C1A4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045EA3E5-4089-4577-A034-CCA807C859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51CE7A9-73BD-432D-9BC0-C33136D912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93716BB5-2CE0-4BFF-A3BE-30528BFB3D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9B0DC8B5-80C5-471D-9E9B-997D28FA5A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BE1DD3F9-647D-41AC-BAC3-A42619B454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D7EDEA8-5782-4816-997B-E3AF02788A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A4B0819B-9E52-4E14-9435-3971807A57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FC42A545-AE15-4FAD-BC7F-9A59809DB9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453AE1A1-08E8-4701-BB85-51D14FBA75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8457115B-29EF-405B-AD84-AACC7BE0C3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053C7F70-6C2A-45B8-A3EE-0F7FDA926E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DCA0E143-700B-4D84-8AA5-307E42A452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27DF9AEC-32C6-4128-999C-DE29817204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D2111858-A39D-43AC-9B08-B4D2D6A7C2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F2EAFCC4-6AC9-4A9B-9437-E99724A3B4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30F22C19-8C81-4537-A417-5A9ECC0EDB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4B964952-A4DB-4B74-B054-7C58158C66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A2DC3C9B-2113-4DF4-BAA3-B2F270B43B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F1F5E1CF-4C34-411E-9F8F-B33E866BA2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28581087-413C-47D8-9DD8-DF77505B09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7AA257A1-A89A-407A-A833-0C0E91108C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82F9D9AD-DAFA-48A5-A458-C7575C29B9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BDCD3D28-D676-4F44-AF94-A211A5CBD7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DF2979BB-C37E-42D2-96FF-244E21E842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286969B4-FD82-45BB-A2C6-EAD6D42595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7126B288-AE52-4207-B60C-663C677DED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36002F56-07EB-40E3-A950-B60E9B1E16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E905F038-CB23-432A-9B61-E98D0CFA46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FE06C3AC-CE22-4CE2-A6E6-67FB99519A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D4776BE2-89CA-4019-B6F2-B6BF5C4AC4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60E2BA9D-83CC-45A7-A2F2-410F939DBF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AE232561-39FA-45E6-89C0-6266420147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98AB7035-C37A-4346-9186-4618E81C1E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DBBD78F0-C847-4D49-840C-C2FEC2449B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82E95F3B-D5E3-4BC5-9B3F-75D111D49C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A9DA2099-8532-4565-8B90-67FCFC8908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276F3EC2-B4A7-4819-9EA9-3578FC9D84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9D8222FA-8717-4285-A6FB-97FB5E1FBB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84C24EA7-8282-4631-BCAF-D66DA80AAE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62DE890E-E60B-40BC-A1EA-D911B20D52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D0408D10-5849-4786-B226-3EB4A6EDC8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4174042B-BE1A-4AE5-A161-8E94F74B3F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B049CE04-A768-41F8-ABF6-8C0D55F0C1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D6015A3E-70D9-4F34-AB11-4702848168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DBBF8DD3-4FCC-41AB-917D-42CDB05029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6EAF0999-B2BA-4407-B7A9-5B5A5B262B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9AF6A1E8-4D2C-429C-8459-0057F994D0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BA923292-2B55-4E8F-AE62-C1CDB31B19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9B4EA78B-2A82-4E48-A356-54A814BBDA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2FAABD10-F8F9-4666-99ED-026E316D6A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D2BD4397-A9B4-4233-8B35-F45FB680F1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6D7D83E2-D4E6-48C7-9000-0E95B65977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8.3099999999999993E-2</c:v>
                </c:pt>
                <c:pt idx="1">
                  <c:v>2.9999999999999997E-4</c:v>
                </c:pt>
                <c:pt idx="2">
                  <c:v>0.13300000000000001</c:v>
                </c:pt>
                <c:pt idx="3">
                  <c:v>5.4399999999999997E-2</c:v>
                </c:pt>
              </c:numCache>
            </c:numRef>
          </c:xVal>
          <c:yVal>
            <c:numRef>
              <c:f>Sheet1!$B$2:$B$5</c:f>
              <c:numCache>
                <c:formatCode>General</c:formatCode>
                <c:ptCount val="4"/>
                <c:pt idx="0">
                  <c:v>0.52390000000000003</c:v>
                </c:pt>
                <c:pt idx="1">
                  <c:v>0.25650000000000001</c:v>
                </c:pt>
                <c:pt idx="2">
                  <c:v>0.4889</c:v>
                </c:pt>
                <c:pt idx="3">
                  <c:v>0.4829</c:v>
                </c:pt>
              </c:numCache>
            </c:numRef>
          </c:yVal>
          <c:bubbleSize>
            <c:numRef>
              <c:f>Sheet1!$C$2:$C$5</c:f>
              <c:numCache>
                <c:formatCode>General</c:formatCode>
                <c:ptCount val="4"/>
                <c:pt idx="0">
                  <c:v>464.65</c:v>
                </c:pt>
                <c:pt idx="1">
                  <c:v>1188.088888888889</c:v>
                </c:pt>
                <c:pt idx="2">
                  <c:v>839.75</c:v>
                </c:pt>
                <c:pt idx="3">
                  <c:v>480.29411764705878</c:v>
                </c:pt>
              </c:numCache>
            </c:numRef>
          </c:bubbleSize>
          <c:bubble3D val="0"/>
          <c:extLst>
            <c:ext xmlns:c15="http://schemas.microsoft.com/office/drawing/2012/chart" uri="{02D57815-91ED-43cb-92C2-25804820EDAC}">
              <c15:datalabelsRange>
                <c15:f>Sheet1!$E$2:$E$58</c15:f>
                <c15:dlblRangeCache>
                  <c:ptCount val="57"/>
                  <c:pt idx="0">
                    <c:v>1/2 CHAMP NICOLAS ROSE 1E C BS 1CT X 375ML</c:v>
                  </c:pt>
                  <c:pt idx="1">
                    <c:v>CHAMPAGNE E.NICOLAS ROSE 1CT X 750ML</c:v>
                  </c:pt>
                  <c:pt idx="2">
                    <c:v>CHAMPAGNE NICOLAS ROSE 1E C BS 1CT X 750ML</c:v>
                  </c:pt>
                  <c:pt idx="3">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FD167C65-9113-49FA-8B05-C86907D75F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3ED0C480-E251-4F37-9351-D75AEA56CE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981C24C-EAD3-4E82-9B91-B0BF72EC3C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0D1A225-F463-46CD-BEEB-BB2F4CD2EA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0BDC1185-DD62-46A4-8704-41850E5703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CA96E1B9-AEAF-4C66-93B2-D2DEFE9D9C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6370583-E9B4-46A9-BFA6-870915C631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373D673E-CC83-4DA8-A05D-212CEE8B20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722F49F2-D7C9-4A3A-972B-5C02411F96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13FADB9A-B84F-4F28-ABDD-F98B72E8A7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C34EE15-4B07-4F9A-94E0-4225C9468F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093E64AC-14E5-4A79-A17F-8583026C6E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578D85DE-E602-49E5-A7E2-4BA829FA5B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63493229-4813-402D-B3A9-52ABC0400A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51DE04B2-A742-44F5-A306-BEC83E9C96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0D0C687D-E8DB-453C-BAEF-919D0C54C2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DA25A874-8989-45D3-B0DD-B968EBFEBC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2C468629-1992-4667-A68A-7D84685B91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BFC5C43E-134C-4D59-B145-E23DD974BA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A8F57701-85FF-48B5-B0B8-9116C821C4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CB1EAFF6-E719-49A5-9C6F-01204E9F26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68FBCBF3-F98B-4546-A84D-BBB3B84972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02FD8B87-6740-4ED3-AD41-94D29FA422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DBC71658-9C9D-41FA-987B-BB2B61B51A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2C4F51FF-FC16-4678-B799-E80C85EC1B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152E79A7-882C-41F9-A223-79388108AA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6063BA90-1B77-4388-9F0D-F51F8D1E4B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64586742-8B95-485E-BB89-3AFF6D5DE1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D052B35A-F828-4B1E-9D57-2EF81283D1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3012F0BB-2DD3-42CD-A8F1-86AD384656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22EB0275-7BD8-426F-BBC9-62B7033B0B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F73A4DBA-45A9-4BAE-8B5D-CBE618C72F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E9A84504-5E5D-4003-8029-3F3F53DEB0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2FE9B611-136E-4A2D-820A-83B7FF1FEC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C94F243B-F22D-4F81-91C4-E2BF27A266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62FEE27B-DEA9-440F-82D9-3AF2B8DEF0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8D860AA6-7AAD-4AC6-B4EF-F04FB5DF5C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F806F9CA-4FAB-4ACE-8694-A34757FA32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CD25A6CA-0733-4447-806E-5A3A64BAA1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99FF8110-0A64-4E4C-8254-9C832822E5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C70D4FC7-2A12-4B97-9217-25242E762F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21EFDD1D-B8C9-4B85-B627-08206FF82A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91383EE9-4F36-4135-BB25-965C122919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71758F89-1127-468E-8324-E2A87A859D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305C37F5-C2F2-402D-899A-ACCCD353A3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5AE1EC6F-39A7-4032-ACC9-12387F2853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4CDE6CAB-2119-4784-BFC9-43E05633E2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3ADD381F-554D-4199-A1B5-4F7B36E3F2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471B807D-8572-4547-89C9-ACA582800F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21F51B22-3FD4-4437-8EE5-161ADE0ECB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2F5A7788-8FFF-4A4C-BC4A-9D922E3F42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BA3026EC-9C28-4DF6-9F8B-5982A567AB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4D8CAB79-DC09-4D38-AAAB-4E1B95C338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1318AAAE-9A29-4185-A7D2-75D32D13CB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5432B077-49C9-492B-B20C-59063DD123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BF35F3A6-739E-40F0-988D-DFF65C5C12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0C99A0E1-5758-4FC1-8614-D6685DCA37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8.2600000000000007E-2</c:v>
                </c:pt>
                <c:pt idx="1">
                  <c:v>2.0999999999999999E-3</c:v>
                </c:pt>
                <c:pt idx="2">
                  <c:v>7.9799999999999996E-2</c:v>
                </c:pt>
                <c:pt idx="3">
                  <c:v>0.1055</c:v>
                </c:pt>
                <c:pt idx="4">
                  <c:v>5.16E-2</c:v>
                </c:pt>
              </c:numCache>
            </c:numRef>
          </c:xVal>
          <c:yVal>
            <c:numRef>
              <c:f>Sheet1!$B$2:$B$6</c:f>
              <c:numCache>
                <c:formatCode>General</c:formatCode>
                <c:ptCount val="5"/>
                <c:pt idx="0">
                  <c:v>0.52200000000000002</c:v>
                </c:pt>
                <c:pt idx="1">
                  <c:v>0.25659999999999999</c:v>
                </c:pt>
                <c:pt idx="2">
                  <c:v>0.4839</c:v>
                </c:pt>
                <c:pt idx="3">
                  <c:v>0.46800000000000003</c:v>
                </c:pt>
                <c:pt idx="4">
                  <c:v>0.48309999999999997</c:v>
                </c:pt>
              </c:numCache>
            </c:numRef>
          </c:yVal>
          <c:bubbleSize>
            <c:numRef>
              <c:f>Sheet1!$C$2:$C$6</c:f>
              <c:numCache>
                <c:formatCode>General</c:formatCode>
                <c:ptCount val="5"/>
                <c:pt idx="0">
                  <c:v>442.88888888888891</c:v>
                </c:pt>
                <c:pt idx="1">
                  <c:v>999.24528301886789</c:v>
                </c:pt>
                <c:pt idx="2">
                  <c:v>249</c:v>
                </c:pt>
                <c:pt idx="3">
                  <c:v>628</c:v>
                </c:pt>
                <c:pt idx="4">
                  <c:v>494.53571428571422</c:v>
                </c:pt>
              </c:numCache>
            </c:numRef>
          </c:bubbleSize>
          <c:bubble3D val="0"/>
          <c:extLst>
            <c:ext xmlns:c15="http://schemas.microsoft.com/office/drawing/2012/chart" uri="{02D57815-91ED-43cb-92C2-25804820EDAC}">
              <c15:datalabelsRange>
                <c15:f>Sheet1!$E$2:$E$58</c15:f>
                <c15:dlblRangeCache>
                  <c:ptCount val="57"/>
                  <c:pt idx="0">
                    <c:v>1/2 CHAMP NICOLAS ROSE 1E C BS 1CT X 375ML</c:v>
                  </c:pt>
                  <c:pt idx="1">
                    <c:v>CHAMPAGNE E.NICOLAS ROSE 1CT X 750ML</c:v>
                  </c:pt>
                  <c:pt idx="2">
                    <c:v>CHAMPAGNE NICOLAS ROSE 1E C BS 1CT X 750ML</c:v>
                  </c:pt>
                  <c:pt idx="3">
                    <c:v>CHAMPAGNE NICOLAS ROSE 1ERE ET 1CT X 750ML</c:v>
                  </c:pt>
                  <c:pt idx="4">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4B9D3461-429F-4029-A237-2EC043E98E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AD58AAE0-3B2E-43E4-827F-4DA0D9CBB4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095FACC5-3A92-4BD0-90B2-96C2C61D1C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42A703D-5206-48C8-86F4-32EFD5F1D7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8D0CF796-18DF-4AE0-9D12-29AA5C143E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4494086A-36B1-4602-97B0-BE20FA7E31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E83C6945-751F-4A23-81E6-8FBE13D674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D48A8A53-8976-4BC6-9C29-3D7F3BE147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809</c:v>
                </c:pt>
                <c:pt idx="1">
                  <c:v>45.713500000000003</c:v>
                </c:pt>
                <c:pt idx="2">
                  <c:v>21.971</c:v>
                </c:pt>
              </c:numCache>
            </c:numRef>
          </c:xVal>
          <c:yVal>
            <c:numRef>
              <c:f>Sheet1!$B$2:$B$4</c:f>
              <c:numCache>
                <c:formatCode>General</c:formatCode>
                <c:ptCount val="3"/>
                <c:pt idx="0">
                  <c:v>0.49640000000000001</c:v>
                </c:pt>
                <c:pt idx="1">
                  <c:v>0.39850000000000002</c:v>
                </c:pt>
                <c:pt idx="2">
                  <c:v>0.52190000000000003</c:v>
                </c:pt>
              </c:numCache>
            </c:numRef>
          </c:yVal>
          <c:bubbleSize>
            <c:numRef>
              <c:f>Sheet1!$C$2:$C$4</c:f>
              <c:numCache>
                <c:formatCode>General</c:formatCode>
                <c:ptCount val="3"/>
                <c:pt idx="0">
                  <c:v>655621.05450000032</c:v>
                </c:pt>
                <c:pt idx="1">
                  <c:v>8278718.1804000046</c:v>
                </c:pt>
                <c:pt idx="2">
                  <c:v>77953.170400000032</c:v>
                </c:pt>
              </c:numCache>
            </c:numRef>
          </c:bubbleSize>
          <c:bubble3D val="0"/>
          <c:extLst>
            <c:ext xmlns:c15="http://schemas.microsoft.com/office/drawing/2012/chart" uri="{02D57815-91ED-43cb-92C2-25804820EDAC}">
              <c15:datalabelsRange>
                <c15:f>Sheet1!$E$2:$E$29</c15:f>
                <c15:dlblRangeCache>
                  <c:ptCount val="28"/>
                  <c:pt idx="0">
                    <c:v>Mousseux</c:v>
                  </c:pt>
                  <c:pt idx="1">
                    <c:v>Champagnes</c:v>
                  </c:pt>
                  <c:pt idx="2">
                    <c:v>Effervescents Sans Alcool</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4.856200000000001"/>
          <c:min val="9.1047200000000004"/>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668933953136127"/>
        <c:crossBetween val="midCat"/>
      </c:valAx>
      <c:valAx>
        <c:axId val="1011451359"/>
        <c:scaling>
          <c:orientation val="minMax"/>
          <c:max val="0.98628000000000005"/>
          <c:min val="7.8800000000000037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3.01052749661973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61635B04-E736-4432-AC60-285A0D1F60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F2525560-44C6-4DAB-BB8B-A78A9638A7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2C8C361-4539-4369-BE17-0E0E4638E6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8B1090C-10ED-41E0-B9BE-1AFE215B94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66DB074C-B47F-4743-B477-69312847BC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C361A6F1-B299-432F-95E4-F3151BDC21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8A32EE66-7E40-468F-9221-6DAAC68B75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FD278BCF-1AA3-43BC-93EB-1E5EBA68EB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2826</c:v>
                </c:pt>
                <c:pt idx="1">
                  <c:v>46.651800000000001</c:v>
                </c:pt>
                <c:pt idx="2">
                  <c:v>24.279900000000001</c:v>
                </c:pt>
              </c:numCache>
            </c:numRef>
          </c:xVal>
          <c:yVal>
            <c:numRef>
              <c:f>Sheet1!$B$2:$B$4</c:f>
              <c:numCache>
                <c:formatCode>General</c:formatCode>
                <c:ptCount val="3"/>
                <c:pt idx="0">
                  <c:v>0.51500000000000001</c:v>
                </c:pt>
                <c:pt idx="1">
                  <c:v>0.39889999999999998</c:v>
                </c:pt>
                <c:pt idx="2">
                  <c:v>0.53339999999999999</c:v>
                </c:pt>
              </c:numCache>
            </c:numRef>
          </c:yVal>
          <c:bubbleSize>
            <c:numRef>
              <c:f>Sheet1!$C$2:$C$4</c:f>
              <c:numCache>
                <c:formatCode>General</c:formatCode>
                <c:ptCount val="3"/>
                <c:pt idx="0">
                  <c:v>771320.52200000011</c:v>
                </c:pt>
                <c:pt idx="1">
                  <c:v>11451330.409499999</c:v>
                </c:pt>
                <c:pt idx="2">
                  <c:v>124580.4051</c:v>
                </c:pt>
              </c:numCache>
            </c:numRef>
          </c:bubbleSize>
          <c:bubble3D val="0"/>
          <c:extLst>
            <c:ext xmlns:c15="http://schemas.microsoft.com/office/drawing/2012/chart" uri="{02D57815-91ED-43cb-92C2-25804820EDAC}">
              <c15:datalabelsRange>
                <c15:f>Sheet1!$E$2:$E$29</c15:f>
                <c15:dlblRangeCache>
                  <c:ptCount val="28"/>
                  <c:pt idx="0">
                    <c:v>Mousseux</c:v>
                  </c:pt>
                  <c:pt idx="1">
                    <c:v>Champagnes</c:v>
                  </c:pt>
                  <c:pt idx="2">
                    <c:v>Effervescents Sans Alcool</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5.98216"/>
          <c:min val="9.0260800000000003"/>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750973397129392"/>
        <c:crossBetween val="midCat"/>
      </c:valAx>
      <c:valAx>
        <c:axId val="1011451359"/>
        <c:scaling>
          <c:orientation val="minMax"/>
          <c:max val="1.0000799999999999"/>
          <c:min val="7.9119999999999996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4.21659089506888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E6E5E5"/>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spPr>
              <a:solidFill>
                <a:srgbClr val="FF8080"/>
              </a:solidFill>
            </c:spPr>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006C6D"/>
              </a:solidFill>
            </c:spPr>
            <c:extLst>
              <c:ext xmlns:c16="http://schemas.microsoft.com/office/drawing/2014/chart" uri="{C3380CC4-5D6E-409C-BE32-E72D297353CC}">
                <c16:uniqueId val="{0000000D-7D2A-4F1E-BC80-EAAAE9B08A80}"/>
              </c:ext>
            </c:extLst>
          </c:dPt>
          <c:dPt>
            <c:idx val="8"/>
            <c:invertIfNegative val="1"/>
            <c:bubble3D val="0"/>
            <c:spPr>
              <a:solidFill>
                <a:srgbClr val="FF8080"/>
              </a:solidFill>
            </c:spPr>
            <c:extLst>
              <c:ext xmlns:c16="http://schemas.microsoft.com/office/drawing/2014/chart" uri="{C3380CC4-5D6E-409C-BE32-E72D297353CC}">
                <c16:uniqueId val="{00000011-78D1-41D4-ABFA-320BD44357BD}"/>
              </c:ext>
            </c:extLst>
          </c:dPt>
          <c:dPt>
            <c:idx val="9"/>
            <c:invertIfNegative val="1"/>
            <c:bubble3D val="0"/>
            <c:spPr>
              <a:solidFill>
                <a:srgbClr val="E6E5E5"/>
              </a:solidFill>
            </c:spPr>
            <c:extLst>
              <c:ext xmlns:c16="http://schemas.microsoft.com/office/drawing/2014/chart" uri="{C3380CC4-5D6E-409C-BE32-E72D297353CC}">
                <c16:uniqueId val="{00000013-78D1-41D4-ABFA-320BD44357BD}"/>
              </c:ext>
            </c:extLst>
          </c:dPt>
          <c:dPt>
            <c:idx val="10"/>
            <c:invertIfNegative val="1"/>
            <c:bubble3D val="0"/>
            <c:spPr>
              <a:solidFill>
                <a:srgbClr val="FF8080"/>
              </a:solidFill>
            </c:spPr>
            <c:extLst>
              <c:ext xmlns:c16="http://schemas.microsoft.com/office/drawing/2014/chart" uri="{C3380CC4-5D6E-409C-BE32-E72D297353CC}">
                <c16:uniqueId val="{00000015-78D1-41D4-ABFA-320BD44357BD}"/>
              </c:ext>
            </c:extLst>
          </c:dPt>
          <c:dPt>
            <c:idx val="11"/>
            <c:invertIfNegative val="1"/>
            <c:bubble3D val="0"/>
            <c:spPr>
              <a:solidFill>
                <a:srgbClr val="006C6D"/>
              </a:solidFill>
            </c:spPr>
            <c:extLst>
              <c:ext xmlns:c16="http://schemas.microsoft.com/office/drawing/2014/chart" uri="{C3380CC4-5D6E-409C-BE32-E72D297353CC}">
                <c16:uniqueId val="{00000017-78D1-41D4-ABFA-320BD44357BD}"/>
              </c:ext>
            </c:extLst>
          </c:dPt>
          <c:dPt>
            <c:idx val="12"/>
            <c:invertIfNegative val="1"/>
            <c:bubble3D val="0"/>
            <c:spPr>
              <a:solidFill>
                <a:srgbClr val="006C6D"/>
              </a:solidFill>
            </c:spPr>
            <c:extLst>
              <c:ext xmlns:c16="http://schemas.microsoft.com/office/drawing/2014/chart" uri="{C3380CC4-5D6E-409C-BE32-E72D297353CC}">
                <c16:uniqueId val="{00000019-524D-4DA8-9613-98E5141B9F4C}"/>
              </c:ext>
            </c:extLst>
          </c:dPt>
          <c:dPt>
            <c:idx val="13"/>
            <c:invertIfNegative val="1"/>
            <c:bubble3D val="0"/>
            <c:spPr>
              <a:solidFill>
                <a:srgbClr val="7ECAC4"/>
              </a:solidFill>
            </c:spPr>
            <c:extLst>
              <c:ext xmlns:c16="http://schemas.microsoft.com/office/drawing/2014/chart" uri="{C3380CC4-5D6E-409C-BE32-E72D297353CC}">
                <c16:uniqueId val="{0000001B-524D-4DA8-9613-98E5141B9F4C}"/>
              </c:ext>
            </c:extLst>
          </c:dPt>
          <c:dPt>
            <c:idx val="14"/>
            <c:invertIfNegative val="1"/>
            <c:bubble3D val="0"/>
            <c:spPr>
              <a:solidFill>
                <a:srgbClr val="FF8080"/>
              </a:solidFill>
            </c:spPr>
            <c:extLst>
              <c:ext xmlns:c16="http://schemas.microsoft.com/office/drawing/2014/chart" uri="{C3380CC4-5D6E-409C-BE32-E72D297353CC}">
                <c16:uniqueId val="{0000001D-524D-4DA8-9613-98E5141B9F4C}"/>
              </c:ext>
            </c:extLst>
          </c:dPt>
          <c:dPt>
            <c:idx val="15"/>
            <c:invertIfNegative val="1"/>
            <c:bubble3D val="0"/>
            <c:spPr>
              <a:solidFill>
                <a:srgbClr val="006C6D"/>
              </a:solidFill>
            </c:spPr>
            <c:extLst>
              <c:ext xmlns:c16="http://schemas.microsoft.com/office/drawing/2014/chart" uri="{C3380CC4-5D6E-409C-BE32-E72D297353CC}">
                <c16:uniqueId val="{0000001F-524D-4DA8-9613-98E5141B9F4C}"/>
              </c:ext>
            </c:extLst>
          </c:dPt>
          <c:dLbls>
            <c:dLbl>
              <c:idx val="0"/>
              <c:tx>
                <c:rich>
                  <a:bodyPr/>
                  <a:lstStyle/>
                  <a:p>
                    <a:fld id="{17682600-1858-4515-A00F-281AF90898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C5BC2D2B-332F-4C07-8D8E-5DB80FD9EB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DF40CFF8-3EF3-4703-BEE7-A18B601EF8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CCE92AF9-5F8A-4CBC-B2A1-BA6BD50BBA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95232244-B85B-44C6-9322-14038275DA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9900D6A5-F073-4921-B4B6-F4D65EFDF6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7BD67F92-B396-4A61-AD38-B66EEF680E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6DCDBD62-B7B6-46D0-848A-B5D5CC7694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dLbl>
              <c:idx val="8"/>
              <c:tx>
                <c:rich>
                  <a:bodyPr/>
                  <a:lstStyle/>
                  <a:p>
                    <a:fld id="{C1E83B69-3AD8-4585-8B42-B2774D19E6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78D1-41D4-ABFA-320BD44357BD}"/>
                </c:ext>
              </c:extLst>
            </c:dLbl>
            <c:dLbl>
              <c:idx val="9"/>
              <c:tx>
                <c:rich>
                  <a:bodyPr/>
                  <a:lstStyle/>
                  <a:p>
                    <a:fld id="{0DD6BF1A-F427-4782-B2D6-A757096E3F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78D1-41D4-ABFA-320BD44357BD}"/>
                </c:ext>
              </c:extLst>
            </c:dLbl>
            <c:dLbl>
              <c:idx val="10"/>
              <c:tx>
                <c:rich>
                  <a:bodyPr/>
                  <a:lstStyle/>
                  <a:p>
                    <a:fld id="{1F17B0BB-C271-464F-95CB-3CADAC6751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78D1-41D4-ABFA-320BD44357BD}"/>
                </c:ext>
              </c:extLst>
            </c:dLbl>
            <c:dLbl>
              <c:idx val="11"/>
              <c:tx>
                <c:rich>
                  <a:bodyPr/>
                  <a:lstStyle/>
                  <a:p>
                    <a:fld id="{561F73D4-AC7B-43B8-BCA6-127AAFACB7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78D1-41D4-ABFA-320BD44357BD}"/>
                </c:ext>
              </c:extLst>
            </c:dLbl>
            <c:dLbl>
              <c:idx val="12"/>
              <c:tx>
                <c:rich>
                  <a:bodyPr/>
                  <a:lstStyle/>
                  <a:p>
                    <a:fld id="{4C6B7B25-46FA-404C-AAE5-C893F1D9C6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524D-4DA8-9613-98E5141B9F4C}"/>
                </c:ext>
              </c:extLst>
            </c:dLbl>
            <c:dLbl>
              <c:idx val="13"/>
              <c:tx>
                <c:rich>
                  <a:bodyPr/>
                  <a:lstStyle/>
                  <a:p>
                    <a:fld id="{3727080E-2101-44B1-8083-C2C8F6596D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524D-4DA8-9613-98E5141B9F4C}"/>
                </c:ext>
              </c:extLst>
            </c:dLbl>
            <c:dLbl>
              <c:idx val="14"/>
              <c:tx>
                <c:rich>
                  <a:bodyPr/>
                  <a:lstStyle/>
                  <a:p>
                    <a:fld id="{FB0BC0FC-20E6-4F34-B13B-F3A79DACA6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524D-4DA8-9613-98E5141B9F4C}"/>
                </c:ext>
              </c:extLst>
            </c:dLbl>
            <c:dLbl>
              <c:idx val="15"/>
              <c:tx>
                <c:rich>
                  <a:bodyPr/>
                  <a:lstStyle/>
                  <a:p>
                    <a:fld id="{554ED6B5-DEDC-4730-91C4-FE5E2E9E35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524D-4DA8-9613-98E5141B9F4C}"/>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7</c:f>
              <c:numCache>
                <c:formatCode>General</c:formatCode>
                <c:ptCount val="16"/>
                <c:pt idx="0">
                  <c:v>12.01</c:v>
                </c:pt>
                <c:pt idx="1">
                  <c:v>9.6655999999999995</c:v>
                </c:pt>
                <c:pt idx="2">
                  <c:v>12.5802</c:v>
                </c:pt>
                <c:pt idx="3">
                  <c:v>10.728899999999999</c:v>
                </c:pt>
                <c:pt idx="4">
                  <c:v>13.3978</c:v>
                </c:pt>
                <c:pt idx="5">
                  <c:v>18.767900000000001</c:v>
                </c:pt>
                <c:pt idx="6">
                  <c:v>43.802</c:v>
                </c:pt>
                <c:pt idx="7">
                  <c:v>24.6859</c:v>
                </c:pt>
                <c:pt idx="8">
                  <c:v>62.845300000000002</c:v>
                </c:pt>
                <c:pt idx="9">
                  <c:v>43.801099999999998</c:v>
                </c:pt>
                <c:pt idx="10">
                  <c:v>88.02</c:v>
                </c:pt>
                <c:pt idx="11">
                  <c:v>178.27359999999999</c:v>
                </c:pt>
                <c:pt idx="12">
                  <c:v>40.065300000000001</c:v>
                </c:pt>
                <c:pt idx="13">
                  <c:v>37.0197</c:v>
                </c:pt>
                <c:pt idx="14">
                  <c:v>33.459000000000003</c:v>
                </c:pt>
                <c:pt idx="15">
                  <c:v>52.847000000000001</c:v>
                </c:pt>
              </c:numCache>
            </c:numRef>
          </c:xVal>
          <c:yVal>
            <c:numRef>
              <c:f>Sheet1!$B$2:$B$17</c:f>
              <c:numCache>
                <c:formatCode>General</c:formatCode>
                <c:ptCount val="16"/>
                <c:pt idx="0">
                  <c:v>0.44059999999999999</c:v>
                </c:pt>
                <c:pt idx="1">
                  <c:v>0.54279999999999995</c:v>
                </c:pt>
                <c:pt idx="2">
                  <c:v>0.50970000000000004</c:v>
                </c:pt>
                <c:pt idx="3">
                  <c:v>0.46560000000000001</c:v>
                </c:pt>
                <c:pt idx="4">
                  <c:v>0.51170000000000004</c:v>
                </c:pt>
                <c:pt idx="5">
                  <c:v>0.46</c:v>
                </c:pt>
                <c:pt idx="6">
                  <c:v>0.42159999999999997</c:v>
                </c:pt>
                <c:pt idx="7">
                  <c:v>0.53129999999999999</c:v>
                </c:pt>
                <c:pt idx="8">
                  <c:v>0.40379999999999999</c:v>
                </c:pt>
                <c:pt idx="9">
                  <c:v>0.39029999999999998</c:v>
                </c:pt>
                <c:pt idx="10">
                  <c:v>0.40139999999999998</c:v>
                </c:pt>
                <c:pt idx="11">
                  <c:v>0.37130000000000002</c:v>
                </c:pt>
                <c:pt idx="12">
                  <c:v>0.43530000000000002</c:v>
                </c:pt>
                <c:pt idx="13">
                  <c:v>0.43020000000000003</c:v>
                </c:pt>
                <c:pt idx="14">
                  <c:v>0.437</c:v>
                </c:pt>
                <c:pt idx="15">
                  <c:v>0.42730000000000001</c:v>
                </c:pt>
              </c:numCache>
            </c:numRef>
          </c:yVal>
          <c:bubbleSize>
            <c:numRef>
              <c:f>Sheet1!$C$2:$C$17</c:f>
              <c:numCache>
                <c:formatCode>General</c:formatCode>
                <c:ptCount val="16"/>
                <c:pt idx="0">
                  <c:v>30877.792600000001</c:v>
                </c:pt>
                <c:pt idx="1">
                  <c:v>156409.34919999991</c:v>
                </c:pt>
                <c:pt idx="2">
                  <c:v>36205.9568</c:v>
                </c:pt>
                <c:pt idx="3">
                  <c:v>4280.8201999999983</c:v>
                </c:pt>
                <c:pt idx="4">
                  <c:v>30814.8701</c:v>
                </c:pt>
                <c:pt idx="5">
                  <c:v>17829.537</c:v>
                </c:pt>
                <c:pt idx="6">
                  <c:v>11519.926100000001</c:v>
                </c:pt>
                <c:pt idx="7">
                  <c:v>43052.163600000007</c:v>
                </c:pt>
                <c:pt idx="8">
                  <c:v>381785.00800000009</c:v>
                </c:pt>
                <c:pt idx="9">
                  <c:v>3374614.503</c:v>
                </c:pt>
                <c:pt idx="10">
                  <c:v>774047.7883000006</c:v>
                </c:pt>
                <c:pt idx="11">
                  <c:v>263844.94709999999</c:v>
                </c:pt>
                <c:pt idx="12">
                  <c:v>16306.578799999999</c:v>
                </c:pt>
                <c:pt idx="13">
                  <c:v>144376.70619999999</c:v>
                </c:pt>
                <c:pt idx="14">
                  <c:v>153877.92739999999</c:v>
                </c:pt>
                <c:pt idx="15">
                  <c:v>14427.2176</c:v>
                </c:pt>
              </c:numCache>
            </c:numRef>
          </c:bubbleSize>
          <c:bubble3D val="0"/>
          <c:extLst>
            <c:ext xmlns:c15="http://schemas.microsoft.com/office/drawing/2012/chart" uri="{02D57815-91ED-43cb-92C2-25804820EDAC}">
              <c15:datalabelsRange>
                <c15:f>Sheet1!$E$2:$E$29</c15:f>
                <c15:dlblRangeCache>
                  <c:ptCount val="28"/>
                  <c:pt idx="0">
                    <c:v>Mousseux Autres</c:v>
                  </c:pt>
                  <c:pt idx="1">
                    <c:v>Mousseux Italiens</c:v>
                  </c:pt>
                  <c:pt idx="2">
                    <c:v>Mousseux Val De Loire</c:v>
                  </c:pt>
                  <c:pt idx="3">
                    <c:v>Mousseux Bordelais</c:v>
                  </c:pt>
                  <c:pt idx="4">
                    <c:v>Mousseux Bourgogne</c:v>
                  </c:pt>
                  <c:pt idx="5">
                    <c:v>Mousseux Alsace</c:v>
                  </c:pt>
                  <c:pt idx="6">
                    <c:v>Demi-Secs</c:v>
                  </c:pt>
                  <c:pt idx="7">
                    <c:v>Effervescents Sans Alcool</c:v>
                  </c:pt>
                  <c:pt idx="8">
                    <c:v>Rosés</c:v>
                  </c:pt>
                  <c:pt idx="9">
                    <c:v>Bruts</c:v>
                  </c:pt>
                  <c:pt idx="10">
                    <c:v>Blanc De Blancs</c:v>
                  </c:pt>
                  <c:pt idx="11">
                    <c:v>Millesimes</c:v>
                  </c:pt>
                  <c:pt idx="12">
                    <c:v>Blanc De Noirs</c:v>
                  </c:pt>
                  <c:pt idx="13">
                    <c:v>Extra Brut</c:v>
                  </c:pt>
                  <c:pt idx="14">
                    <c:v>Crus</c:v>
                  </c:pt>
                  <c:pt idx="15">
                    <c:v>Brut Nature</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13.92831999999999"/>
          <c:min val="7.7324799999999998"/>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210960650804406"/>
        <c:crossBetween val="midCat"/>
      </c:valAx>
      <c:valAx>
        <c:axId val="1011451359"/>
        <c:scaling>
          <c:orientation val="minMax"/>
          <c:max val="1.01136"/>
          <c:min val="5.7040000000000028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55.6594141192837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spPr>
              <a:solidFill>
                <a:srgbClr val="7ECAC4"/>
              </a:solidFill>
            </c:spPr>
            <c:extLst>
              <c:ext xmlns:c16="http://schemas.microsoft.com/office/drawing/2014/chart" uri="{C3380CC4-5D6E-409C-BE32-E72D297353CC}">
                <c16:uniqueId val="{0000000C-7D2A-4F1E-BC80-EAAAE9B08A80}"/>
              </c:ext>
            </c:extLst>
          </c:dPt>
          <c:dPt>
            <c:idx val="6"/>
            <c:invertIfNegative val="0"/>
            <c:bubble3D val="0"/>
            <c:spPr>
              <a:solidFill>
                <a:srgbClr val="C0000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006C6D"/>
              </a:solidFill>
            </c:spPr>
            <c:extLst>
              <c:ext xmlns:c16="http://schemas.microsoft.com/office/drawing/2014/chart" uri="{C3380CC4-5D6E-409C-BE32-E72D297353CC}">
                <c16:uniqueId val="{0000000D-7D2A-4F1E-BC80-EAAAE9B08A80}"/>
              </c:ext>
            </c:extLst>
          </c:dPt>
          <c:dPt>
            <c:idx val="8"/>
            <c:invertIfNegative val="1"/>
            <c:bubble3D val="0"/>
            <c:spPr>
              <a:solidFill>
                <a:srgbClr val="C00000"/>
              </a:solidFill>
            </c:spPr>
            <c:extLst>
              <c:ext xmlns:c16="http://schemas.microsoft.com/office/drawing/2014/chart" uri="{C3380CC4-5D6E-409C-BE32-E72D297353CC}">
                <c16:uniqueId val="{00000011-78D1-41D4-ABFA-320BD44357BD}"/>
              </c:ext>
            </c:extLst>
          </c:dPt>
          <c:dPt>
            <c:idx val="9"/>
            <c:invertIfNegative val="1"/>
            <c:bubble3D val="0"/>
            <c:spPr>
              <a:solidFill>
                <a:srgbClr val="FF8080"/>
              </a:solidFill>
            </c:spPr>
            <c:extLst>
              <c:ext xmlns:c16="http://schemas.microsoft.com/office/drawing/2014/chart" uri="{C3380CC4-5D6E-409C-BE32-E72D297353CC}">
                <c16:uniqueId val="{00000013-78D1-41D4-ABFA-320BD44357BD}"/>
              </c:ext>
            </c:extLst>
          </c:dPt>
          <c:dPt>
            <c:idx val="10"/>
            <c:invertIfNegative val="1"/>
            <c:bubble3D val="0"/>
            <c:spPr>
              <a:solidFill>
                <a:srgbClr val="C00000"/>
              </a:solidFill>
            </c:spPr>
            <c:extLst>
              <c:ext xmlns:c16="http://schemas.microsoft.com/office/drawing/2014/chart" uri="{C3380CC4-5D6E-409C-BE32-E72D297353CC}">
                <c16:uniqueId val="{00000015-78D1-41D4-ABFA-320BD44357BD}"/>
              </c:ext>
            </c:extLst>
          </c:dPt>
          <c:dPt>
            <c:idx val="11"/>
            <c:invertIfNegative val="1"/>
            <c:bubble3D val="0"/>
            <c:spPr>
              <a:solidFill>
                <a:srgbClr val="E6E5E5"/>
              </a:solidFill>
            </c:spPr>
            <c:extLst>
              <c:ext xmlns:c16="http://schemas.microsoft.com/office/drawing/2014/chart" uri="{C3380CC4-5D6E-409C-BE32-E72D297353CC}">
                <c16:uniqueId val="{00000017-78D1-41D4-ABFA-320BD44357BD}"/>
              </c:ext>
            </c:extLst>
          </c:dPt>
          <c:dPt>
            <c:idx val="12"/>
            <c:invertIfNegative val="1"/>
            <c:bubble3D val="0"/>
            <c:spPr>
              <a:solidFill>
                <a:srgbClr val="C00000"/>
              </a:solidFill>
            </c:spPr>
            <c:extLst>
              <c:ext xmlns:c16="http://schemas.microsoft.com/office/drawing/2014/chart" uri="{C3380CC4-5D6E-409C-BE32-E72D297353CC}">
                <c16:uniqueId val="{00000019-5B35-4760-B415-D248DE675B3C}"/>
              </c:ext>
            </c:extLst>
          </c:dPt>
          <c:dPt>
            <c:idx val="13"/>
            <c:invertIfNegative val="1"/>
            <c:bubble3D val="0"/>
            <c:spPr>
              <a:solidFill>
                <a:srgbClr val="006C6D"/>
              </a:solidFill>
            </c:spPr>
            <c:extLst>
              <c:ext xmlns:c16="http://schemas.microsoft.com/office/drawing/2014/chart" uri="{C3380CC4-5D6E-409C-BE32-E72D297353CC}">
                <c16:uniqueId val="{0000001B-5B35-4760-B415-D248DE675B3C}"/>
              </c:ext>
            </c:extLst>
          </c:dPt>
          <c:dPt>
            <c:idx val="14"/>
            <c:invertIfNegative val="1"/>
            <c:bubble3D val="0"/>
            <c:spPr>
              <a:solidFill>
                <a:srgbClr val="FF8080"/>
              </a:solidFill>
            </c:spPr>
            <c:extLst>
              <c:ext xmlns:c16="http://schemas.microsoft.com/office/drawing/2014/chart" uri="{C3380CC4-5D6E-409C-BE32-E72D297353CC}">
                <c16:uniqueId val="{0000001D-5B35-4760-B415-D248DE675B3C}"/>
              </c:ext>
            </c:extLst>
          </c:dPt>
          <c:dPt>
            <c:idx val="15"/>
            <c:invertIfNegative val="1"/>
            <c:bubble3D val="0"/>
            <c:spPr>
              <a:solidFill>
                <a:srgbClr val="006C6D"/>
              </a:solidFill>
            </c:spPr>
            <c:extLst>
              <c:ext xmlns:c16="http://schemas.microsoft.com/office/drawing/2014/chart" uri="{C3380CC4-5D6E-409C-BE32-E72D297353CC}">
                <c16:uniqueId val="{0000001F-5B35-4760-B415-D248DE675B3C}"/>
              </c:ext>
            </c:extLst>
          </c:dPt>
          <c:dLbls>
            <c:dLbl>
              <c:idx val="0"/>
              <c:tx>
                <c:rich>
                  <a:bodyPr/>
                  <a:lstStyle/>
                  <a:p>
                    <a:fld id="{10D88444-F776-4886-A213-A7B4953D6F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30323BC5-87C1-4F41-93C0-93867F8D55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C8F1818A-C58F-4563-9987-34E7868F24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33805EEB-A826-4453-AAC7-EC26B3C5EA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BC230BC7-9B2F-47A8-AB74-0780253380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024B2B13-3089-4A7B-B538-83F156C294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961A13E9-CF15-462B-BC0A-B9656B0D76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8849F948-823C-4DF6-AECB-E2B7B6F3A6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dLbl>
              <c:idx val="8"/>
              <c:tx>
                <c:rich>
                  <a:bodyPr/>
                  <a:lstStyle/>
                  <a:p>
                    <a:fld id="{B835FF52-857E-4411-9007-90988382A0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78D1-41D4-ABFA-320BD44357BD}"/>
                </c:ext>
              </c:extLst>
            </c:dLbl>
            <c:dLbl>
              <c:idx val="9"/>
              <c:tx>
                <c:rich>
                  <a:bodyPr/>
                  <a:lstStyle/>
                  <a:p>
                    <a:fld id="{7A30AF92-1E14-4C3B-A8F0-97D7C9AFD6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78D1-41D4-ABFA-320BD44357BD}"/>
                </c:ext>
              </c:extLst>
            </c:dLbl>
            <c:dLbl>
              <c:idx val="10"/>
              <c:tx>
                <c:rich>
                  <a:bodyPr/>
                  <a:lstStyle/>
                  <a:p>
                    <a:fld id="{FE32DFC3-79BB-4365-914F-273E9064FD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78D1-41D4-ABFA-320BD44357BD}"/>
                </c:ext>
              </c:extLst>
            </c:dLbl>
            <c:dLbl>
              <c:idx val="11"/>
              <c:tx>
                <c:rich>
                  <a:bodyPr/>
                  <a:lstStyle/>
                  <a:p>
                    <a:fld id="{DF18CE48-CBFD-494F-A9C6-787ECD8E3D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78D1-41D4-ABFA-320BD44357BD}"/>
                </c:ext>
              </c:extLst>
            </c:dLbl>
            <c:dLbl>
              <c:idx val="12"/>
              <c:tx>
                <c:rich>
                  <a:bodyPr/>
                  <a:lstStyle/>
                  <a:p>
                    <a:fld id="{919C0C3E-5B1A-4295-A92B-6982A8F4F8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5B35-4760-B415-D248DE675B3C}"/>
                </c:ext>
              </c:extLst>
            </c:dLbl>
            <c:dLbl>
              <c:idx val="13"/>
              <c:tx>
                <c:rich>
                  <a:bodyPr/>
                  <a:lstStyle/>
                  <a:p>
                    <a:fld id="{0176AD69-F24F-4E48-BD16-099B4EBECD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5B35-4760-B415-D248DE675B3C}"/>
                </c:ext>
              </c:extLst>
            </c:dLbl>
            <c:dLbl>
              <c:idx val="14"/>
              <c:tx>
                <c:rich>
                  <a:bodyPr/>
                  <a:lstStyle/>
                  <a:p>
                    <a:fld id="{B0E0E5F5-68E8-4A0F-94DD-CA3FEA5DCA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5B35-4760-B415-D248DE675B3C}"/>
                </c:ext>
              </c:extLst>
            </c:dLbl>
            <c:dLbl>
              <c:idx val="15"/>
              <c:tx>
                <c:rich>
                  <a:bodyPr/>
                  <a:lstStyle/>
                  <a:p>
                    <a:fld id="{7E9EC04C-220F-4E5F-9EE7-08DF971709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5B35-4760-B415-D248DE675B3C}"/>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7</c:f>
              <c:numCache>
                <c:formatCode>General</c:formatCode>
                <c:ptCount val="16"/>
                <c:pt idx="0">
                  <c:v>11.285299999999999</c:v>
                </c:pt>
                <c:pt idx="1">
                  <c:v>9.2988</c:v>
                </c:pt>
                <c:pt idx="2">
                  <c:v>12.215</c:v>
                </c:pt>
                <c:pt idx="3">
                  <c:v>10.6531</c:v>
                </c:pt>
                <c:pt idx="4">
                  <c:v>13.2141</c:v>
                </c:pt>
                <c:pt idx="5">
                  <c:v>14.4072</c:v>
                </c:pt>
                <c:pt idx="6">
                  <c:v>38.292299999999997</c:v>
                </c:pt>
                <c:pt idx="7">
                  <c:v>24.166399999999999</c:v>
                </c:pt>
                <c:pt idx="8">
                  <c:v>61.76</c:v>
                </c:pt>
                <c:pt idx="9">
                  <c:v>45.022399999999998</c:v>
                </c:pt>
                <c:pt idx="10">
                  <c:v>87.619500000000002</c:v>
                </c:pt>
                <c:pt idx="11">
                  <c:v>144.6712</c:v>
                </c:pt>
                <c:pt idx="12">
                  <c:v>39.9313</c:v>
                </c:pt>
                <c:pt idx="13">
                  <c:v>36.662199999999999</c:v>
                </c:pt>
                <c:pt idx="14">
                  <c:v>33.243200000000002</c:v>
                </c:pt>
                <c:pt idx="15">
                  <c:v>49.772100000000002</c:v>
                </c:pt>
              </c:numCache>
            </c:numRef>
          </c:xVal>
          <c:yVal>
            <c:numRef>
              <c:f>Sheet1!$B$2:$B$17</c:f>
              <c:numCache>
                <c:formatCode>General</c:formatCode>
                <c:ptCount val="16"/>
                <c:pt idx="0">
                  <c:v>0.4642</c:v>
                </c:pt>
                <c:pt idx="1">
                  <c:v>0.53820000000000001</c:v>
                </c:pt>
                <c:pt idx="2">
                  <c:v>0.47720000000000001</c:v>
                </c:pt>
                <c:pt idx="3">
                  <c:v>0.46579999999999999</c:v>
                </c:pt>
                <c:pt idx="4">
                  <c:v>0.5121</c:v>
                </c:pt>
                <c:pt idx="5">
                  <c:v>0.4148</c:v>
                </c:pt>
                <c:pt idx="6">
                  <c:v>0.43080000000000002</c:v>
                </c:pt>
                <c:pt idx="7">
                  <c:v>0.52839999999999998</c:v>
                </c:pt>
                <c:pt idx="8">
                  <c:v>0.40699999999999997</c:v>
                </c:pt>
                <c:pt idx="9">
                  <c:v>0.39539999999999997</c:v>
                </c:pt>
                <c:pt idx="10">
                  <c:v>0.4</c:v>
                </c:pt>
                <c:pt idx="11">
                  <c:v>0.37440000000000001</c:v>
                </c:pt>
                <c:pt idx="12">
                  <c:v>0.434</c:v>
                </c:pt>
                <c:pt idx="13">
                  <c:v>0.435</c:v>
                </c:pt>
                <c:pt idx="14">
                  <c:v>0.43859999999999999</c:v>
                </c:pt>
                <c:pt idx="15">
                  <c:v>0.4153</c:v>
                </c:pt>
              </c:numCache>
            </c:numRef>
          </c:yVal>
          <c:bubbleSize>
            <c:numRef>
              <c:f>Sheet1!$C$2:$C$17</c:f>
              <c:numCache>
                <c:formatCode>General</c:formatCode>
                <c:ptCount val="16"/>
                <c:pt idx="0">
                  <c:v>28100.324899999989</c:v>
                </c:pt>
                <c:pt idx="1">
                  <c:v>70335.78250000003</c:v>
                </c:pt>
                <c:pt idx="2">
                  <c:v>34030.971400000002</c:v>
                </c:pt>
                <c:pt idx="3">
                  <c:v>2056.0414000000001</c:v>
                </c:pt>
                <c:pt idx="4">
                  <c:v>16504.390500000001</c:v>
                </c:pt>
                <c:pt idx="5">
                  <c:v>28007.555499999999</c:v>
                </c:pt>
                <c:pt idx="6">
                  <c:v>10760.1368</c:v>
                </c:pt>
                <c:pt idx="7">
                  <c:v>25616.334900000002</c:v>
                </c:pt>
                <c:pt idx="8">
                  <c:v>195470.49239999999</c:v>
                </c:pt>
                <c:pt idx="9">
                  <c:v>1617744.0438999999</c:v>
                </c:pt>
                <c:pt idx="10">
                  <c:v>474284.20769999968</c:v>
                </c:pt>
                <c:pt idx="11">
                  <c:v>123115.18150000001</c:v>
                </c:pt>
                <c:pt idx="12">
                  <c:v>12218.9658</c:v>
                </c:pt>
                <c:pt idx="13">
                  <c:v>86302.85560000001</c:v>
                </c:pt>
                <c:pt idx="14">
                  <c:v>86332.539199999999</c:v>
                </c:pt>
                <c:pt idx="15">
                  <c:v>9954.4190999999992</c:v>
                </c:pt>
              </c:numCache>
            </c:numRef>
          </c:bubbleSize>
          <c:bubble3D val="0"/>
          <c:extLst>
            <c:ext xmlns:c15="http://schemas.microsoft.com/office/drawing/2012/chart" uri="{02D57815-91ED-43cb-92C2-25804820EDAC}">
              <c15:datalabelsRange>
                <c15:f>Sheet1!$E$2:$E$29</c15:f>
                <c15:dlblRangeCache>
                  <c:ptCount val="28"/>
                  <c:pt idx="0">
                    <c:v>Mousseux Autres</c:v>
                  </c:pt>
                  <c:pt idx="1">
                    <c:v>Mousseux Italiens</c:v>
                  </c:pt>
                  <c:pt idx="2">
                    <c:v>Mousseux Val De Loire</c:v>
                  </c:pt>
                  <c:pt idx="3">
                    <c:v>Mousseux Bordelais</c:v>
                  </c:pt>
                  <c:pt idx="4">
                    <c:v>Mousseux Bourgogne</c:v>
                  </c:pt>
                  <c:pt idx="5">
                    <c:v>Mousseux Alsace</c:v>
                  </c:pt>
                  <c:pt idx="6">
                    <c:v>Demi-Secs</c:v>
                  </c:pt>
                  <c:pt idx="7">
                    <c:v>Effervescents Sans Alcool</c:v>
                  </c:pt>
                  <c:pt idx="8">
                    <c:v>Rosés</c:v>
                  </c:pt>
                  <c:pt idx="9">
                    <c:v>Bruts</c:v>
                  </c:pt>
                  <c:pt idx="10">
                    <c:v>Blanc De Blancs</c:v>
                  </c:pt>
                  <c:pt idx="11">
                    <c:v>Millesimes</c:v>
                  </c:pt>
                  <c:pt idx="12">
                    <c:v>Blanc De Noirs</c:v>
                  </c:pt>
                  <c:pt idx="13">
                    <c:v>Extra Brut</c:v>
                  </c:pt>
                  <c:pt idx="14">
                    <c:v>Crus</c:v>
                  </c:pt>
                  <c:pt idx="15">
                    <c:v>Brut Nature</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73.60543999999999"/>
          <c:min val="7.4390400000000003"/>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633423739024943"/>
        <c:crossBetween val="midCat"/>
      </c:valAx>
      <c:valAx>
        <c:axId val="1011451359"/>
        <c:scaling>
          <c:orientation val="minMax"/>
          <c:max val="1.0058400000000001"/>
          <c:min val="5.9520000000000017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54.71912224822305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spPr>
              <a:solidFill>
                <a:srgbClr val="006C6D"/>
              </a:solidFill>
            </c:spPr>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006C6D"/>
              </a:solidFill>
            </c:spPr>
            <c:extLst>
              <c:ext xmlns:c16="http://schemas.microsoft.com/office/drawing/2014/chart" uri="{C3380CC4-5D6E-409C-BE32-E72D297353CC}">
                <c16:uniqueId val="{0000000D-7D2A-4F1E-BC80-EAAAE9B08A80}"/>
              </c:ext>
            </c:extLst>
          </c:dPt>
          <c:dPt>
            <c:idx val="8"/>
            <c:invertIfNegative val="1"/>
            <c:bubble3D val="0"/>
            <c:spPr>
              <a:solidFill>
                <a:srgbClr val="C00000"/>
              </a:solidFill>
            </c:spPr>
            <c:extLst>
              <c:ext xmlns:c16="http://schemas.microsoft.com/office/drawing/2014/chart" uri="{C3380CC4-5D6E-409C-BE32-E72D297353CC}">
                <c16:uniqueId val="{00000011-78D1-41D4-ABFA-320BD44357BD}"/>
              </c:ext>
            </c:extLst>
          </c:dPt>
          <c:dPt>
            <c:idx val="9"/>
            <c:invertIfNegative val="1"/>
            <c:bubble3D val="0"/>
            <c:spPr>
              <a:solidFill>
                <a:srgbClr val="FF8080"/>
              </a:solidFill>
            </c:spPr>
            <c:extLst>
              <c:ext xmlns:c16="http://schemas.microsoft.com/office/drawing/2014/chart" uri="{C3380CC4-5D6E-409C-BE32-E72D297353CC}">
                <c16:uniqueId val="{00000013-78D1-41D4-ABFA-320BD44357BD}"/>
              </c:ext>
            </c:extLst>
          </c:dPt>
          <c:dPt>
            <c:idx val="10"/>
            <c:invertIfNegative val="1"/>
            <c:bubble3D val="0"/>
            <c:spPr>
              <a:solidFill>
                <a:srgbClr val="C00000"/>
              </a:solidFill>
            </c:spPr>
            <c:extLst>
              <c:ext xmlns:c16="http://schemas.microsoft.com/office/drawing/2014/chart" uri="{C3380CC4-5D6E-409C-BE32-E72D297353CC}">
                <c16:uniqueId val="{00000015-78D1-41D4-ABFA-320BD44357BD}"/>
              </c:ext>
            </c:extLst>
          </c:dPt>
          <c:dPt>
            <c:idx val="11"/>
            <c:invertIfNegative val="1"/>
            <c:bubble3D val="0"/>
            <c:spPr>
              <a:solidFill>
                <a:srgbClr val="FF8080"/>
              </a:solidFill>
            </c:spPr>
            <c:extLst>
              <c:ext xmlns:c16="http://schemas.microsoft.com/office/drawing/2014/chart" uri="{C3380CC4-5D6E-409C-BE32-E72D297353CC}">
                <c16:uniqueId val="{00000017-78D1-41D4-ABFA-320BD44357BD}"/>
              </c:ext>
            </c:extLst>
          </c:dPt>
          <c:dPt>
            <c:idx val="12"/>
            <c:invertIfNegative val="1"/>
            <c:bubble3D val="0"/>
            <c:spPr>
              <a:solidFill>
                <a:srgbClr val="C00000"/>
              </a:solidFill>
            </c:spPr>
            <c:extLst>
              <c:ext xmlns:c16="http://schemas.microsoft.com/office/drawing/2014/chart" uri="{C3380CC4-5D6E-409C-BE32-E72D297353CC}">
                <c16:uniqueId val="{00000019-3965-4D39-94F3-E9DE18DACD81}"/>
              </c:ext>
            </c:extLst>
          </c:dPt>
          <c:dPt>
            <c:idx val="13"/>
            <c:invertIfNegative val="1"/>
            <c:bubble3D val="0"/>
            <c:spPr>
              <a:solidFill>
                <a:srgbClr val="7ECAC4"/>
              </a:solidFill>
            </c:spPr>
            <c:extLst>
              <c:ext xmlns:c16="http://schemas.microsoft.com/office/drawing/2014/chart" uri="{C3380CC4-5D6E-409C-BE32-E72D297353CC}">
                <c16:uniqueId val="{0000001B-3965-4D39-94F3-E9DE18DACD81}"/>
              </c:ext>
            </c:extLst>
          </c:dPt>
          <c:dPt>
            <c:idx val="14"/>
            <c:invertIfNegative val="1"/>
            <c:bubble3D val="0"/>
            <c:spPr>
              <a:solidFill>
                <a:srgbClr val="E6E5E5"/>
              </a:solidFill>
            </c:spPr>
            <c:extLst>
              <c:ext xmlns:c16="http://schemas.microsoft.com/office/drawing/2014/chart" uri="{C3380CC4-5D6E-409C-BE32-E72D297353CC}">
                <c16:uniqueId val="{0000001D-3965-4D39-94F3-E9DE18DACD81}"/>
              </c:ext>
            </c:extLst>
          </c:dPt>
          <c:dPt>
            <c:idx val="15"/>
            <c:invertIfNegative val="1"/>
            <c:bubble3D val="0"/>
            <c:spPr>
              <a:solidFill>
                <a:srgbClr val="7ECAC4"/>
              </a:solidFill>
            </c:spPr>
            <c:extLst>
              <c:ext xmlns:c16="http://schemas.microsoft.com/office/drawing/2014/chart" uri="{C3380CC4-5D6E-409C-BE32-E72D297353CC}">
                <c16:uniqueId val="{0000001F-3965-4D39-94F3-E9DE18DACD81}"/>
              </c:ext>
            </c:extLst>
          </c:dPt>
          <c:dLbls>
            <c:dLbl>
              <c:idx val="0"/>
              <c:tx>
                <c:rich>
                  <a:bodyPr/>
                  <a:lstStyle/>
                  <a:p>
                    <a:fld id="{639EC82D-4C9D-4F6D-8DAC-DA8E04DB8E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17E617E3-E846-43B3-A6A7-65EB951799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A19455F-DB62-4A04-8318-46A2CF7121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10228446-5F6A-42FD-8E8F-93A1B781D5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17BD5556-81C5-4DC9-9AD1-A2838D214B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7E5F884A-99AD-478F-AC14-02E7A8AE15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231F1421-C8F4-40AE-A35F-0F28E4DBE4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E4FF0D9F-9D72-47E6-A11F-E4193A01EB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dLbl>
              <c:idx val="8"/>
              <c:tx>
                <c:rich>
                  <a:bodyPr/>
                  <a:lstStyle/>
                  <a:p>
                    <a:fld id="{375F80B0-EBB2-4144-AD5D-1AB3D5FB54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78D1-41D4-ABFA-320BD44357BD}"/>
                </c:ext>
              </c:extLst>
            </c:dLbl>
            <c:dLbl>
              <c:idx val="9"/>
              <c:tx>
                <c:rich>
                  <a:bodyPr/>
                  <a:lstStyle/>
                  <a:p>
                    <a:fld id="{B5E9C82C-2CB2-424C-AB85-1D867C3ACD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78D1-41D4-ABFA-320BD44357BD}"/>
                </c:ext>
              </c:extLst>
            </c:dLbl>
            <c:dLbl>
              <c:idx val="10"/>
              <c:tx>
                <c:rich>
                  <a:bodyPr/>
                  <a:lstStyle/>
                  <a:p>
                    <a:fld id="{BFAC547D-EBD0-4E08-97E7-09C30283AA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78D1-41D4-ABFA-320BD44357BD}"/>
                </c:ext>
              </c:extLst>
            </c:dLbl>
            <c:dLbl>
              <c:idx val="11"/>
              <c:tx>
                <c:rich>
                  <a:bodyPr/>
                  <a:lstStyle/>
                  <a:p>
                    <a:fld id="{59BDB493-5AB8-42AA-A06D-430C9F5216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78D1-41D4-ABFA-320BD44357BD}"/>
                </c:ext>
              </c:extLst>
            </c:dLbl>
            <c:dLbl>
              <c:idx val="12"/>
              <c:tx>
                <c:rich>
                  <a:bodyPr/>
                  <a:lstStyle/>
                  <a:p>
                    <a:fld id="{552B1E2F-B5A6-4620-BF7E-9C6A742AA8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965-4D39-94F3-E9DE18DACD81}"/>
                </c:ext>
              </c:extLst>
            </c:dLbl>
            <c:dLbl>
              <c:idx val="13"/>
              <c:tx>
                <c:rich>
                  <a:bodyPr/>
                  <a:lstStyle/>
                  <a:p>
                    <a:fld id="{8D98DF16-BB9C-422C-8662-6B2D95BEF6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965-4D39-94F3-E9DE18DACD81}"/>
                </c:ext>
              </c:extLst>
            </c:dLbl>
            <c:dLbl>
              <c:idx val="14"/>
              <c:tx>
                <c:rich>
                  <a:bodyPr/>
                  <a:lstStyle/>
                  <a:p>
                    <a:fld id="{3B4CA461-5A6A-4695-BEE8-54B8923B56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965-4D39-94F3-E9DE18DACD81}"/>
                </c:ext>
              </c:extLst>
            </c:dLbl>
            <c:dLbl>
              <c:idx val="15"/>
              <c:tx>
                <c:rich>
                  <a:bodyPr/>
                  <a:lstStyle/>
                  <a:p>
                    <a:fld id="{8D4756F7-590A-470C-9F7B-42422FFD4E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965-4D39-94F3-E9DE18DACD81}"/>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7</c:f>
              <c:numCache>
                <c:formatCode>General</c:formatCode>
                <c:ptCount val="16"/>
                <c:pt idx="0">
                  <c:v>11.530200000000001</c:v>
                </c:pt>
                <c:pt idx="1">
                  <c:v>9.6983999999999995</c:v>
                </c:pt>
                <c:pt idx="2">
                  <c:v>12.887600000000001</c:v>
                </c:pt>
                <c:pt idx="3">
                  <c:v>10.7799</c:v>
                </c:pt>
                <c:pt idx="4">
                  <c:v>13.487299999999999</c:v>
                </c:pt>
                <c:pt idx="5">
                  <c:v>15.7431</c:v>
                </c:pt>
                <c:pt idx="6">
                  <c:v>40.131</c:v>
                </c:pt>
                <c:pt idx="7">
                  <c:v>24.756900000000002</c:v>
                </c:pt>
                <c:pt idx="8">
                  <c:v>62.845700000000001</c:v>
                </c:pt>
                <c:pt idx="9">
                  <c:v>44.5471</c:v>
                </c:pt>
                <c:pt idx="10">
                  <c:v>86.329599999999999</c:v>
                </c:pt>
                <c:pt idx="11">
                  <c:v>157.70259999999999</c:v>
                </c:pt>
                <c:pt idx="12">
                  <c:v>43.029200000000003</c:v>
                </c:pt>
                <c:pt idx="13">
                  <c:v>37.193899999999999</c:v>
                </c:pt>
                <c:pt idx="14">
                  <c:v>33.439300000000003</c:v>
                </c:pt>
                <c:pt idx="15">
                  <c:v>50.609299999999998</c:v>
                </c:pt>
              </c:numCache>
            </c:numRef>
          </c:xVal>
          <c:yVal>
            <c:numRef>
              <c:f>Sheet1!$B$2:$B$17</c:f>
              <c:numCache>
                <c:formatCode>General</c:formatCode>
                <c:ptCount val="16"/>
                <c:pt idx="0">
                  <c:v>0.50939999999999996</c:v>
                </c:pt>
                <c:pt idx="1">
                  <c:v>0.54330000000000001</c:v>
                </c:pt>
                <c:pt idx="2">
                  <c:v>0.5111</c:v>
                </c:pt>
                <c:pt idx="3">
                  <c:v>0.46529999999999999</c:v>
                </c:pt>
                <c:pt idx="4">
                  <c:v>0.51090000000000002</c:v>
                </c:pt>
                <c:pt idx="5">
                  <c:v>0.41520000000000001</c:v>
                </c:pt>
                <c:pt idx="6">
                  <c:v>0.42780000000000001</c:v>
                </c:pt>
                <c:pt idx="7">
                  <c:v>0.53159999999999996</c:v>
                </c:pt>
                <c:pt idx="8">
                  <c:v>0.40849999999999997</c:v>
                </c:pt>
                <c:pt idx="9">
                  <c:v>0.39500000000000002</c:v>
                </c:pt>
                <c:pt idx="10">
                  <c:v>0.40660000000000002</c:v>
                </c:pt>
                <c:pt idx="11">
                  <c:v>0.37009999999999998</c:v>
                </c:pt>
                <c:pt idx="12">
                  <c:v>0.43230000000000002</c:v>
                </c:pt>
                <c:pt idx="13">
                  <c:v>0.42930000000000001</c:v>
                </c:pt>
                <c:pt idx="14">
                  <c:v>0.43890000000000001</c:v>
                </c:pt>
                <c:pt idx="15">
                  <c:v>0.4194</c:v>
                </c:pt>
              </c:numCache>
            </c:numRef>
          </c:yVal>
          <c:bubbleSize>
            <c:numRef>
              <c:f>Sheet1!$C$2:$C$17</c:f>
              <c:numCache>
                <c:formatCode>General</c:formatCode>
                <c:ptCount val="16"/>
                <c:pt idx="0">
                  <c:v>30624.288</c:v>
                </c:pt>
                <c:pt idx="1">
                  <c:v>155533.24069999999</c:v>
                </c:pt>
                <c:pt idx="2">
                  <c:v>72995.391400000008</c:v>
                </c:pt>
                <c:pt idx="3">
                  <c:v>6220.0254000000004</c:v>
                </c:pt>
                <c:pt idx="4">
                  <c:v>43955.185299999997</c:v>
                </c:pt>
                <c:pt idx="5">
                  <c:v>61240.477499999994</c:v>
                </c:pt>
                <c:pt idx="6">
                  <c:v>11156.4287</c:v>
                </c:pt>
                <c:pt idx="7">
                  <c:v>53920.4836</c:v>
                </c:pt>
                <c:pt idx="8">
                  <c:v>385683.81449999998</c:v>
                </c:pt>
                <c:pt idx="9">
                  <c:v>4090981.874499999</c:v>
                </c:pt>
                <c:pt idx="10">
                  <c:v>793455.14620000042</c:v>
                </c:pt>
                <c:pt idx="11">
                  <c:v>309727.84759999998</c:v>
                </c:pt>
                <c:pt idx="12">
                  <c:v>37392.373399999997</c:v>
                </c:pt>
                <c:pt idx="13">
                  <c:v>237222.54930000001</c:v>
                </c:pt>
                <c:pt idx="14">
                  <c:v>291791.24129999988</c:v>
                </c:pt>
                <c:pt idx="15">
                  <c:v>39424.6394</c:v>
                </c:pt>
              </c:numCache>
            </c:numRef>
          </c:bubbleSize>
          <c:bubble3D val="0"/>
          <c:extLst>
            <c:ext xmlns:c15="http://schemas.microsoft.com/office/drawing/2012/chart" uri="{02D57815-91ED-43cb-92C2-25804820EDAC}">
              <c15:datalabelsRange>
                <c15:f>Sheet1!$E$2:$E$29</c15:f>
                <c15:dlblRangeCache>
                  <c:ptCount val="28"/>
                  <c:pt idx="0">
                    <c:v>Mousseux Autres</c:v>
                  </c:pt>
                  <c:pt idx="1">
                    <c:v>Mousseux Italiens</c:v>
                  </c:pt>
                  <c:pt idx="2">
                    <c:v>Mousseux Val De Loire</c:v>
                  </c:pt>
                  <c:pt idx="3">
                    <c:v>Mousseux Bordelais</c:v>
                  </c:pt>
                  <c:pt idx="4">
                    <c:v>Mousseux Bourgogne</c:v>
                  </c:pt>
                  <c:pt idx="5">
                    <c:v>Mousseux Alsace</c:v>
                  </c:pt>
                  <c:pt idx="6">
                    <c:v>Demi-Secs</c:v>
                  </c:pt>
                  <c:pt idx="7">
                    <c:v>Effervescents Sans Alcool</c:v>
                  </c:pt>
                  <c:pt idx="8">
                    <c:v>Rosés</c:v>
                  </c:pt>
                  <c:pt idx="9">
                    <c:v>Bruts</c:v>
                  </c:pt>
                  <c:pt idx="10">
                    <c:v>Blanc De Blancs</c:v>
                  </c:pt>
                  <c:pt idx="11">
                    <c:v>Millesimes</c:v>
                  </c:pt>
                  <c:pt idx="12">
                    <c:v>Blanc De Noirs</c:v>
                  </c:pt>
                  <c:pt idx="13">
                    <c:v>Extra Brut</c:v>
                  </c:pt>
                  <c:pt idx="14">
                    <c:v>Crus</c:v>
                  </c:pt>
                  <c:pt idx="15">
                    <c:v>Brut Nature</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89.24311999999998"/>
          <c:min val="7.7587200000000003"/>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701354967186143"/>
        <c:crossBetween val="midCat"/>
      </c:valAx>
      <c:valAx>
        <c:axId val="1011451359"/>
        <c:scaling>
          <c:orientation val="minMax"/>
          <c:max val="1.01196"/>
          <c:min val="5.6079999999999998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53.19435801666515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5DE103BD-FEF6-4E54-B3A9-953FB110F1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08DCEF12-086A-4A52-A6E3-2EEAB6E3F2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FF5-4D9B-9947-2A90D7752FBB}"/>
                </c:ext>
              </c:extLst>
            </c:dLbl>
            <c:dLbl>
              <c:idx val="2"/>
              <c:tx>
                <c:rich>
                  <a:bodyPr/>
                  <a:lstStyle/>
                  <a:p>
                    <a:fld id="{570814AB-7307-4A7A-8B6C-B96CD8E103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FF5-4D9B-9947-2A90D7752FBB}"/>
                </c:ext>
              </c:extLst>
            </c:dLbl>
            <c:dLbl>
              <c:idx val="3"/>
              <c:tx>
                <c:rich>
                  <a:bodyPr/>
                  <a:lstStyle/>
                  <a:p>
                    <a:fld id="{FB3DF82C-C023-4225-B0D9-9348B74192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5039422A-DF71-4FF5-B659-24BC525689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85860C91-D542-4BAF-B9D4-04EBAC9FBE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032F58E3-C164-4CB2-A140-6186821705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B2E329AC-F049-44C1-82B7-696035A6CA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47.464100000000002</c:v>
                </c:pt>
              </c:numCache>
            </c:numRef>
          </c:xVal>
          <c:yVal>
            <c:numRef>
              <c:f>Sheet1!$B$2:$B$2</c:f>
              <c:numCache>
                <c:formatCode>General</c:formatCode>
                <c:ptCount val="1"/>
                <c:pt idx="0">
                  <c:v>0.39900000000000002</c:v>
                </c:pt>
              </c:numCache>
            </c:numRef>
          </c:yVal>
          <c:bubbleSize>
            <c:numRef>
              <c:f>Sheet1!$C$2:$C$2</c:f>
              <c:numCache>
                <c:formatCode>General</c:formatCode>
                <c:ptCount val="1"/>
                <c:pt idx="0">
                  <c:v>51645324.361399822</c:v>
                </c:pt>
              </c:numCache>
            </c:numRef>
          </c:bubbleSize>
          <c:bubble3D val="0"/>
          <c:extLst>
            <c:ext xmlns:c15="http://schemas.microsoft.com/office/drawing/2012/chart" uri="{02D57815-91ED-43cb-92C2-25804820EDAC}">
              <c15:datalabelsRange>
                <c15:f>Sheet1!$E$2:$E$29</c15:f>
                <c15:dlblRangeCache>
                  <c:ptCount val="28"/>
                  <c:pt idx="0">
                    <c:v>NICOLAS</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6.956920000000004"/>
          <c:min val="37.9712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9900000000000002"/>
        <c:crossBetween val="midCat"/>
      </c:valAx>
      <c:valAx>
        <c:axId val="1011451359"/>
        <c:scaling>
          <c:orientation val="minMax"/>
          <c:max val="0.8388000000000001"/>
          <c:min val="7.9200000000000034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7.46410000000000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spPr>
              <a:solidFill>
                <a:srgbClr val="FF8080"/>
              </a:solidFill>
            </c:spPr>
            <c:extLst>
              <c:ext xmlns:c16="http://schemas.microsoft.com/office/drawing/2014/chart" uri="{C3380CC4-5D6E-409C-BE32-E72D297353CC}">
                <c16:uniqueId val="{0000000C-7D2A-4F1E-BC80-EAAAE9B08A80}"/>
              </c:ext>
            </c:extLst>
          </c:dPt>
          <c:dPt>
            <c:idx val="6"/>
            <c:invertIfNegative val="0"/>
            <c:bubble3D val="0"/>
            <c:spPr>
              <a:solidFill>
                <a:srgbClr val="C0000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006C6D"/>
              </a:solidFill>
            </c:spPr>
            <c:extLst>
              <c:ext xmlns:c16="http://schemas.microsoft.com/office/drawing/2014/chart" uri="{C3380CC4-5D6E-409C-BE32-E72D297353CC}">
                <c16:uniqueId val="{0000000D-7D2A-4F1E-BC80-EAAAE9B08A80}"/>
              </c:ext>
            </c:extLst>
          </c:dPt>
          <c:dPt>
            <c:idx val="8"/>
            <c:invertIfNegative val="1"/>
            <c:bubble3D val="0"/>
            <c:spPr>
              <a:solidFill>
                <a:srgbClr val="C00000"/>
              </a:solidFill>
            </c:spPr>
            <c:extLst>
              <c:ext xmlns:c16="http://schemas.microsoft.com/office/drawing/2014/chart" uri="{C3380CC4-5D6E-409C-BE32-E72D297353CC}">
                <c16:uniqueId val="{00000011-78D1-41D4-ABFA-320BD44357BD}"/>
              </c:ext>
            </c:extLst>
          </c:dPt>
          <c:dPt>
            <c:idx val="9"/>
            <c:invertIfNegative val="1"/>
            <c:bubble3D val="0"/>
            <c:spPr>
              <a:solidFill>
                <a:srgbClr val="FF8080"/>
              </a:solidFill>
            </c:spPr>
            <c:extLst>
              <c:ext xmlns:c16="http://schemas.microsoft.com/office/drawing/2014/chart" uri="{C3380CC4-5D6E-409C-BE32-E72D297353CC}">
                <c16:uniqueId val="{00000013-78D1-41D4-ABFA-320BD44357BD}"/>
              </c:ext>
            </c:extLst>
          </c:dPt>
          <c:dPt>
            <c:idx val="10"/>
            <c:invertIfNegative val="1"/>
            <c:bubble3D val="0"/>
            <c:spPr>
              <a:solidFill>
                <a:srgbClr val="C00000"/>
              </a:solidFill>
            </c:spPr>
            <c:extLst>
              <c:ext xmlns:c16="http://schemas.microsoft.com/office/drawing/2014/chart" uri="{C3380CC4-5D6E-409C-BE32-E72D297353CC}">
                <c16:uniqueId val="{00000015-78D1-41D4-ABFA-320BD44357BD}"/>
              </c:ext>
            </c:extLst>
          </c:dPt>
          <c:dPt>
            <c:idx val="11"/>
            <c:invertIfNegative val="1"/>
            <c:bubble3D val="0"/>
            <c:spPr>
              <a:solidFill>
                <a:srgbClr val="FF8080"/>
              </a:solidFill>
            </c:spPr>
            <c:extLst>
              <c:ext xmlns:c16="http://schemas.microsoft.com/office/drawing/2014/chart" uri="{C3380CC4-5D6E-409C-BE32-E72D297353CC}">
                <c16:uniqueId val="{00000017-78D1-41D4-ABFA-320BD44357BD}"/>
              </c:ext>
            </c:extLst>
          </c:dPt>
          <c:dPt>
            <c:idx val="12"/>
            <c:invertIfNegative val="1"/>
            <c:bubble3D val="0"/>
            <c:spPr>
              <a:solidFill>
                <a:srgbClr val="FF8080"/>
              </a:solidFill>
            </c:spPr>
            <c:extLst>
              <c:ext xmlns:c16="http://schemas.microsoft.com/office/drawing/2014/chart" uri="{C3380CC4-5D6E-409C-BE32-E72D297353CC}">
                <c16:uniqueId val="{00000019-72A3-4B5A-BA51-AED84CB17947}"/>
              </c:ext>
            </c:extLst>
          </c:dPt>
          <c:dPt>
            <c:idx val="13"/>
            <c:invertIfNegative val="1"/>
            <c:bubble3D val="0"/>
            <c:spPr>
              <a:solidFill>
                <a:srgbClr val="7ECAC4"/>
              </a:solidFill>
            </c:spPr>
            <c:extLst>
              <c:ext xmlns:c16="http://schemas.microsoft.com/office/drawing/2014/chart" uri="{C3380CC4-5D6E-409C-BE32-E72D297353CC}">
                <c16:uniqueId val="{0000001B-72A3-4B5A-BA51-AED84CB17947}"/>
              </c:ext>
            </c:extLst>
          </c:dPt>
          <c:dPt>
            <c:idx val="14"/>
            <c:invertIfNegative val="1"/>
            <c:bubble3D val="0"/>
            <c:spPr>
              <a:solidFill>
                <a:srgbClr val="FF8080"/>
              </a:solidFill>
            </c:spPr>
            <c:extLst>
              <c:ext xmlns:c16="http://schemas.microsoft.com/office/drawing/2014/chart" uri="{C3380CC4-5D6E-409C-BE32-E72D297353CC}">
                <c16:uniqueId val="{0000001D-72A3-4B5A-BA51-AED84CB17947}"/>
              </c:ext>
            </c:extLst>
          </c:dPt>
          <c:dPt>
            <c:idx val="15"/>
            <c:invertIfNegative val="1"/>
            <c:bubble3D val="0"/>
            <c:spPr>
              <a:solidFill>
                <a:srgbClr val="7ECAC4"/>
              </a:solidFill>
            </c:spPr>
            <c:extLst>
              <c:ext xmlns:c16="http://schemas.microsoft.com/office/drawing/2014/chart" uri="{C3380CC4-5D6E-409C-BE32-E72D297353CC}">
                <c16:uniqueId val="{0000001F-72A3-4B5A-BA51-AED84CB17947}"/>
              </c:ext>
            </c:extLst>
          </c:dPt>
          <c:dLbls>
            <c:dLbl>
              <c:idx val="0"/>
              <c:tx>
                <c:rich>
                  <a:bodyPr/>
                  <a:lstStyle/>
                  <a:p>
                    <a:fld id="{A4FE1C91-9891-48FB-AA94-3853A9C02E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1836E0BE-33B4-4E5F-AF39-0D1FB4A93E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8D794D89-46E5-4D45-BF0C-3E1F80B1D5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12F5AA3E-210A-4877-86FB-68E3E5C7F2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150B9202-0CB6-4389-BF11-4F1C1D850B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9D267C09-EB15-45D2-8729-2ED715518F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F1A6B353-70D3-4EEA-AF9E-F07D305BEF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4C8A8201-1229-4DCA-A0DD-8180F435A9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dLbl>
              <c:idx val="8"/>
              <c:tx>
                <c:rich>
                  <a:bodyPr/>
                  <a:lstStyle/>
                  <a:p>
                    <a:fld id="{91B21626-C562-4E1B-B83D-411B05A49E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78D1-41D4-ABFA-320BD44357BD}"/>
                </c:ext>
              </c:extLst>
            </c:dLbl>
            <c:dLbl>
              <c:idx val="9"/>
              <c:tx>
                <c:rich>
                  <a:bodyPr/>
                  <a:lstStyle/>
                  <a:p>
                    <a:fld id="{E6588347-E60D-468E-B8EF-A90CC34519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78D1-41D4-ABFA-320BD44357BD}"/>
                </c:ext>
              </c:extLst>
            </c:dLbl>
            <c:dLbl>
              <c:idx val="10"/>
              <c:tx>
                <c:rich>
                  <a:bodyPr/>
                  <a:lstStyle/>
                  <a:p>
                    <a:fld id="{AD4A4619-5A73-4797-9FBB-C755CDB95D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78D1-41D4-ABFA-320BD44357BD}"/>
                </c:ext>
              </c:extLst>
            </c:dLbl>
            <c:dLbl>
              <c:idx val="11"/>
              <c:tx>
                <c:rich>
                  <a:bodyPr/>
                  <a:lstStyle/>
                  <a:p>
                    <a:fld id="{0FFB6063-5F74-4A67-B73E-661B813A5F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78D1-41D4-ABFA-320BD44357BD}"/>
                </c:ext>
              </c:extLst>
            </c:dLbl>
            <c:dLbl>
              <c:idx val="12"/>
              <c:tx>
                <c:rich>
                  <a:bodyPr/>
                  <a:lstStyle/>
                  <a:p>
                    <a:fld id="{51CF8C53-C1B6-4586-83C2-C2093ECC9D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72A3-4B5A-BA51-AED84CB17947}"/>
                </c:ext>
              </c:extLst>
            </c:dLbl>
            <c:dLbl>
              <c:idx val="13"/>
              <c:tx>
                <c:rich>
                  <a:bodyPr/>
                  <a:lstStyle/>
                  <a:p>
                    <a:fld id="{A6F0D3EB-C5DE-4FFD-BC55-78563A181C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72A3-4B5A-BA51-AED84CB17947}"/>
                </c:ext>
              </c:extLst>
            </c:dLbl>
            <c:dLbl>
              <c:idx val="14"/>
              <c:tx>
                <c:rich>
                  <a:bodyPr/>
                  <a:lstStyle/>
                  <a:p>
                    <a:fld id="{C22F4DF4-0B11-42B2-A623-57FD2D338E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72A3-4B5A-BA51-AED84CB17947}"/>
                </c:ext>
              </c:extLst>
            </c:dLbl>
            <c:dLbl>
              <c:idx val="15"/>
              <c:tx>
                <c:rich>
                  <a:bodyPr/>
                  <a:lstStyle/>
                  <a:p>
                    <a:fld id="{5CE1B45A-1D3B-4F1D-B48D-B36BB8114E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72A3-4B5A-BA51-AED84CB17947}"/>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7</c:f>
              <c:numCache>
                <c:formatCode>General</c:formatCode>
                <c:ptCount val="16"/>
                <c:pt idx="0">
                  <c:v>10.1914</c:v>
                </c:pt>
                <c:pt idx="1">
                  <c:v>9.6289999999999996</c:v>
                </c:pt>
                <c:pt idx="2">
                  <c:v>12.8474</c:v>
                </c:pt>
                <c:pt idx="3">
                  <c:v>10.982900000000001</c:v>
                </c:pt>
                <c:pt idx="4">
                  <c:v>13.442600000000001</c:v>
                </c:pt>
                <c:pt idx="5">
                  <c:v>18.828099999999999</c:v>
                </c:pt>
                <c:pt idx="6">
                  <c:v>38.959600000000002</c:v>
                </c:pt>
                <c:pt idx="7">
                  <c:v>24.770600000000002</c:v>
                </c:pt>
                <c:pt idx="8">
                  <c:v>63.025500000000001</c:v>
                </c:pt>
                <c:pt idx="9">
                  <c:v>43.796999999999997</c:v>
                </c:pt>
                <c:pt idx="10">
                  <c:v>81.802800000000005</c:v>
                </c:pt>
                <c:pt idx="11">
                  <c:v>145.3296</c:v>
                </c:pt>
                <c:pt idx="12">
                  <c:v>40.336599999999997</c:v>
                </c:pt>
                <c:pt idx="13">
                  <c:v>36.921900000000001</c:v>
                </c:pt>
                <c:pt idx="14">
                  <c:v>33.437899999999999</c:v>
                </c:pt>
                <c:pt idx="15">
                  <c:v>50.130200000000002</c:v>
                </c:pt>
              </c:numCache>
            </c:numRef>
          </c:xVal>
          <c:yVal>
            <c:numRef>
              <c:f>Sheet1!$B$2:$B$17</c:f>
              <c:numCache>
                <c:formatCode>General</c:formatCode>
                <c:ptCount val="16"/>
                <c:pt idx="0">
                  <c:v>0.54020000000000001</c:v>
                </c:pt>
                <c:pt idx="1">
                  <c:v>0.54410000000000003</c:v>
                </c:pt>
                <c:pt idx="2">
                  <c:v>0.51100000000000001</c:v>
                </c:pt>
                <c:pt idx="3">
                  <c:v>0.46579999999999999</c:v>
                </c:pt>
                <c:pt idx="4">
                  <c:v>0.51039999999999996</c:v>
                </c:pt>
                <c:pt idx="5">
                  <c:v>0.4587</c:v>
                </c:pt>
                <c:pt idx="6">
                  <c:v>0.43099999999999999</c:v>
                </c:pt>
                <c:pt idx="7">
                  <c:v>0.53159999999999996</c:v>
                </c:pt>
                <c:pt idx="8">
                  <c:v>0.40589999999999998</c:v>
                </c:pt>
                <c:pt idx="9">
                  <c:v>0.39450000000000002</c:v>
                </c:pt>
                <c:pt idx="10">
                  <c:v>0.40429999999999999</c:v>
                </c:pt>
                <c:pt idx="11">
                  <c:v>0.37919999999999998</c:v>
                </c:pt>
                <c:pt idx="12">
                  <c:v>0.43419999999999997</c:v>
                </c:pt>
                <c:pt idx="13">
                  <c:v>0.4284</c:v>
                </c:pt>
                <c:pt idx="14">
                  <c:v>0.43690000000000001</c:v>
                </c:pt>
                <c:pt idx="15">
                  <c:v>0.4214</c:v>
                </c:pt>
              </c:numCache>
            </c:numRef>
          </c:yVal>
          <c:bubbleSize>
            <c:numRef>
              <c:f>Sheet1!$C$2:$C$17</c:f>
              <c:numCache>
                <c:formatCode>General</c:formatCode>
                <c:ptCount val="16"/>
                <c:pt idx="0">
                  <c:v>173590.44029999999</c:v>
                </c:pt>
                <c:pt idx="1">
                  <c:v>937471.01619999995</c:v>
                </c:pt>
                <c:pt idx="2">
                  <c:v>556897.0321999999</c:v>
                </c:pt>
                <c:pt idx="3">
                  <c:v>38033.686500000003</c:v>
                </c:pt>
                <c:pt idx="4">
                  <c:v>278087.55849999998</c:v>
                </c:pt>
                <c:pt idx="5">
                  <c:v>193138.84959999999</c:v>
                </c:pt>
                <c:pt idx="6">
                  <c:v>68296.190700000006</c:v>
                </c:pt>
                <c:pt idx="7">
                  <c:v>385875.91470000002</c:v>
                </c:pt>
                <c:pt idx="8">
                  <c:v>2420178.2243999979</c:v>
                </c:pt>
                <c:pt idx="9">
                  <c:v>24050008.05859999</c:v>
                </c:pt>
                <c:pt idx="10">
                  <c:v>4484593.9220000012</c:v>
                </c:pt>
                <c:pt idx="11">
                  <c:v>1378741.798600002</c:v>
                </c:pt>
                <c:pt idx="12">
                  <c:v>231612.7409</c:v>
                </c:pt>
                <c:pt idx="13">
                  <c:v>1436668.215700001</c:v>
                </c:pt>
                <c:pt idx="14">
                  <c:v>1765585.6015999999</c:v>
                </c:pt>
                <c:pt idx="15">
                  <c:v>175054.72880000001</c:v>
                </c:pt>
              </c:numCache>
            </c:numRef>
          </c:bubbleSize>
          <c:bubble3D val="0"/>
          <c:extLst>
            <c:ext xmlns:c15="http://schemas.microsoft.com/office/drawing/2012/chart" uri="{02D57815-91ED-43cb-92C2-25804820EDAC}">
              <c15:datalabelsRange>
                <c15:f>Sheet1!$E$2:$E$29</c15:f>
                <c15:dlblRangeCache>
                  <c:ptCount val="28"/>
                  <c:pt idx="0">
                    <c:v>Mousseux Autres</c:v>
                  </c:pt>
                  <c:pt idx="1">
                    <c:v>Mousseux Italiens</c:v>
                  </c:pt>
                  <c:pt idx="2">
                    <c:v>Mousseux Val De Loire</c:v>
                  </c:pt>
                  <c:pt idx="3">
                    <c:v>Mousseux Bordelais</c:v>
                  </c:pt>
                  <c:pt idx="4">
                    <c:v>Mousseux Bourgogne</c:v>
                  </c:pt>
                  <c:pt idx="5">
                    <c:v>Mousseux Alsace</c:v>
                  </c:pt>
                  <c:pt idx="6">
                    <c:v>Demi-Secs</c:v>
                  </c:pt>
                  <c:pt idx="7">
                    <c:v>Effervescents Sans Alcool</c:v>
                  </c:pt>
                  <c:pt idx="8">
                    <c:v>Rosés</c:v>
                  </c:pt>
                  <c:pt idx="9">
                    <c:v>Bruts</c:v>
                  </c:pt>
                  <c:pt idx="10">
                    <c:v>Blanc De Blancs</c:v>
                  </c:pt>
                  <c:pt idx="11">
                    <c:v>Millesimes</c:v>
                  </c:pt>
                  <c:pt idx="12">
                    <c:v>Blanc De Noirs</c:v>
                  </c:pt>
                  <c:pt idx="13">
                    <c:v>Extra Brut</c:v>
                  </c:pt>
                  <c:pt idx="14">
                    <c:v>Crus</c:v>
                  </c:pt>
                  <c:pt idx="15">
                    <c:v>Brut Nature</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74.39552"/>
          <c:min val="7.7031999999999998"/>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800829013542422"/>
        <c:crossBetween val="midCat"/>
      </c:valAx>
      <c:valAx>
        <c:axId val="1011451359"/>
        <c:scaling>
          <c:orientation val="minMax"/>
          <c:max val="1.01292"/>
          <c:min val="6.336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50.32524739959606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spPr>
              <a:solidFill>
                <a:srgbClr val="FF8080"/>
              </a:solidFill>
            </c:spPr>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006C6D"/>
              </a:solidFill>
            </c:spPr>
            <c:extLst>
              <c:ext xmlns:c16="http://schemas.microsoft.com/office/drawing/2014/chart" uri="{C3380CC4-5D6E-409C-BE32-E72D297353CC}">
                <c16:uniqueId val="{0000000D-7D2A-4F1E-BC80-EAAAE9B08A80}"/>
              </c:ext>
            </c:extLst>
          </c:dPt>
          <c:dPt>
            <c:idx val="8"/>
            <c:invertIfNegative val="1"/>
            <c:bubble3D val="0"/>
            <c:spPr>
              <a:solidFill>
                <a:srgbClr val="FF8080"/>
              </a:solidFill>
            </c:spPr>
            <c:extLst>
              <c:ext xmlns:c16="http://schemas.microsoft.com/office/drawing/2014/chart" uri="{C3380CC4-5D6E-409C-BE32-E72D297353CC}">
                <c16:uniqueId val="{00000011-78D1-41D4-ABFA-320BD44357BD}"/>
              </c:ext>
            </c:extLst>
          </c:dPt>
          <c:dPt>
            <c:idx val="9"/>
            <c:invertIfNegative val="1"/>
            <c:bubble3D val="0"/>
            <c:spPr>
              <a:solidFill>
                <a:srgbClr val="FF8080"/>
              </a:solidFill>
            </c:spPr>
            <c:extLst>
              <c:ext xmlns:c16="http://schemas.microsoft.com/office/drawing/2014/chart" uri="{C3380CC4-5D6E-409C-BE32-E72D297353CC}">
                <c16:uniqueId val="{00000013-78D1-41D4-ABFA-320BD44357BD}"/>
              </c:ext>
            </c:extLst>
          </c:dPt>
          <c:dPt>
            <c:idx val="10"/>
            <c:invertIfNegative val="1"/>
            <c:bubble3D val="0"/>
            <c:spPr>
              <a:solidFill>
                <a:srgbClr val="C00000"/>
              </a:solidFill>
            </c:spPr>
            <c:extLst>
              <c:ext xmlns:c16="http://schemas.microsoft.com/office/drawing/2014/chart" uri="{C3380CC4-5D6E-409C-BE32-E72D297353CC}">
                <c16:uniqueId val="{00000015-78D1-41D4-ABFA-320BD44357BD}"/>
              </c:ext>
            </c:extLst>
          </c:dPt>
          <c:dPt>
            <c:idx val="11"/>
            <c:invertIfNegative val="1"/>
            <c:bubble3D val="0"/>
            <c:spPr>
              <a:solidFill>
                <a:srgbClr val="FF8080"/>
              </a:solidFill>
            </c:spPr>
            <c:extLst>
              <c:ext xmlns:c16="http://schemas.microsoft.com/office/drawing/2014/chart" uri="{C3380CC4-5D6E-409C-BE32-E72D297353CC}">
                <c16:uniqueId val="{00000017-78D1-41D4-ABFA-320BD44357BD}"/>
              </c:ext>
            </c:extLst>
          </c:dPt>
          <c:dPt>
            <c:idx val="12"/>
            <c:invertIfNegative val="1"/>
            <c:bubble3D val="0"/>
            <c:spPr>
              <a:solidFill>
                <a:srgbClr val="006C6D"/>
              </a:solidFill>
            </c:spPr>
            <c:extLst>
              <c:ext xmlns:c16="http://schemas.microsoft.com/office/drawing/2014/chart" uri="{C3380CC4-5D6E-409C-BE32-E72D297353CC}">
                <c16:uniqueId val="{00000019-66D8-4512-B16A-EC224283142D}"/>
              </c:ext>
            </c:extLst>
          </c:dPt>
          <c:dPt>
            <c:idx val="13"/>
            <c:invertIfNegative val="1"/>
            <c:bubble3D val="0"/>
            <c:spPr>
              <a:solidFill>
                <a:srgbClr val="E6E5E5"/>
              </a:solidFill>
            </c:spPr>
            <c:extLst>
              <c:ext xmlns:c16="http://schemas.microsoft.com/office/drawing/2014/chart" uri="{C3380CC4-5D6E-409C-BE32-E72D297353CC}">
                <c16:uniqueId val="{0000001B-66D8-4512-B16A-EC224283142D}"/>
              </c:ext>
            </c:extLst>
          </c:dPt>
          <c:dPt>
            <c:idx val="14"/>
            <c:invertIfNegative val="1"/>
            <c:bubble3D val="0"/>
            <c:spPr>
              <a:solidFill>
                <a:srgbClr val="C00000"/>
              </a:solidFill>
            </c:spPr>
            <c:extLst>
              <c:ext xmlns:c16="http://schemas.microsoft.com/office/drawing/2014/chart" uri="{C3380CC4-5D6E-409C-BE32-E72D297353CC}">
                <c16:uniqueId val="{0000001D-66D8-4512-B16A-EC224283142D}"/>
              </c:ext>
            </c:extLst>
          </c:dPt>
          <c:dPt>
            <c:idx val="15"/>
            <c:invertIfNegative val="1"/>
            <c:bubble3D val="0"/>
            <c:spPr>
              <a:solidFill>
                <a:srgbClr val="006C6D"/>
              </a:solidFill>
            </c:spPr>
            <c:extLst>
              <c:ext xmlns:c16="http://schemas.microsoft.com/office/drawing/2014/chart" uri="{C3380CC4-5D6E-409C-BE32-E72D297353CC}">
                <c16:uniqueId val="{0000001F-66D8-4512-B16A-EC224283142D}"/>
              </c:ext>
            </c:extLst>
          </c:dPt>
          <c:dLbls>
            <c:dLbl>
              <c:idx val="0"/>
              <c:tx>
                <c:rich>
                  <a:bodyPr/>
                  <a:lstStyle/>
                  <a:p>
                    <a:fld id="{E53BAD9E-E5D3-42BC-97CB-E1EC81D679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E6115DEF-FEB8-4BEE-8E7A-8D627450BE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854ED72C-22DA-4B06-9F12-F1E5E8955C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5AB8FF30-FDE7-4CF3-A7BB-313E68157E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8E7B32F6-E64B-47CD-8422-C64417F966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5ED674F2-148E-4E60-97B5-2E01FEE8C5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177BCA76-F70D-405C-8B89-DB4EC8E560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3C9480AC-0E68-4C85-8103-F6EA04490B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dLbl>
              <c:idx val="8"/>
              <c:tx>
                <c:rich>
                  <a:bodyPr/>
                  <a:lstStyle/>
                  <a:p>
                    <a:fld id="{60E0DF94-FCEE-4FB0-880D-375EDF98B5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78D1-41D4-ABFA-320BD44357BD}"/>
                </c:ext>
              </c:extLst>
            </c:dLbl>
            <c:dLbl>
              <c:idx val="9"/>
              <c:tx>
                <c:rich>
                  <a:bodyPr/>
                  <a:lstStyle/>
                  <a:p>
                    <a:fld id="{259816F7-9E64-4194-9DD7-A86A6703C9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78D1-41D4-ABFA-320BD44357BD}"/>
                </c:ext>
              </c:extLst>
            </c:dLbl>
            <c:dLbl>
              <c:idx val="10"/>
              <c:tx>
                <c:rich>
                  <a:bodyPr/>
                  <a:lstStyle/>
                  <a:p>
                    <a:fld id="{B5DE2F71-E30B-4E19-BA2E-D393DFF0E9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78D1-41D4-ABFA-320BD44357BD}"/>
                </c:ext>
              </c:extLst>
            </c:dLbl>
            <c:dLbl>
              <c:idx val="11"/>
              <c:tx>
                <c:rich>
                  <a:bodyPr/>
                  <a:lstStyle/>
                  <a:p>
                    <a:fld id="{BE0C6AAD-5E6C-48D3-B833-F3F2FC6AE3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78D1-41D4-ABFA-320BD44357BD}"/>
                </c:ext>
              </c:extLst>
            </c:dLbl>
            <c:dLbl>
              <c:idx val="12"/>
              <c:tx>
                <c:rich>
                  <a:bodyPr/>
                  <a:lstStyle/>
                  <a:p>
                    <a:fld id="{098712BE-FD29-4CC1-B7AB-5F39F9253F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66D8-4512-B16A-EC224283142D}"/>
                </c:ext>
              </c:extLst>
            </c:dLbl>
            <c:dLbl>
              <c:idx val="13"/>
              <c:tx>
                <c:rich>
                  <a:bodyPr/>
                  <a:lstStyle/>
                  <a:p>
                    <a:fld id="{43D1F705-9512-4513-837D-1395B10F93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66D8-4512-B16A-EC224283142D}"/>
                </c:ext>
              </c:extLst>
            </c:dLbl>
            <c:dLbl>
              <c:idx val="14"/>
              <c:tx>
                <c:rich>
                  <a:bodyPr/>
                  <a:lstStyle/>
                  <a:p>
                    <a:fld id="{888A8323-C4D4-4A45-B5AD-AD6BA450A0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66D8-4512-B16A-EC224283142D}"/>
                </c:ext>
              </c:extLst>
            </c:dLbl>
            <c:dLbl>
              <c:idx val="15"/>
              <c:tx>
                <c:rich>
                  <a:bodyPr/>
                  <a:lstStyle/>
                  <a:p>
                    <a:fld id="{0AD5D47A-1E5F-46FC-8ADC-3E82985368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66D8-4512-B16A-EC224283142D}"/>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7</c:f>
              <c:numCache>
                <c:formatCode>General</c:formatCode>
                <c:ptCount val="16"/>
                <c:pt idx="0">
                  <c:v>10.107799999999999</c:v>
                </c:pt>
                <c:pt idx="1">
                  <c:v>9.5434000000000001</c:v>
                </c:pt>
                <c:pt idx="2">
                  <c:v>12.4284</c:v>
                </c:pt>
                <c:pt idx="3">
                  <c:v>10.867000000000001</c:v>
                </c:pt>
                <c:pt idx="4">
                  <c:v>13.5966</c:v>
                </c:pt>
                <c:pt idx="5">
                  <c:v>18.409300000000002</c:v>
                </c:pt>
                <c:pt idx="6">
                  <c:v>39.465699999999998</c:v>
                </c:pt>
                <c:pt idx="7">
                  <c:v>22.4331</c:v>
                </c:pt>
                <c:pt idx="8">
                  <c:v>56.819800000000001</c:v>
                </c:pt>
                <c:pt idx="9">
                  <c:v>42.490400000000001</c:v>
                </c:pt>
                <c:pt idx="10">
                  <c:v>74.59</c:v>
                </c:pt>
                <c:pt idx="11">
                  <c:v>133.13310000000001</c:v>
                </c:pt>
                <c:pt idx="12">
                  <c:v>39.569099999999999</c:v>
                </c:pt>
                <c:pt idx="13">
                  <c:v>36.607599999999998</c:v>
                </c:pt>
                <c:pt idx="14">
                  <c:v>33.431600000000003</c:v>
                </c:pt>
                <c:pt idx="15">
                  <c:v>48.568199999999997</c:v>
                </c:pt>
              </c:numCache>
            </c:numRef>
          </c:xVal>
          <c:yVal>
            <c:numRef>
              <c:f>Sheet1!$B$2:$B$17</c:f>
              <c:numCache>
                <c:formatCode>General</c:formatCode>
                <c:ptCount val="16"/>
                <c:pt idx="0">
                  <c:v>0.50680000000000003</c:v>
                </c:pt>
                <c:pt idx="1">
                  <c:v>0.5444</c:v>
                </c:pt>
                <c:pt idx="2">
                  <c:v>0.48520000000000002</c:v>
                </c:pt>
                <c:pt idx="3">
                  <c:v>0.4642</c:v>
                </c:pt>
                <c:pt idx="4">
                  <c:v>0.49919999999999998</c:v>
                </c:pt>
                <c:pt idx="5">
                  <c:v>0.45650000000000002</c:v>
                </c:pt>
                <c:pt idx="6">
                  <c:v>0.43080000000000002</c:v>
                </c:pt>
                <c:pt idx="7">
                  <c:v>0.52410000000000001</c:v>
                </c:pt>
                <c:pt idx="8">
                  <c:v>0.40529999999999999</c:v>
                </c:pt>
                <c:pt idx="9">
                  <c:v>0.39150000000000001</c:v>
                </c:pt>
                <c:pt idx="10">
                  <c:v>0.39989999999999998</c:v>
                </c:pt>
                <c:pt idx="11">
                  <c:v>0.37959999999999999</c:v>
                </c:pt>
                <c:pt idx="12">
                  <c:v>0.43419999999999997</c:v>
                </c:pt>
                <c:pt idx="13">
                  <c:v>0.43280000000000002</c:v>
                </c:pt>
                <c:pt idx="14">
                  <c:v>0.43780000000000002</c:v>
                </c:pt>
                <c:pt idx="15">
                  <c:v>0.42299999999999999</c:v>
                </c:pt>
              </c:numCache>
            </c:numRef>
          </c:yVal>
          <c:bubbleSize>
            <c:numRef>
              <c:f>Sheet1!$C$2:$C$17</c:f>
              <c:numCache>
                <c:formatCode>General</c:formatCode>
                <c:ptCount val="16"/>
                <c:pt idx="0">
                  <c:v>76273.473999999973</c:v>
                </c:pt>
                <c:pt idx="1">
                  <c:v>241667.20349999989</c:v>
                </c:pt>
                <c:pt idx="2">
                  <c:v>176148.40679999991</c:v>
                </c:pt>
                <c:pt idx="3">
                  <c:v>12736.140100000001</c:v>
                </c:pt>
                <c:pt idx="4">
                  <c:v>100628.1164</c:v>
                </c:pt>
                <c:pt idx="5">
                  <c:v>61450.268099999987</c:v>
                </c:pt>
                <c:pt idx="6">
                  <c:v>30230.720000000001</c:v>
                </c:pt>
                <c:pt idx="7">
                  <c:v>97987.694500000027</c:v>
                </c:pt>
                <c:pt idx="8">
                  <c:v>685076.34330000018</c:v>
                </c:pt>
                <c:pt idx="9">
                  <c:v>6679155.4855000013</c:v>
                </c:pt>
                <c:pt idx="10">
                  <c:v>1434738.1570000011</c:v>
                </c:pt>
                <c:pt idx="11">
                  <c:v>356796.63209999999</c:v>
                </c:pt>
                <c:pt idx="12">
                  <c:v>82976.400000000009</c:v>
                </c:pt>
                <c:pt idx="13">
                  <c:v>345978.7900000001</c:v>
                </c:pt>
                <c:pt idx="14">
                  <c:v>463562.03690000012</c:v>
                </c:pt>
                <c:pt idx="15">
                  <c:v>34823.375</c:v>
                </c:pt>
              </c:numCache>
            </c:numRef>
          </c:bubbleSize>
          <c:bubble3D val="0"/>
          <c:extLst>
            <c:ext xmlns:c15="http://schemas.microsoft.com/office/drawing/2012/chart" uri="{02D57815-91ED-43cb-92C2-25804820EDAC}">
              <c15:datalabelsRange>
                <c15:f>Sheet1!$E$2:$E$29</c15:f>
                <c15:dlblRangeCache>
                  <c:ptCount val="28"/>
                  <c:pt idx="0">
                    <c:v>Mousseux Autres</c:v>
                  </c:pt>
                  <c:pt idx="1">
                    <c:v>Mousseux Italiens</c:v>
                  </c:pt>
                  <c:pt idx="2">
                    <c:v>Mousseux Val De Loire</c:v>
                  </c:pt>
                  <c:pt idx="3">
                    <c:v>Mousseux Bordelais</c:v>
                  </c:pt>
                  <c:pt idx="4">
                    <c:v>Mousseux Bourgogne</c:v>
                  </c:pt>
                  <c:pt idx="5">
                    <c:v>Mousseux Alsace</c:v>
                  </c:pt>
                  <c:pt idx="6">
                    <c:v>Demi-Secs</c:v>
                  </c:pt>
                  <c:pt idx="7">
                    <c:v>Effervescents Sans Alcool</c:v>
                  </c:pt>
                  <c:pt idx="8">
                    <c:v>Rosés</c:v>
                  </c:pt>
                  <c:pt idx="9">
                    <c:v>Bruts</c:v>
                  </c:pt>
                  <c:pt idx="10">
                    <c:v>Blanc De Blancs</c:v>
                  </c:pt>
                  <c:pt idx="11">
                    <c:v>Millesimes</c:v>
                  </c:pt>
                  <c:pt idx="12">
                    <c:v>Blanc De Noirs</c:v>
                  </c:pt>
                  <c:pt idx="13">
                    <c:v>Extra Brut</c:v>
                  </c:pt>
                  <c:pt idx="14">
                    <c:v>Crus</c:v>
                  </c:pt>
                  <c:pt idx="15">
                    <c:v>Brut Nature</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59.75972000000002"/>
          <c:min val="7.6347200000000006"/>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527188540170039"/>
        <c:crossBetween val="midCat"/>
      </c:valAx>
      <c:valAx>
        <c:axId val="1011451359"/>
        <c:scaling>
          <c:orientation val="minMax"/>
          <c:max val="1.01328"/>
          <c:min val="6.368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7.94731373091833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spPr>
              <a:solidFill>
                <a:srgbClr val="E6E5E5"/>
              </a:solidFill>
            </c:spPr>
            <c:extLst>
              <c:ext xmlns:c16="http://schemas.microsoft.com/office/drawing/2014/chart" uri="{C3380CC4-5D6E-409C-BE32-E72D297353CC}">
                <c16:uniqueId val="{0000000C-7D2A-4F1E-BC80-EAAAE9B08A80}"/>
              </c:ext>
            </c:extLst>
          </c:dPt>
          <c:dPt>
            <c:idx val="6"/>
            <c:invertIfNegative val="0"/>
            <c:bubble3D val="0"/>
            <c:spPr>
              <a:solidFill>
                <a:srgbClr val="C0000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006C6D"/>
              </a:solidFill>
            </c:spPr>
            <c:extLst>
              <c:ext xmlns:c16="http://schemas.microsoft.com/office/drawing/2014/chart" uri="{C3380CC4-5D6E-409C-BE32-E72D297353CC}">
                <c16:uniqueId val="{0000000D-7D2A-4F1E-BC80-EAAAE9B08A80}"/>
              </c:ext>
            </c:extLst>
          </c:dPt>
          <c:dPt>
            <c:idx val="8"/>
            <c:invertIfNegative val="1"/>
            <c:bubble3D val="0"/>
            <c:spPr>
              <a:solidFill>
                <a:srgbClr val="C00000"/>
              </a:solidFill>
            </c:spPr>
            <c:extLst>
              <c:ext xmlns:c16="http://schemas.microsoft.com/office/drawing/2014/chart" uri="{C3380CC4-5D6E-409C-BE32-E72D297353CC}">
                <c16:uniqueId val="{00000011-78D1-41D4-ABFA-320BD44357BD}"/>
              </c:ext>
            </c:extLst>
          </c:dPt>
          <c:dPt>
            <c:idx val="9"/>
            <c:invertIfNegative val="1"/>
            <c:bubble3D val="0"/>
            <c:spPr>
              <a:solidFill>
                <a:srgbClr val="FF8080"/>
              </a:solidFill>
            </c:spPr>
            <c:extLst>
              <c:ext xmlns:c16="http://schemas.microsoft.com/office/drawing/2014/chart" uri="{C3380CC4-5D6E-409C-BE32-E72D297353CC}">
                <c16:uniqueId val="{00000013-78D1-41D4-ABFA-320BD44357BD}"/>
              </c:ext>
            </c:extLst>
          </c:dPt>
          <c:dPt>
            <c:idx val="10"/>
            <c:invertIfNegative val="1"/>
            <c:bubble3D val="0"/>
            <c:spPr>
              <a:solidFill>
                <a:srgbClr val="C00000"/>
              </a:solidFill>
            </c:spPr>
            <c:extLst>
              <c:ext xmlns:c16="http://schemas.microsoft.com/office/drawing/2014/chart" uri="{C3380CC4-5D6E-409C-BE32-E72D297353CC}">
                <c16:uniqueId val="{00000015-78D1-41D4-ABFA-320BD44357BD}"/>
              </c:ext>
            </c:extLst>
          </c:dPt>
          <c:dPt>
            <c:idx val="11"/>
            <c:invertIfNegative val="1"/>
            <c:bubble3D val="0"/>
            <c:spPr>
              <a:solidFill>
                <a:srgbClr val="FF8080"/>
              </a:solidFill>
            </c:spPr>
            <c:extLst>
              <c:ext xmlns:c16="http://schemas.microsoft.com/office/drawing/2014/chart" uri="{C3380CC4-5D6E-409C-BE32-E72D297353CC}">
                <c16:uniqueId val="{00000017-78D1-41D4-ABFA-320BD44357BD}"/>
              </c:ext>
            </c:extLst>
          </c:dPt>
          <c:dPt>
            <c:idx val="12"/>
            <c:invertIfNegative val="1"/>
            <c:bubble3D val="0"/>
            <c:spPr>
              <a:solidFill>
                <a:srgbClr val="FF8080"/>
              </a:solidFill>
            </c:spPr>
            <c:extLst>
              <c:ext xmlns:c16="http://schemas.microsoft.com/office/drawing/2014/chart" uri="{C3380CC4-5D6E-409C-BE32-E72D297353CC}">
                <c16:uniqueId val="{00000019-B155-4F65-BFEE-AD0379B1784E}"/>
              </c:ext>
            </c:extLst>
          </c:dPt>
          <c:dPt>
            <c:idx val="13"/>
            <c:invertIfNegative val="1"/>
            <c:bubble3D val="0"/>
            <c:spPr>
              <a:solidFill>
                <a:srgbClr val="7ECAC4"/>
              </a:solidFill>
            </c:spPr>
            <c:extLst>
              <c:ext xmlns:c16="http://schemas.microsoft.com/office/drawing/2014/chart" uri="{C3380CC4-5D6E-409C-BE32-E72D297353CC}">
                <c16:uniqueId val="{0000001B-B155-4F65-BFEE-AD0379B1784E}"/>
              </c:ext>
            </c:extLst>
          </c:dPt>
          <c:dPt>
            <c:idx val="14"/>
            <c:invertIfNegative val="1"/>
            <c:bubble3D val="0"/>
            <c:spPr>
              <a:solidFill>
                <a:srgbClr val="FF8080"/>
              </a:solidFill>
            </c:spPr>
            <c:extLst>
              <c:ext xmlns:c16="http://schemas.microsoft.com/office/drawing/2014/chart" uri="{C3380CC4-5D6E-409C-BE32-E72D297353CC}">
                <c16:uniqueId val="{0000001D-B155-4F65-BFEE-AD0379B1784E}"/>
              </c:ext>
            </c:extLst>
          </c:dPt>
          <c:dPt>
            <c:idx val="15"/>
            <c:invertIfNegative val="1"/>
            <c:bubble3D val="0"/>
            <c:spPr>
              <a:solidFill>
                <a:srgbClr val="006C6D"/>
              </a:solidFill>
            </c:spPr>
            <c:extLst>
              <c:ext xmlns:c16="http://schemas.microsoft.com/office/drawing/2014/chart" uri="{C3380CC4-5D6E-409C-BE32-E72D297353CC}">
                <c16:uniqueId val="{0000001F-B155-4F65-BFEE-AD0379B1784E}"/>
              </c:ext>
            </c:extLst>
          </c:dPt>
          <c:dLbls>
            <c:dLbl>
              <c:idx val="0"/>
              <c:tx>
                <c:rich>
                  <a:bodyPr/>
                  <a:lstStyle/>
                  <a:p>
                    <a:fld id="{1EDB14EA-C7BE-4CC8-9169-23EFD3B91F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21342815-55E3-4F4F-BAC1-58D6F45F19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C71EF6A9-5612-4D88-829C-5A75AE86C0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1192757D-2F4D-4936-90D5-62A2C7E6C6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79C0CA9C-61D5-4D63-BAEE-80B57690AB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4A5051D1-C1CD-4FA7-9A0E-A4EED41F90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0B05C3DE-B5A6-4720-AD97-BE8C6DAD22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9EA91250-3FA3-4481-ACA9-72A1477840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dLbl>
              <c:idx val="8"/>
              <c:tx>
                <c:rich>
                  <a:bodyPr/>
                  <a:lstStyle/>
                  <a:p>
                    <a:fld id="{E2532949-DCCC-4C15-B799-863989C031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78D1-41D4-ABFA-320BD44357BD}"/>
                </c:ext>
              </c:extLst>
            </c:dLbl>
            <c:dLbl>
              <c:idx val="9"/>
              <c:tx>
                <c:rich>
                  <a:bodyPr/>
                  <a:lstStyle/>
                  <a:p>
                    <a:fld id="{97C249AB-455F-472C-A88C-090A2D36E1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78D1-41D4-ABFA-320BD44357BD}"/>
                </c:ext>
              </c:extLst>
            </c:dLbl>
            <c:dLbl>
              <c:idx val="10"/>
              <c:tx>
                <c:rich>
                  <a:bodyPr/>
                  <a:lstStyle/>
                  <a:p>
                    <a:fld id="{B0F7E7B7-96AF-4BB2-964C-BBD29E9C02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78D1-41D4-ABFA-320BD44357BD}"/>
                </c:ext>
              </c:extLst>
            </c:dLbl>
            <c:dLbl>
              <c:idx val="11"/>
              <c:tx>
                <c:rich>
                  <a:bodyPr/>
                  <a:lstStyle/>
                  <a:p>
                    <a:fld id="{03003955-0BCC-4229-8DBD-0FAF4ACF4D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78D1-41D4-ABFA-320BD44357BD}"/>
                </c:ext>
              </c:extLst>
            </c:dLbl>
            <c:dLbl>
              <c:idx val="12"/>
              <c:tx>
                <c:rich>
                  <a:bodyPr/>
                  <a:lstStyle/>
                  <a:p>
                    <a:fld id="{638F0C12-CB8F-4315-BD2E-8DFC4A161B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155-4F65-BFEE-AD0379B1784E}"/>
                </c:ext>
              </c:extLst>
            </c:dLbl>
            <c:dLbl>
              <c:idx val="13"/>
              <c:tx>
                <c:rich>
                  <a:bodyPr/>
                  <a:lstStyle/>
                  <a:p>
                    <a:fld id="{C398E6E9-B7BB-4BE0-A065-BAFAD9F749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155-4F65-BFEE-AD0379B1784E}"/>
                </c:ext>
              </c:extLst>
            </c:dLbl>
            <c:dLbl>
              <c:idx val="14"/>
              <c:tx>
                <c:rich>
                  <a:bodyPr/>
                  <a:lstStyle/>
                  <a:p>
                    <a:fld id="{8C6278EA-11BA-485D-AA26-17A2D682BC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155-4F65-BFEE-AD0379B1784E}"/>
                </c:ext>
              </c:extLst>
            </c:dLbl>
            <c:dLbl>
              <c:idx val="15"/>
              <c:tx>
                <c:rich>
                  <a:bodyPr/>
                  <a:lstStyle/>
                  <a:p>
                    <a:fld id="{18E0075B-9FD2-4509-B32F-1EC51B7D26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155-4F65-BFEE-AD0379B1784E}"/>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7</c:f>
              <c:numCache>
                <c:formatCode>General</c:formatCode>
                <c:ptCount val="16"/>
                <c:pt idx="0">
                  <c:v>10.4793</c:v>
                </c:pt>
                <c:pt idx="1">
                  <c:v>9.5541</c:v>
                </c:pt>
                <c:pt idx="2">
                  <c:v>12.5326</c:v>
                </c:pt>
                <c:pt idx="3">
                  <c:v>10.9373</c:v>
                </c:pt>
                <c:pt idx="4">
                  <c:v>13.5227</c:v>
                </c:pt>
                <c:pt idx="5">
                  <c:v>16.501100000000001</c:v>
                </c:pt>
                <c:pt idx="6">
                  <c:v>38.693300000000001</c:v>
                </c:pt>
                <c:pt idx="7">
                  <c:v>24.162099999999999</c:v>
                </c:pt>
                <c:pt idx="8">
                  <c:v>61.4544</c:v>
                </c:pt>
                <c:pt idx="9">
                  <c:v>43.494399999999999</c:v>
                </c:pt>
                <c:pt idx="10">
                  <c:v>80.215699999999998</c:v>
                </c:pt>
                <c:pt idx="11">
                  <c:v>143.58410000000001</c:v>
                </c:pt>
                <c:pt idx="12">
                  <c:v>39.784500000000001</c:v>
                </c:pt>
                <c:pt idx="13">
                  <c:v>36.799999999999997</c:v>
                </c:pt>
                <c:pt idx="14">
                  <c:v>33.406300000000002</c:v>
                </c:pt>
                <c:pt idx="15">
                  <c:v>49.9801</c:v>
                </c:pt>
              </c:numCache>
            </c:numRef>
          </c:xVal>
          <c:yVal>
            <c:numRef>
              <c:f>Sheet1!$B$2:$B$17</c:f>
              <c:numCache>
                <c:formatCode>General</c:formatCode>
                <c:ptCount val="16"/>
                <c:pt idx="0">
                  <c:v>0.501</c:v>
                </c:pt>
                <c:pt idx="1">
                  <c:v>0.54339999999999999</c:v>
                </c:pt>
                <c:pt idx="2">
                  <c:v>0.48980000000000001</c:v>
                </c:pt>
                <c:pt idx="3">
                  <c:v>0.46689999999999998</c:v>
                </c:pt>
                <c:pt idx="4">
                  <c:v>0.50470000000000004</c:v>
                </c:pt>
                <c:pt idx="5">
                  <c:v>0.435</c:v>
                </c:pt>
                <c:pt idx="6">
                  <c:v>0.43020000000000003</c:v>
                </c:pt>
                <c:pt idx="7">
                  <c:v>0.52990000000000004</c:v>
                </c:pt>
                <c:pt idx="8">
                  <c:v>0.40570000000000001</c:v>
                </c:pt>
                <c:pt idx="9">
                  <c:v>0.39379999999999998</c:v>
                </c:pt>
                <c:pt idx="10">
                  <c:v>0.4032</c:v>
                </c:pt>
                <c:pt idx="11">
                  <c:v>0.37769999999999998</c:v>
                </c:pt>
                <c:pt idx="12">
                  <c:v>0.43440000000000001</c:v>
                </c:pt>
                <c:pt idx="13">
                  <c:v>0.42980000000000002</c:v>
                </c:pt>
                <c:pt idx="14">
                  <c:v>0.43730000000000002</c:v>
                </c:pt>
                <c:pt idx="15">
                  <c:v>0.42159999999999997</c:v>
                </c:pt>
              </c:numCache>
            </c:numRef>
          </c:yVal>
          <c:bubbleSize>
            <c:numRef>
              <c:f>Sheet1!$C$2:$C$17</c:f>
              <c:numCache>
                <c:formatCode>General</c:formatCode>
                <c:ptCount val="16"/>
                <c:pt idx="0">
                  <c:v>341802.97379999969</c:v>
                </c:pt>
                <c:pt idx="1">
                  <c:v>1357968.856700002</c:v>
                </c:pt>
                <c:pt idx="2">
                  <c:v>867896.46050000109</c:v>
                </c:pt>
                <c:pt idx="3">
                  <c:v>56163.065999999977</c:v>
                </c:pt>
                <c:pt idx="4">
                  <c:v>421421.68180000002</c:v>
                </c:pt>
                <c:pt idx="5">
                  <c:v>390317.66850000003</c:v>
                </c:pt>
                <c:pt idx="6">
                  <c:v>109192.48080000011</c:v>
                </c:pt>
                <c:pt idx="7">
                  <c:v>534538.05740000028</c:v>
                </c:pt>
                <c:pt idx="8">
                  <c:v>3466888.5815999918</c:v>
                </c:pt>
                <c:pt idx="9">
                  <c:v>34673939.291599967</c:v>
                </c:pt>
                <c:pt idx="10">
                  <c:v>6554587.262800023</c:v>
                </c:pt>
                <c:pt idx="11">
                  <c:v>1994095.542600001</c:v>
                </c:pt>
                <c:pt idx="12">
                  <c:v>313382.68780000001</c:v>
                </c:pt>
                <c:pt idx="13">
                  <c:v>1891999.907400002</c:v>
                </c:pt>
                <c:pt idx="14">
                  <c:v>2409430.964699998</c:v>
                </c:pt>
                <c:pt idx="15">
                  <c:v>231807.64209999971</c:v>
                </c:pt>
              </c:numCache>
            </c:numRef>
          </c:bubbleSize>
          <c:bubble3D val="0"/>
          <c:extLst>
            <c:ext xmlns:c15="http://schemas.microsoft.com/office/drawing/2012/chart" uri="{02D57815-91ED-43cb-92C2-25804820EDAC}">
              <c15:datalabelsRange>
                <c15:f>Sheet1!$E$2:$E$29</c15:f>
                <c15:dlblRangeCache>
                  <c:ptCount val="28"/>
                  <c:pt idx="0">
                    <c:v>Mousseux Autres</c:v>
                  </c:pt>
                  <c:pt idx="1">
                    <c:v>Mousseux Italiens</c:v>
                  </c:pt>
                  <c:pt idx="2">
                    <c:v>Mousseux Val De Loire</c:v>
                  </c:pt>
                  <c:pt idx="3">
                    <c:v>Mousseux Bordelais</c:v>
                  </c:pt>
                  <c:pt idx="4">
                    <c:v>Mousseux Bourgogne</c:v>
                  </c:pt>
                  <c:pt idx="5">
                    <c:v>Mousseux Alsace</c:v>
                  </c:pt>
                  <c:pt idx="6">
                    <c:v>Demi-Secs</c:v>
                  </c:pt>
                  <c:pt idx="7">
                    <c:v>Effervescents Sans Alcool</c:v>
                  </c:pt>
                  <c:pt idx="8">
                    <c:v>Rosés</c:v>
                  </c:pt>
                  <c:pt idx="9">
                    <c:v>Bruts</c:v>
                  </c:pt>
                  <c:pt idx="10">
                    <c:v>Blanc De Blancs</c:v>
                  </c:pt>
                  <c:pt idx="11">
                    <c:v>Millesimes</c:v>
                  </c:pt>
                  <c:pt idx="12">
                    <c:v>Blanc De Noirs</c:v>
                  </c:pt>
                  <c:pt idx="13">
                    <c:v>Extra Brut</c:v>
                  </c:pt>
                  <c:pt idx="14">
                    <c:v>Crus</c:v>
                  </c:pt>
                  <c:pt idx="15">
                    <c:v>Brut Nature</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72.30091999999999"/>
          <c:min val="7.6432800000000007"/>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6918894105535"/>
        <c:crossBetween val="midCat"/>
      </c:valAx>
      <c:valAx>
        <c:axId val="1011451359"/>
        <c:scaling>
          <c:orientation val="minMax"/>
          <c:max val="1.0120799999999999"/>
          <c:min val="6.2159999999999993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9.71238065545191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spPr>
              <a:solidFill>
                <a:srgbClr val="E6E5E5"/>
              </a:solidFill>
            </c:spPr>
            <c:extLst>
              <c:ext xmlns:c16="http://schemas.microsoft.com/office/drawing/2014/chart" uri="{C3380CC4-5D6E-409C-BE32-E72D297353CC}">
                <c16:uniqueId val="{0000000C-7D2A-4F1E-BC80-EAAAE9B08A80}"/>
              </c:ext>
            </c:extLst>
          </c:dPt>
          <c:dPt>
            <c:idx val="6"/>
            <c:invertIfNegative val="0"/>
            <c:bubble3D val="0"/>
            <c:spPr>
              <a:solidFill>
                <a:srgbClr val="C0000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006C6D"/>
              </a:solidFill>
            </c:spPr>
            <c:extLst>
              <c:ext xmlns:c16="http://schemas.microsoft.com/office/drawing/2014/chart" uri="{C3380CC4-5D6E-409C-BE32-E72D297353CC}">
                <c16:uniqueId val="{0000000D-7D2A-4F1E-BC80-EAAAE9B08A80}"/>
              </c:ext>
            </c:extLst>
          </c:dPt>
          <c:dPt>
            <c:idx val="8"/>
            <c:invertIfNegative val="1"/>
            <c:bubble3D val="0"/>
            <c:spPr>
              <a:solidFill>
                <a:srgbClr val="C00000"/>
              </a:solidFill>
            </c:spPr>
            <c:extLst>
              <c:ext xmlns:c16="http://schemas.microsoft.com/office/drawing/2014/chart" uri="{C3380CC4-5D6E-409C-BE32-E72D297353CC}">
                <c16:uniqueId val="{00000011-78D1-41D4-ABFA-320BD44357BD}"/>
              </c:ext>
            </c:extLst>
          </c:dPt>
          <c:dPt>
            <c:idx val="9"/>
            <c:invertIfNegative val="1"/>
            <c:bubble3D val="0"/>
            <c:spPr>
              <a:solidFill>
                <a:srgbClr val="FF8080"/>
              </a:solidFill>
            </c:spPr>
            <c:extLst>
              <c:ext xmlns:c16="http://schemas.microsoft.com/office/drawing/2014/chart" uri="{C3380CC4-5D6E-409C-BE32-E72D297353CC}">
                <c16:uniqueId val="{00000013-78D1-41D4-ABFA-320BD44357BD}"/>
              </c:ext>
            </c:extLst>
          </c:dPt>
          <c:dPt>
            <c:idx val="10"/>
            <c:invertIfNegative val="1"/>
            <c:bubble3D val="0"/>
            <c:spPr>
              <a:solidFill>
                <a:srgbClr val="C00000"/>
              </a:solidFill>
            </c:spPr>
            <c:extLst>
              <c:ext xmlns:c16="http://schemas.microsoft.com/office/drawing/2014/chart" uri="{C3380CC4-5D6E-409C-BE32-E72D297353CC}">
                <c16:uniqueId val="{00000015-78D1-41D4-ABFA-320BD44357BD}"/>
              </c:ext>
            </c:extLst>
          </c:dPt>
          <c:dPt>
            <c:idx val="11"/>
            <c:invertIfNegative val="1"/>
            <c:bubble3D val="0"/>
            <c:spPr>
              <a:solidFill>
                <a:srgbClr val="FF8080"/>
              </a:solidFill>
            </c:spPr>
            <c:extLst>
              <c:ext xmlns:c16="http://schemas.microsoft.com/office/drawing/2014/chart" uri="{C3380CC4-5D6E-409C-BE32-E72D297353CC}">
                <c16:uniqueId val="{00000017-78D1-41D4-ABFA-320BD44357BD}"/>
              </c:ext>
            </c:extLst>
          </c:dPt>
          <c:dPt>
            <c:idx val="12"/>
            <c:invertIfNegative val="1"/>
            <c:bubble3D val="0"/>
            <c:spPr>
              <a:solidFill>
                <a:srgbClr val="E6E5E5"/>
              </a:solidFill>
            </c:spPr>
            <c:extLst>
              <c:ext xmlns:c16="http://schemas.microsoft.com/office/drawing/2014/chart" uri="{C3380CC4-5D6E-409C-BE32-E72D297353CC}">
                <c16:uniqueId val="{00000019-BD55-492E-9D31-2B322FE91AC8}"/>
              </c:ext>
            </c:extLst>
          </c:dPt>
          <c:dPt>
            <c:idx val="13"/>
            <c:invertIfNegative val="1"/>
            <c:bubble3D val="0"/>
            <c:spPr>
              <a:solidFill>
                <a:srgbClr val="7ECAC4"/>
              </a:solidFill>
            </c:spPr>
            <c:extLst>
              <c:ext xmlns:c16="http://schemas.microsoft.com/office/drawing/2014/chart" uri="{C3380CC4-5D6E-409C-BE32-E72D297353CC}">
                <c16:uniqueId val="{0000001B-BD55-492E-9D31-2B322FE91AC8}"/>
              </c:ext>
            </c:extLst>
          </c:dPt>
          <c:dPt>
            <c:idx val="14"/>
            <c:invertIfNegative val="1"/>
            <c:bubble3D val="0"/>
            <c:spPr>
              <a:solidFill>
                <a:srgbClr val="FF8080"/>
              </a:solidFill>
            </c:spPr>
            <c:extLst>
              <c:ext xmlns:c16="http://schemas.microsoft.com/office/drawing/2014/chart" uri="{C3380CC4-5D6E-409C-BE32-E72D297353CC}">
                <c16:uniqueId val="{0000001D-BD55-492E-9D31-2B322FE91AC8}"/>
              </c:ext>
            </c:extLst>
          </c:dPt>
          <c:dPt>
            <c:idx val="15"/>
            <c:invertIfNegative val="1"/>
            <c:bubble3D val="0"/>
            <c:spPr>
              <a:solidFill>
                <a:srgbClr val="7ECAC4"/>
              </a:solidFill>
            </c:spPr>
            <c:extLst>
              <c:ext xmlns:c16="http://schemas.microsoft.com/office/drawing/2014/chart" uri="{C3380CC4-5D6E-409C-BE32-E72D297353CC}">
                <c16:uniqueId val="{0000001F-BD55-492E-9D31-2B322FE91AC8}"/>
              </c:ext>
            </c:extLst>
          </c:dPt>
          <c:dLbls>
            <c:dLbl>
              <c:idx val="0"/>
              <c:tx>
                <c:rich>
                  <a:bodyPr/>
                  <a:lstStyle/>
                  <a:p>
                    <a:fld id="{C3DF3061-6DE6-44F0-87F4-4BFDD0F28F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B29F4430-458C-4DDB-A6BA-ACBF58C5ED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C9B6B5D0-2577-46BF-8E72-63D3089609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CC4D412-CFEB-45CE-80E6-5A56AA5152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FEAD401-C471-403A-BD89-736E0282F9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124CEC10-AA92-4A2C-AB56-1213C22075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632A1E4F-AD97-4409-A369-C9F40A07E7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69834FA8-AFB3-4F65-B4F5-F65B3DB2B8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dLbl>
              <c:idx val="8"/>
              <c:tx>
                <c:rich>
                  <a:bodyPr/>
                  <a:lstStyle/>
                  <a:p>
                    <a:fld id="{5D8F790F-2D0B-4759-9B6E-241A05FA7B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78D1-41D4-ABFA-320BD44357BD}"/>
                </c:ext>
              </c:extLst>
            </c:dLbl>
            <c:dLbl>
              <c:idx val="9"/>
              <c:tx>
                <c:rich>
                  <a:bodyPr/>
                  <a:lstStyle/>
                  <a:p>
                    <a:fld id="{F5C64E9C-7401-4B94-A0EB-BB3A8A3914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78D1-41D4-ABFA-320BD44357BD}"/>
                </c:ext>
              </c:extLst>
            </c:dLbl>
            <c:dLbl>
              <c:idx val="10"/>
              <c:tx>
                <c:rich>
                  <a:bodyPr/>
                  <a:lstStyle/>
                  <a:p>
                    <a:fld id="{61A450D8-4C17-4D4C-8434-EB56B7CA7C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78D1-41D4-ABFA-320BD44357BD}"/>
                </c:ext>
              </c:extLst>
            </c:dLbl>
            <c:dLbl>
              <c:idx val="11"/>
              <c:tx>
                <c:rich>
                  <a:bodyPr/>
                  <a:lstStyle/>
                  <a:p>
                    <a:fld id="{8418708E-3448-4FE8-9B84-B3DC641E31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78D1-41D4-ABFA-320BD44357BD}"/>
                </c:ext>
              </c:extLst>
            </c:dLbl>
            <c:dLbl>
              <c:idx val="12"/>
              <c:tx>
                <c:rich>
                  <a:bodyPr/>
                  <a:lstStyle/>
                  <a:p>
                    <a:fld id="{4FA64597-495C-47FE-8B53-F522AC4615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D55-492E-9D31-2B322FE91AC8}"/>
                </c:ext>
              </c:extLst>
            </c:dLbl>
            <c:dLbl>
              <c:idx val="13"/>
              <c:tx>
                <c:rich>
                  <a:bodyPr/>
                  <a:lstStyle/>
                  <a:p>
                    <a:fld id="{0953B291-584F-495B-8413-5963359B56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D55-492E-9D31-2B322FE91AC8}"/>
                </c:ext>
              </c:extLst>
            </c:dLbl>
            <c:dLbl>
              <c:idx val="14"/>
              <c:tx>
                <c:rich>
                  <a:bodyPr/>
                  <a:lstStyle/>
                  <a:p>
                    <a:fld id="{4032C2FB-D149-4791-A160-CD2FD8808D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D55-492E-9D31-2B322FE91AC8}"/>
                </c:ext>
              </c:extLst>
            </c:dLbl>
            <c:dLbl>
              <c:idx val="15"/>
              <c:tx>
                <c:rich>
                  <a:bodyPr/>
                  <a:lstStyle/>
                  <a:p>
                    <a:fld id="{C2F34584-FCDC-4807-BF96-4DBBD946FB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D55-492E-9D31-2B322FE91AC8}"/>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7</c:f>
              <c:numCache>
                <c:formatCode>General</c:formatCode>
                <c:ptCount val="16"/>
                <c:pt idx="0">
                  <c:v>10.332100000000001</c:v>
                </c:pt>
                <c:pt idx="1">
                  <c:v>9.5680999999999994</c:v>
                </c:pt>
                <c:pt idx="2">
                  <c:v>12.635</c:v>
                </c:pt>
                <c:pt idx="3">
                  <c:v>11.023400000000001</c:v>
                </c:pt>
                <c:pt idx="4">
                  <c:v>13.4406</c:v>
                </c:pt>
                <c:pt idx="5">
                  <c:v>16.968299999999999</c:v>
                </c:pt>
                <c:pt idx="6">
                  <c:v>38.151499999999999</c:v>
                </c:pt>
                <c:pt idx="7">
                  <c:v>24.3825</c:v>
                </c:pt>
                <c:pt idx="8">
                  <c:v>61.421500000000002</c:v>
                </c:pt>
                <c:pt idx="9">
                  <c:v>43.219799999999999</c:v>
                </c:pt>
                <c:pt idx="10">
                  <c:v>76.991399999999999</c:v>
                </c:pt>
                <c:pt idx="11">
                  <c:v>132.28749999999999</c:v>
                </c:pt>
                <c:pt idx="12">
                  <c:v>39.301000000000002</c:v>
                </c:pt>
                <c:pt idx="13">
                  <c:v>36.6601</c:v>
                </c:pt>
                <c:pt idx="14">
                  <c:v>33.431899999999999</c:v>
                </c:pt>
                <c:pt idx="15">
                  <c:v>48.704599999999999</c:v>
                </c:pt>
              </c:numCache>
            </c:numRef>
          </c:xVal>
          <c:yVal>
            <c:numRef>
              <c:f>Sheet1!$B$2:$B$17</c:f>
              <c:numCache>
                <c:formatCode>General</c:formatCode>
                <c:ptCount val="16"/>
                <c:pt idx="0">
                  <c:v>0.5151</c:v>
                </c:pt>
                <c:pt idx="1">
                  <c:v>0.54500000000000004</c:v>
                </c:pt>
                <c:pt idx="2">
                  <c:v>0.49170000000000003</c:v>
                </c:pt>
                <c:pt idx="3">
                  <c:v>0.46729999999999999</c:v>
                </c:pt>
                <c:pt idx="4">
                  <c:v>0.51049999999999995</c:v>
                </c:pt>
                <c:pt idx="5">
                  <c:v>0.44090000000000001</c:v>
                </c:pt>
                <c:pt idx="6">
                  <c:v>0.43269999999999997</c:v>
                </c:pt>
                <c:pt idx="7">
                  <c:v>0.52969999999999995</c:v>
                </c:pt>
                <c:pt idx="8">
                  <c:v>0.40579999999999999</c:v>
                </c:pt>
                <c:pt idx="9">
                  <c:v>0.39450000000000002</c:v>
                </c:pt>
                <c:pt idx="10">
                  <c:v>0.40649999999999997</c:v>
                </c:pt>
                <c:pt idx="11">
                  <c:v>0.38350000000000001</c:v>
                </c:pt>
                <c:pt idx="12">
                  <c:v>0.43540000000000001</c:v>
                </c:pt>
                <c:pt idx="13">
                  <c:v>0.43009999999999998</c:v>
                </c:pt>
                <c:pt idx="14">
                  <c:v>0.43680000000000002</c:v>
                </c:pt>
                <c:pt idx="15">
                  <c:v>0.4229</c:v>
                </c:pt>
              </c:numCache>
            </c:numRef>
          </c:yVal>
          <c:bubbleSize>
            <c:numRef>
              <c:f>Sheet1!$C$2:$C$17</c:f>
              <c:numCache>
                <c:formatCode>General</c:formatCode>
                <c:ptCount val="16"/>
                <c:pt idx="0">
                  <c:v>140527.2297</c:v>
                </c:pt>
                <c:pt idx="1">
                  <c:v>666941.91779999982</c:v>
                </c:pt>
                <c:pt idx="2">
                  <c:v>443097.24160000001</c:v>
                </c:pt>
                <c:pt idx="3">
                  <c:v>27293.93</c:v>
                </c:pt>
                <c:pt idx="4">
                  <c:v>183020.3786</c:v>
                </c:pt>
                <c:pt idx="5">
                  <c:v>170870.41780000011</c:v>
                </c:pt>
                <c:pt idx="6">
                  <c:v>38265.993999999999</c:v>
                </c:pt>
                <c:pt idx="7">
                  <c:v>258039.53330000001</c:v>
                </c:pt>
                <c:pt idx="8">
                  <c:v>1478169.3160000001</c:v>
                </c:pt>
                <c:pt idx="9">
                  <c:v>15552351.41980001</c:v>
                </c:pt>
                <c:pt idx="10">
                  <c:v>2241374.9552000002</c:v>
                </c:pt>
                <c:pt idx="11">
                  <c:v>726787.34739999985</c:v>
                </c:pt>
                <c:pt idx="12">
                  <c:v>134802.31630000001</c:v>
                </c:pt>
                <c:pt idx="13">
                  <c:v>870897.81840000022</c:v>
                </c:pt>
                <c:pt idx="14">
                  <c:v>1189408.0181</c:v>
                </c:pt>
                <c:pt idx="15">
                  <c:v>96824.761999999988</c:v>
                </c:pt>
              </c:numCache>
            </c:numRef>
          </c:bubbleSize>
          <c:bubble3D val="0"/>
          <c:extLst>
            <c:ext xmlns:c15="http://schemas.microsoft.com/office/drawing/2012/chart" uri="{02D57815-91ED-43cb-92C2-25804820EDAC}">
              <c15:datalabelsRange>
                <c15:f>Sheet1!$E$2:$E$29</c15:f>
                <c15:dlblRangeCache>
                  <c:ptCount val="28"/>
                  <c:pt idx="0">
                    <c:v>Mousseux Autres</c:v>
                  </c:pt>
                  <c:pt idx="1">
                    <c:v>Mousseux Italiens</c:v>
                  </c:pt>
                  <c:pt idx="2">
                    <c:v>Mousseux Val De Loire</c:v>
                  </c:pt>
                  <c:pt idx="3">
                    <c:v>Mousseux Bordelais</c:v>
                  </c:pt>
                  <c:pt idx="4">
                    <c:v>Mousseux Bourgogne</c:v>
                  </c:pt>
                  <c:pt idx="5">
                    <c:v>Mousseux Alsace</c:v>
                  </c:pt>
                  <c:pt idx="6">
                    <c:v>Demi-Secs</c:v>
                  </c:pt>
                  <c:pt idx="7">
                    <c:v>Effervescents Sans Alcool</c:v>
                  </c:pt>
                  <c:pt idx="8">
                    <c:v>Rosés</c:v>
                  </c:pt>
                  <c:pt idx="9">
                    <c:v>Bruts</c:v>
                  </c:pt>
                  <c:pt idx="10">
                    <c:v>Blanc De Blancs</c:v>
                  </c:pt>
                  <c:pt idx="11">
                    <c:v>Millesimes</c:v>
                  </c:pt>
                  <c:pt idx="12">
                    <c:v>Blanc De Noirs</c:v>
                  </c:pt>
                  <c:pt idx="13">
                    <c:v>Extra Brut</c:v>
                  </c:pt>
                  <c:pt idx="14">
                    <c:v>Crus</c:v>
                  </c:pt>
                  <c:pt idx="15">
                    <c:v>Brut Nature</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58.74499999999998"/>
          <c:min val="7.6544799999999995"/>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90784274379668"/>
        <c:crossBetween val="midCat"/>
      </c:valAx>
      <c:valAx>
        <c:axId val="1011451359"/>
        <c:scaling>
          <c:orientation val="minMax"/>
          <c:max val="1.014"/>
          <c:min val="6.6800000000000012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7.08024220738312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spPr>
              <a:solidFill>
                <a:srgbClr val="FF8080"/>
              </a:solidFill>
            </c:spPr>
            <c:extLst>
              <c:ext xmlns:c16="http://schemas.microsoft.com/office/drawing/2014/chart" uri="{C3380CC4-5D6E-409C-BE32-E72D297353CC}">
                <c16:uniqueId val="{0000000C-7D2A-4F1E-BC80-EAAAE9B08A80}"/>
              </c:ext>
            </c:extLst>
          </c:dPt>
          <c:dPt>
            <c:idx val="6"/>
            <c:invertIfNegative val="0"/>
            <c:bubble3D val="0"/>
            <c:spPr>
              <a:solidFill>
                <a:srgbClr val="006C6D"/>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006C6D"/>
              </a:solidFill>
            </c:spPr>
            <c:extLst>
              <c:ext xmlns:c16="http://schemas.microsoft.com/office/drawing/2014/chart" uri="{C3380CC4-5D6E-409C-BE32-E72D297353CC}">
                <c16:uniqueId val="{0000000D-7D2A-4F1E-BC80-EAAAE9B08A80}"/>
              </c:ext>
            </c:extLst>
          </c:dPt>
          <c:dPt>
            <c:idx val="8"/>
            <c:invertIfNegative val="1"/>
            <c:bubble3D val="0"/>
            <c:spPr>
              <a:solidFill>
                <a:srgbClr val="FF8080"/>
              </a:solidFill>
            </c:spPr>
            <c:extLst>
              <c:ext xmlns:c16="http://schemas.microsoft.com/office/drawing/2014/chart" uri="{C3380CC4-5D6E-409C-BE32-E72D297353CC}">
                <c16:uniqueId val="{00000011-78D1-41D4-ABFA-320BD44357BD}"/>
              </c:ext>
            </c:extLst>
          </c:dPt>
          <c:dPt>
            <c:idx val="9"/>
            <c:invertIfNegative val="1"/>
            <c:bubble3D val="0"/>
            <c:spPr>
              <a:solidFill>
                <a:srgbClr val="FF8080"/>
              </a:solidFill>
            </c:spPr>
            <c:extLst>
              <c:ext xmlns:c16="http://schemas.microsoft.com/office/drawing/2014/chart" uri="{C3380CC4-5D6E-409C-BE32-E72D297353CC}">
                <c16:uniqueId val="{00000013-78D1-41D4-ABFA-320BD44357BD}"/>
              </c:ext>
            </c:extLst>
          </c:dPt>
          <c:dPt>
            <c:idx val="10"/>
            <c:invertIfNegative val="1"/>
            <c:bubble3D val="0"/>
            <c:spPr>
              <a:solidFill>
                <a:srgbClr val="C00000"/>
              </a:solidFill>
            </c:spPr>
            <c:extLst>
              <c:ext xmlns:c16="http://schemas.microsoft.com/office/drawing/2014/chart" uri="{C3380CC4-5D6E-409C-BE32-E72D297353CC}">
                <c16:uniqueId val="{00000015-78D1-41D4-ABFA-320BD44357BD}"/>
              </c:ext>
            </c:extLst>
          </c:dPt>
          <c:dPt>
            <c:idx val="11"/>
            <c:invertIfNegative val="1"/>
            <c:bubble3D val="0"/>
            <c:spPr>
              <a:solidFill>
                <a:srgbClr val="E6E5E5"/>
              </a:solidFill>
            </c:spPr>
            <c:extLst>
              <c:ext xmlns:c16="http://schemas.microsoft.com/office/drawing/2014/chart" uri="{C3380CC4-5D6E-409C-BE32-E72D297353CC}">
                <c16:uniqueId val="{00000017-78D1-41D4-ABFA-320BD44357BD}"/>
              </c:ext>
            </c:extLst>
          </c:dPt>
          <c:dPt>
            <c:idx val="12"/>
            <c:invertIfNegative val="1"/>
            <c:bubble3D val="0"/>
            <c:spPr>
              <a:solidFill>
                <a:srgbClr val="C00000"/>
              </a:solidFill>
            </c:spPr>
            <c:extLst>
              <c:ext xmlns:c16="http://schemas.microsoft.com/office/drawing/2014/chart" uri="{C3380CC4-5D6E-409C-BE32-E72D297353CC}">
                <c16:uniqueId val="{00000019-D1A9-4EC1-8E4A-F839C5DC2B9F}"/>
              </c:ext>
            </c:extLst>
          </c:dPt>
          <c:dPt>
            <c:idx val="13"/>
            <c:invertIfNegative val="1"/>
            <c:bubble3D val="0"/>
            <c:spPr>
              <a:solidFill>
                <a:srgbClr val="006C6D"/>
              </a:solidFill>
            </c:spPr>
            <c:extLst>
              <c:ext xmlns:c16="http://schemas.microsoft.com/office/drawing/2014/chart" uri="{C3380CC4-5D6E-409C-BE32-E72D297353CC}">
                <c16:uniqueId val="{0000001B-D1A9-4EC1-8E4A-F839C5DC2B9F}"/>
              </c:ext>
            </c:extLst>
          </c:dPt>
          <c:dPt>
            <c:idx val="14"/>
            <c:invertIfNegative val="1"/>
            <c:bubble3D val="0"/>
            <c:spPr>
              <a:solidFill>
                <a:srgbClr val="FF8080"/>
              </a:solidFill>
            </c:spPr>
            <c:extLst>
              <c:ext xmlns:c16="http://schemas.microsoft.com/office/drawing/2014/chart" uri="{C3380CC4-5D6E-409C-BE32-E72D297353CC}">
                <c16:uniqueId val="{0000001D-D1A9-4EC1-8E4A-F839C5DC2B9F}"/>
              </c:ext>
            </c:extLst>
          </c:dPt>
          <c:dPt>
            <c:idx val="15"/>
            <c:invertIfNegative val="1"/>
            <c:bubble3D val="0"/>
            <c:spPr>
              <a:solidFill>
                <a:srgbClr val="006C6D"/>
              </a:solidFill>
            </c:spPr>
            <c:extLst>
              <c:ext xmlns:c16="http://schemas.microsoft.com/office/drawing/2014/chart" uri="{C3380CC4-5D6E-409C-BE32-E72D297353CC}">
                <c16:uniqueId val="{0000001F-D1A9-4EC1-8E4A-F839C5DC2B9F}"/>
              </c:ext>
            </c:extLst>
          </c:dPt>
          <c:dLbls>
            <c:dLbl>
              <c:idx val="0"/>
              <c:tx>
                <c:rich>
                  <a:bodyPr/>
                  <a:lstStyle/>
                  <a:p>
                    <a:fld id="{3BA42E48-7C06-4102-A98C-43FA905716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0DF4DC23-A39A-4517-8E00-7BBF2A91A2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88C3CB8-B07B-4840-85CC-ED31BFFA1D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A24CE0E8-C98F-4188-925C-630E06DDF8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3CD00C10-651B-4465-96A5-DB809F5A5D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3E212F54-1BF2-4498-B21D-D6E779A7FE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EBA16A41-70D5-4FC1-80C1-B9AF160071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D989C53E-0FD3-4EAF-A874-5A7239F479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dLbl>
              <c:idx val="8"/>
              <c:tx>
                <c:rich>
                  <a:bodyPr/>
                  <a:lstStyle/>
                  <a:p>
                    <a:fld id="{E890E08D-CDB0-4464-8952-8B550C3258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78D1-41D4-ABFA-320BD44357BD}"/>
                </c:ext>
              </c:extLst>
            </c:dLbl>
            <c:dLbl>
              <c:idx val="9"/>
              <c:tx>
                <c:rich>
                  <a:bodyPr/>
                  <a:lstStyle/>
                  <a:p>
                    <a:fld id="{4D21E1E6-6406-4E3C-8F3A-9D2494F88C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78D1-41D4-ABFA-320BD44357BD}"/>
                </c:ext>
              </c:extLst>
            </c:dLbl>
            <c:dLbl>
              <c:idx val="10"/>
              <c:tx>
                <c:rich>
                  <a:bodyPr/>
                  <a:lstStyle/>
                  <a:p>
                    <a:fld id="{79AAD1AC-EFC6-438B-9AD7-4F5EAEC559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78D1-41D4-ABFA-320BD44357BD}"/>
                </c:ext>
              </c:extLst>
            </c:dLbl>
            <c:dLbl>
              <c:idx val="11"/>
              <c:tx>
                <c:rich>
                  <a:bodyPr/>
                  <a:lstStyle/>
                  <a:p>
                    <a:fld id="{AB106AF8-55B6-452A-8F30-433A56FA5E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78D1-41D4-ABFA-320BD44357BD}"/>
                </c:ext>
              </c:extLst>
            </c:dLbl>
            <c:dLbl>
              <c:idx val="12"/>
              <c:tx>
                <c:rich>
                  <a:bodyPr/>
                  <a:lstStyle/>
                  <a:p>
                    <a:fld id="{24AE647A-19F4-4A09-ABFC-D06430E265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D1A9-4EC1-8E4A-F839C5DC2B9F}"/>
                </c:ext>
              </c:extLst>
            </c:dLbl>
            <c:dLbl>
              <c:idx val="13"/>
              <c:tx>
                <c:rich>
                  <a:bodyPr/>
                  <a:lstStyle/>
                  <a:p>
                    <a:fld id="{CBEB870E-9BBE-4C06-9183-8D705D1ACD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D1A9-4EC1-8E4A-F839C5DC2B9F}"/>
                </c:ext>
              </c:extLst>
            </c:dLbl>
            <c:dLbl>
              <c:idx val="14"/>
              <c:tx>
                <c:rich>
                  <a:bodyPr/>
                  <a:lstStyle/>
                  <a:p>
                    <a:fld id="{0FC12F9B-3F01-441B-96BF-5A7609DA9A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D1A9-4EC1-8E4A-F839C5DC2B9F}"/>
                </c:ext>
              </c:extLst>
            </c:dLbl>
            <c:dLbl>
              <c:idx val="15"/>
              <c:tx>
                <c:rich>
                  <a:bodyPr/>
                  <a:lstStyle/>
                  <a:p>
                    <a:fld id="{E9244453-43B7-4212-837B-9C1912B28F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D1A9-4EC1-8E4A-F839C5DC2B9F}"/>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7</c:f>
              <c:numCache>
                <c:formatCode>General</c:formatCode>
                <c:ptCount val="16"/>
                <c:pt idx="0">
                  <c:v>11.3292</c:v>
                </c:pt>
                <c:pt idx="1">
                  <c:v>9.6928999999999998</c:v>
                </c:pt>
                <c:pt idx="2">
                  <c:v>12.647500000000001</c:v>
                </c:pt>
                <c:pt idx="3">
                  <c:v>10.3157</c:v>
                </c:pt>
                <c:pt idx="4">
                  <c:v>13.4879</c:v>
                </c:pt>
                <c:pt idx="5">
                  <c:v>18.819500000000001</c:v>
                </c:pt>
                <c:pt idx="6">
                  <c:v>35.740200000000002</c:v>
                </c:pt>
                <c:pt idx="7">
                  <c:v>28.77</c:v>
                </c:pt>
                <c:pt idx="8">
                  <c:v>75.267099999999999</c:v>
                </c:pt>
                <c:pt idx="9">
                  <c:v>46.166899999999998</c:v>
                </c:pt>
                <c:pt idx="10">
                  <c:v>91.544700000000006</c:v>
                </c:pt>
                <c:pt idx="11">
                  <c:v>171.6935</c:v>
                </c:pt>
                <c:pt idx="12">
                  <c:v>41.297699999999999</c:v>
                </c:pt>
                <c:pt idx="13">
                  <c:v>37.473399999999998</c:v>
                </c:pt>
                <c:pt idx="14">
                  <c:v>33.311700000000002</c:v>
                </c:pt>
                <c:pt idx="15">
                  <c:v>54.789400000000001</c:v>
                </c:pt>
              </c:numCache>
            </c:numRef>
          </c:xVal>
          <c:yVal>
            <c:numRef>
              <c:f>Sheet1!$B$2:$B$17</c:f>
              <c:numCache>
                <c:formatCode>General</c:formatCode>
                <c:ptCount val="16"/>
                <c:pt idx="0">
                  <c:v>0.51300000000000001</c:v>
                </c:pt>
                <c:pt idx="1">
                  <c:v>0.54390000000000005</c:v>
                </c:pt>
                <c:pt idx="2">
                  <c:v>0.51160000000000005</c:v>
                </c:pt>
                <c:pt idx="3">
                  <c:v>0.46820000000000001</c:v>
                </c:pt>
                <c:pt idx="4">
                  <c:v>0.50960000000000005</c:v>
                </c:pt>
                <c:pt idx="5">
                  <c:v>0.45800000000000002</c:v>
                </c:pt>
                <c:pt idx="6">
                  <c:v>0.43359999999999999</c:v>
                </c:pt>
                <c:pt idx="7">
                  <c:v>0.54310000000000003</c:v>
                </c:pt>
                <c:pt idx="8">
                  <c:v>0.40239999999999998</c:v>
                </c:pt>
                <c:pt idx="9">
                  <c:v>0.39600000000000002</c:v>
                </c:pt>
                <c:pt idx="10">
                  <c:v>0.39729999999999999</c:v>
                </c:pt>
                <c:pt idx="11">
                  <c:v>0.37390000000000001</c:v>
                </c:pt>
                <c:pt idx="12">
                  <c:v>0.43269999999999997</c:v>
                </c:pt>
                <c:pt idx="13">
                  <c:v>0.42199999999999999</c:v>
                </c:pt>
                <c:pt idx="14">
                  <c:v>0.43509999999999999</c:v>
                </c:pt>
                <c:pt idx="15">
                  <c:v>0.41799999999999998</c:v>
                </c:pt>
              </c:numCache>
            </c:numRef>
          </c:yVal>
          <c:bubbleSize>
            <c:numRef>
              <c:f>Sheet1!$C$2:$C$17</c:f>
              <c:numCache>
                <c:formatCode>General</c:formatCode>
                <c:ptCount val="16"/>
                <c:pt idx="0">
                  <c:v>11102.6196</c:v>
                </c:pt>
                <c:pt idx="1">
                  <c:v>74092.636299999998</c:v>
                </c:pt>
                <c:pt idx="2">
                  <c:v>40358.300099999993</c:v>
                </c:pt>
                <c:pt idx="3">
                  <c:v>1784.614</c:v>
                </c:pt>
                <c:pt idx="4">
                  <c:v>18856.1391</c:v>
                </c:pt>
                <c:pt idx="5">
                  <c:v>13681.7948</c:v>
                </c:pt>
                <c:pt idx="6">
                  <c:v>5110.8417000000009</c:v>
                </c:pt>
                <c:pt idx="7">
                  <c:v>44277.063400000006</c:v>
                </c:pt>
                <c:pt idx="8">
                  <c:v>318454.98890000011</c:v>
                </c:pt>
                <c:pt idx="9">
                  <c:v>2678832.1698000021</c:v>
                </c:pt>
                <c:pt idx="10">
                  <c:v>785728.35400000087</c:v>
                </c:pt>
                <c:pt idx="11">
                  <c:v>230584.36370000019</c:v>
                </c:pt>
                <c:pt idx="12">
                  <c:v>21103.142100000001</c:v>
                </c:pt>
                <c:pt idx="13">
                  <c:v>189877.92480000001</c:v>
                </c:pt>
                <c:pt idx="14">
                  <c:v>145772.13519999999</c:v>
                </c:pt>
                <c:pt idx="15">
                  <c:v>26024.961800000001</c:v>
                </c:pt>
              </c:numCache>
            </c:numRef>
          </c:bubbleSize>
          <c:bubble3D val="0"/>
          <c:extLst>
            <c:ext xmlns:c15="http://schemas.microsoft.com/office/drawing/2012/chart" uri="{02D57815-91ED-43cb-92C2-25804820EDAC}">
              <c15:datalabelsRange>
                <c15:f>Sheet1!$E$2:$E$29</c15:f>
                <c15:dlblRangeCache>
                  <c:ptCount val="28"/>
                  <c:pt idx="0">
                    <c:v>Mousseux Autres</c:v>
                  </c:pt>
                  <c:pt idx="1">
                    <c:v>Mousseux Italiens</c:v>
                  </c:pt>
                  <c:pt idx="2">
                    <c:v>Mousseux Val De Loire</c:v>
                  </c:pt>
                  <c:pt idx="3">
                    <c:v>Mousseux Bordelais</c:v>
                  </c:pt>
                  <c:pt idx="4">
                    <c:v>Mousseux Bourgogne</c:v>
                  </c:pt>
                  <c:pt idx="5">
                    <c:v>Mousseux Alsace</c:v>
                  </c:pt>
                  <c:pt idx="6">
                    <c:v>Demi-Secs</c:v>
                  </c:pt>
                  <c:pt idx="7">
                    <c:v>Effervescents Sans Alcool</c:v>
                  </c:pt>
                  <c:pt idx="8">
                    <c:v>Rosés</c:v>
                  </c:pt>
                  <c:pt idx="9">
                    <c:v>Bruts</c:v>
                  </c:pt>
                  <c:pt idx="10">
                    <c:v>Blanc De Blancs</c:v>
                  </c:pt>
                  <c:pt idx="11">
                    <c:v>Millesimes</c:v>
                  </c:pt>
                  <c:pt idx="12">
                    <c:v>Blanc De Noirs</c:v>
                  </c:pt>
                  <c:pt idx="13">
                    <c:v>Extra Brut</c:v>
                  </c:pt>
                  <c:pt idx="14">
                    <c:v>Crus</c:v>
                  </c:pt>
                  <c:pt idx="15">
                    <c:v>Brut Nature</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06.03219999999999"/>
          <c:min val="7.7543199999999999"/>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396727651479275"/>
        <c:crossBetween val="midCat"/>
      </c:valAx>
      <c:valAx>
        <c:axId val="1011451359"/>
        <c:scaling>
          <c:orientation val="minMax"/>
          <c:max val="1.01268"/>
          <c:min val="5.912000000000002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60.0940060031694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E6E5E5"/>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spPr>
              <a:solidFill>
                <a:srgbClr val="C00000"/>
              </a:solidFill>
            </c:spPr>
            <c:extLst>
              <c:ext xmlns:c16="http://schemas.microsoft.com/office/drawing/2014/chart" uri="{C3380CC4-5D6E-409C-BE32-E72D297353CC}">
                <c16:uniqueId val="{0000000C-7D2A-4F1E-BC80-EAAAE9B08A80}"/>
              </c:ext>
            </c:extLst>
          </c:dPt>
          <c:dPt>
            <c:idx val="6"/>
            <c:invertIfNegative val="0"/>
            <c:bubble3D val="0"/>
            <c:spPr>
              <a:solidFill>
                <a:srgbClr val="C0000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006C6D"/>
              </a:solidFill>
            </c:spPr>
            <c:extLst>
              <c:ext xmlns:c16="http://schemas.microsoft.com/office/drawing/2014/chart" uri="{C3380CC4-5D6E-409C-BE32-E72D297353CC}">
                <c16:uniqueId val="{0000000D-7D2A-4F1E-BC80-EAAAE9B08A80}"/>
              </c:ext>
            </c:extLst>
          </c:dPt>
          <c:dPt>
            <c:idx val="8"/>
            <c:invertIfNegative val="1"/>
            <c:bubble3D val="0"/>
            <c:spPr>
              <a:solidFill>
                <a:srgbClr val="C00000"/>
              </a:solidFill>
            </c:spPr>
            <c:extLst>
              <c:ext xmlns:c16="http://schemas.microsoft.com/office/drawing/2014/chart" uri="{C3380CC4-5D6E-409C-BE32-E72D297353CC}">
                <c16:uniqueId val="{00000011-78D1-41D4-ABFA-320BD44357BD}"/>
              </c:ext>
            </c:extLst>
          </c:dPt>
          <c:dPt>
            <c:idx val="9"/>
            <c:invertIfNegative val="1"/>
            <c:bubble3D val="0"/>
            <c:spPr>
              <a:solidFill>
                <a:srgbClr val="FF8080"/>
              </a:solidFill>
            </c:spPr>
            <c:extLst>
              <c:ext xmlns:c16="http://schemas.microsoft.com/office/drawing/2014/chart" uri="{C3380CC4-5D6E-409C-BE32-E72D297353CC}">
                <c16:uniqueId val="{00000013-78D1-41D4-ABFA-320BD44357BD}"/>
              </c:ext>
            </c:extLst>
          </c:dPt>
          <c:dPt>
            <c:idx val="10"/>
            <c:invertIfNegative val="1"/>
            <c:bubble3D val="0"/>
            <c:spPr>
              <a:solidFill>
                <a:srgbClr val="C00000"/>
              </a:solidFill>
            </c:spPr>
            <c:extLst>
              <c:ext xmlns:c16="http://schemas.microsoft.com/office/drawing/2014/chart" uri="{C3380CC4-5D6E-409C-BE32-E72D297353CC}">
                <c16:uniqueId val="{00000015-78D1-41D4-ABFA-320BD44357BD}"/>
              </c:ext>
            </c:extLst>
          </c:dPt>
          <c:dPt>
            <c:idx val="11"/>
            <c:invertIfNegative val="1"/>
            <c:bubble3D val="0"/>
            <c:spPr>
              <a:solidFill>
                <a:srgbClr val="FF8080"/>
              </a:solidFill>
            </c:spPr>
            <c:extLst>
              <c:ext xmlns:c16="http://schemas.microsoft.com/office/drawing/2014/chart" uri="{C3380CC4-5D6E-409C-BE32-E72D297353CC}">
                <c16:uniqueId val="{00000017-78D1-41D4-ABFA-320BD44357BD}"/>
              </c:ext>
            </c:extLst>
          </c:dPt>
          <c:dPt>
            <c:idx val="12"/>
            <c:invertIfNegative val="1"/>
            <c:bubble3D val="0"/>
            <c:spPr>
              <a:solidFill>
                <a:srgbClr val="C00000"/>
              </a:solidFill>
            </c:spPr>
            <c:extLst>
              <c:ext xmlns:c16="http://schemas.microsoft.com/office/drawing/2014/chart" uri="{C3380CC4-5D6E-409C-BE32-E72D297353CC}">
                <c16:uniqueId val="{00000019-8CFC-4523-BB76-DE3216DF6D0C}"/>
              </c:ext>
            </c:extLst>
          </c:dPt>
          <c:dPt>
            <c:idx val="13"/>
            <c:invertIfNegative val="1"/>
            <c:bubble3D val="0"/>
            <c:spPr>
              <a:solidFill>
                <a:srgbClr val="E6E5E5"/>
              </a:solidFill>
            </c:spPr>
            <c:extLst>
              <c:ext xmlns:c16="http://schemas.microsoft.com/office/drawing/2014/chart" uri="{C3380CC4-5D6E-409C-BE32-E72D297353CC}">
                <c16:uniqueId val="{0000001B-8CFC-4523-BB76-DE3216DF6D0C}"/>
              </c:ext>
            </c:extLst>
          </c:dPt>
          <c:dPt>
            <c:idx val="14"/>
            <c:invertIfNegative val="1"/>
            <c:bubble3D val="0"/>
            <c:spPr>
              <a:solidFill>
                <a:srgbClr val="C00000"/>
              </a:solidFill>
            </c:spPr>
            <c:extLst>
              <c:ext xmlns:c16="http://schemas.microsoft.com/office/drawing/2014/chart" uri="{C3380CC4-5D6E-409C-BE32-E72D297353CC}">
                <c16:uniqueId val="{0000001D-8CFC-4523-BB76-DE3216DF6D0C}"/>
              </c:ext>
            </c:extLst>
          </c:dPt>
          <c:dPt>
            <c:idx val="15"/>
            <c:invertIfNegative val="1"/>
            <c:bubble3D val="0"/>
            <c:spPr>
              <a:solidFill>
                <a:srgbClr val="006C6D"/>
              </a:solidFill>
            </c:spPr>
            <c:extLst>
              <c:ext xmlns:c16="http://schemas.microsoft.com/office/drawing/2014/chart" uri="{C3380CC4-5D6E-409C-BE32-E72D297353CC}">
                <c16:uniqueId val="{0000001F-8CFC-4523-BB76-DE3216DF6D0C}"/>
              </c:ext>
            </c:extLst>
          </c:dPt>
          <c:dLbls>
            <c:dLbl>
              <c:idx val="0"/>
              <c:tx>
                <c:rich>
                  <a:bodyPr/>
                  <a:lstStyle/>
                  <a:p>
                    <a:fld id="{9AF972BC-4D70-40CE-9B66-7B635BAEF9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7C78E388-409E-4AE8-8494-BFC8972FCE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F5812D41-FF58-41DC-B23A-8666BB7A07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024A1682-6C14-4A32-A258-88B5820184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127AC55C-84EA-483C-A861-821D2E04B8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5EFCA7B6-1754-44D0-800A-F60A5DDB49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B6F3B778-06A9-4B7C-9488-6E6D92D292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4EBB3F4D-AF63-4910-9D49-D9803001E0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dLbl>
              <c:idx val="8"/>
              <c:tx>
                <c:rich>
                  <a:bodyPr/>
                  <a:lstStyle/>
                  <a:p>
                    <a:fld id="{3D9C4F45-F106-4185-8597-C132EE63A3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78D1-41D4-ABFA-320BD44357BD}"/>
                </c:ext>
              </c:extLst>
            </c:dLbl>
            <c:dLbl>
              <c:idx val="9"/>
              <c:tx>
                <c:rich>
                  <a:bodyPr/>
                  <a:lstStyle/>
                  <a:p>
                    <a:fld id="{BBDFB57B-E97B-475A-B255-84D96A7001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78D1-41D4-ABFA-320BD44357BD}"/>
                </c:ext>
              </c:extLst>
            </c:dLbl>
            <c:dLbl>
              <c:idx val="10"/>
              <c:tx>
                <c:rich>
                  <a:bodyPr/>
                  <a:lstStyle/>
                  <a:p>
                    <a:fld id="{FD4A5ECF-20A3-413F-9120-4F8BE6A913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78D1-41D4-ABFA-320BD44357BD}"/>
                </c:ext>
              </c:extLst>
            </c:dLbl>
            <c:dLbl>
              <c:idx val="11"/>
              <c:tx>
                <c:rich>
                  <a:bodyPr/>
                  <a:lstStyle/>
                  <a:p>
                    <a:fld id="{7B91348C-8441-42B6-B883-74441E2D74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78D1-41D4-ABFA-320BD44357BD}"/>
                </c:ext>
              </c:extLst>
            </c:dLbl>
            <c:dLbl>
              <c:idx val="12"/>
              <c:tx>
                <c:rich>
                  <a:bodyPr/>
                  <a:lstStyle/>
                  <a:p>
                    <a:fld id="{FBEB3670-8AE7-4E5E-8DD7-75BC0E8276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8CFC-4523-BB76-DE3216DF6D0C}"/>
                </c:ext>
              </c:extLst>
            </c:dLbl>
            <c:dLbl>
              <c:idx val="13"/>
              <c:tx>
                <c:rich>
                  <a:bodyPr/>
                  <a:lstStyle/>
                  <a:p>
                    <a:fld id="{9FD27C23-852E-444F-B7E5-E4C29DA81C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8CFC-4523-BB76-DE3216DF6D0C}"/>
                </c:ext>
              </c:extLst>
            </c:dLbl>
            <c:dLbl>
              <c:idx val="14"/>
              <c:tx>
                <c:rich>
                  <a:bodyPr/>
                  <a:lstStyle/>
                  <a:p>
                    <a:fld id="{D00C8DA1-6854-4A1E-A192-159C72A6CF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8CFC-4523-BB76-DE3216DF6D0C}"/>
                </c:ext>
              </c:extLst>
            </c:dLbl>
            <c:dLbl>
              <c:idx val="15"/>
              <c:tx>
                <c:rich>
                  <a:bodyPr/>
                  <a:lstStyle/>
                  <a:p>
                    <a:fld id="{01557A36-DA56-4536-9A8B-C7B522E454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8CFC-4523-BB76-DE3216DF6D0C}"/>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7</c:f>
              <c:numCache>
                <c:formatCode>General</c:formatCode>
                <c:ptCount val="16"/>
                <c:pt idx="0">
                  <c:v>12.3916</c:v>
                </c:pt>
                <c:pt idx="1">
                  <c:v>9.2417999999999996</c:v>
                </c:pt>
                <c:pt idx="2">
                  <c:v>12.679399999999999</c:v>
                </c:pt>
                <c:pt idx="3">
                  <c:v>10.5205</c:v>
                </c:pt>
                <c:pt idx="4">
                  <c:v>13.3802</c:v>
                </c:pt>
                <c:pt idx="5">
                  <c:v>18.630199999999999</c:v>
                </c:pt>
                <c:pt idx="6">
                  <c:v>38.015300000000003</c:v>
                </c:pt>
                <c:pt idx="7">
                  <c:v>23.498999999999999</c:v>
                </c:pt>
                <c:pt idx="8">
                  <c:v>59.219900000000003</c:v>
                </c:pt>
                <c:pt idx="9">
                  <c:v>44.305199999999999</c:v>
                </c:pt>
                <c:pt idx="10">
                  <c:v>80.309700000000007</c:v>
                </c:pt>
                <c:pt idx="11">
                  <c:v>146.27969999999999</c:v>
                </c:pt>
                <c:pt idx="12">
                  <c:v>39.1023</c:v>
                </c:pt>
                <c:pt idx="13">
                  <c:v>36.292700000000004</c:v>
                </c:pt>
                <c:pt idx="14">
                  <c:v>33.354599999999998</c:v>
                </c:pt>
                <c:pt idx="15">
                  <c:v>48.858699999999999</c:v>
                </c:pt>
              </c:numCache>
            </c:numRef>
          </c:xVal>
          <c:yVal>
            <c:numRef>
              <c:f>Sheet1!$B$2:$B$17</c:f>
              <c:numCache>
                <c:formatCode>General</c:formatCode>
                <c:ptCount val="16"/>
                <c:pt idx="0">
                  <c:v>0.42820000000000003</c:v>
                </c:pt>
                <c:pt idx="1">
                  <c:v>0.53039999999999998</c:v>
                </c:pt>
                <c:pt idx="2">
                  <c:v>0.50949999999999995</c:v>
                </c:pt>
                <c:pt idx="3">
                  <c:v>0.47020000000000001</c:v>
                </c:pt>
                <c:pt idx="4">
                  <c:v>0.51029999999999998</c:v>
                </c:pt>
                <c:pt idx="5">
                  <c:v>0.46050000000000002</c:v>
                </c:pt>
                <c:pt idx="6">
                  <c:v>0.43240000000000001</c:v>
                </c:pt>
                <c:pt idx="7">
                  <c:v>0.53239999999999998</c:v>
                </c:pt>
                <c:pt idx="8">
                  <c:v>0.4078</c:v>
                </c:pt>
                <c:pt idx="9">
                  <c:v>0.39860000000000001</c:v>
                </c:pt>
                <c:pt idx="10">
                  <c:v>0.40460000000000002</c:v>
                </c:pt>
                <c:pt idx="11">
                  <c:v>0.3705</c:v>
                </c:pt>
                <c:pt idx="12">
                  <c:v>0.43690000000000001</c:v>
                </c:pt>
                <c:pt idx="13">
                  <c:v>0.43559999999999999</c:v>
                </c:pt>
                <c:pt idx="14">
                  <c:v>0.43709999999999999</c:v>
                </c:pt>
                <c:pt idx="15">
                  <c:v>0.4254</c:v>
                </c:pt>
              </c:numCache>
            </c:numRef>
          </c:yVal>
          <c:bubbleSize>
            <c:numRef>
              <c:f>Sheet1!$C$2:$C$17</c:f>
              <c:numCache>
                <c:formatCode>General</c:formatCode>
                <c:ptCount val="16"/>
                <c:pt idx="0">
                  <c:v>59194.449999999961</c:v>
                </c:pt>
                <c:pt idx="1">
                  <c:v>103859.7988</c:v>
                </c:pt>
                <c:pt idx="2">
                  <c:v>22734.241300000002</c:v>
                </c:pt>
                <c:pt idx="3">
                  <c:v>2135.6559000000002</c:v>
                </c:pt>
                <c:pt idx="4">
                  <c:v>26773.835500000001</c:v>
                </c:pt>
                <c:pt idx="5">
                  <c:v>11215.4048</c:v>
                </c:pt>
                <c:pt idx="6">
                  <c:v>10340.162200000001</c:v>
                </c:pt>
                <c:pt idx="7">
                  <c:v>32052.593099999998</c:v>
                </c:pt>
                <c:pt idx="8">
                  <c:v>191635.74290000001</c:v>
                </c:pt>
                <c:pt idx="9">
                  <c:v>1940875.943200001</c:v>
                </c:pt>
                <c:pt idx="10">
                  <c:v>347419.88890000002</c:v>
                </c:pt>
                <c:pt idx="11">
                  <c:v>116877.5012</c:v>
                </c:pt>
                <c:pt idx="12">
                  <c:v>15719.1052</c:v>
                </c:pt>
                <c:pt idx="13">
                  <c:v>85432.912899999981</c:v>
                </c:pt>
                <c:pt idx="14">
                  <c:v>119476.0429</c:v>
                </c:pt>
                <c:pt idx="15">
                  <c:v>11726.0929</c:v>
                </c:pt>
              </c:numCache>
            </c:numRef>
          </c:bubbleSize>
          <c:bubble3D val="0"/>
          <c:extLst>
            <c:ext xmlns:c15="http://schemas.microsoft.com/office/drawing/2012/chart" uri="{02D57815-91ED-43cb-92C2-25804820EDAC}">
              <c15:datalabelsRange>
                <c15:f>Sheet1!$E$2:$E$29</c15:f>
                <c15:dlblRangeCache>
                  <c:ptCount val="28"/>
                  <c:pt idx="0">
                    <c:v>Mousseux Autres</c:v>
                  </c:pt>
                  <c:pt idx="1">
                    <c:v>Mousseux Italiens</c:v>
                  </c:pt>
                  <c:pt idx="2">
                    <c:v>Mousseux Val De Loire</c:v>
                  </c:pt>
                  <c:pt idx="3">
                    <c:v>Mousseux Bordelais</c:v>
                  </c:pt>
                  <c:pt idx="4">
                    <c:v>Mousseux Bourgogne</c:v>
                  </c:pt>
                  <c:pt idx="5">
                    <c:v>Mousseux Alsace</c:v>
                  </c:pt>
                  <c:pt idx="6">
                    <c:v>Demi-Secs</c:v>
                  </c:pt>
                  <c:pt idx="7">
                    <c:v>Effervescents Sans Alcool</c:v>
                  </c:pt>
                  <c:pt idx="8">
                    <c:v>Rosés</c:v>
                  </c:pt>
                  <c:pt idx="9">
                    <c:v>Bruts</c:v>
                  </c:pt>
                  <c:pt idx="10">
                    <c:v>Blanc De Blancs</c:v>
                  </c:pt>
                  <c:pt idx="11">
                    <c:v>Millesimes</c:v>
                  </c:pt>
                  <c:pt idx="12">
                    <c:v>Blanc De Noirs</c:v>
                  </c:pt>
                  <c:pt idx="13">
                    <c:v>Extra Brut</c:v>
                  </c:pt>
                  <c:pt idx="14">
                    <c:v>Crus</c:v>
                  </c:pt>
                  <c:pt idx="15">
                    <c:v>Brut Nature</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75.53563999999997"/>
          <c:min val="7.39344"/>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1011859001552242"/>
        <c:crossBetween val="midCat"/>
      </c:valAx>
      <c:valAx>
        <c:axId val="1011451359"/>
        <c:scaling>
          <c:orientation val="minMax"/>
          <c:max val="0.99887999999999999"/>
          <c:min val="5.6400000000000006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9.8240095828823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spPr>
              <a:solidFill>
                <a:srgbClr val="7ECAC4"/>
              </a:solidFill>
            </c:spPr>
            <c:extLst>
              <c:ext xmlns:c16="http://schemas.microsoft.com/office/drawing/2014/chart" uri="{C3380CC4-5D6E-409C-BE32-E72D297353CC}">
                <c16:uniqueId val="{0000000C-7D2A-4F1E-BC80-EAAAE9B08A80}"/>
              </c:ext>
            </c:extLst>
          </c:dPt>
          <c:dPt>
            <c:idx val="6"/>
            <c:invertIfNegative val="0"/>
            <c:bubble3D val="0"/>
            <c:spPr>
              <a:solidFill>
                <a:srgbClr val="006C6D"/>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006C6D"/>
              </a:solidFill>
            </c:spPr>
            <c:extLst>
              <c:ext xmlns:c16="http://schemas.microsoft.com/office/drawing/2014/chart" uri="{C3380CC4-5D6E-409C-BE32-E72D297353CC}">
                <c16:uniqueId val="{0000000D-7D2A-4F1E-BC80-EAAAE9B08A80}"/>
              </c:ext>
            </c:extLst>
          </c:dPt>
          <c:dPt>
            <c:idx val="8"/>
            <c:invertIfNegative val="1"/>
            <c:bubble3D val="0"/>
            <c:spPr>
              <a:solidFill>
                <a:srgbClr val="7ECAC4"/>
              </a:solidFill>
            </c:spPr>
            <c:extLst>
              <c:ext xmlns:c16="http://schemas.microsoft.com/office/drawing/2014/chart" uri="{C3380CC4-5D6E-409C-BE32-E72D297353CC}">
                <c16:uniqueId val="{00000011-78D1-41D4-ABFA-320BD44357BD}"/>
              </c:ext>
            </c:extLst>
          </c:dPt>
          <c:dPt>
            <c:idx val="9"/>
            <c:invertIfNegative val="1"/>
            <c:bubble3D val="0"/>
            <c:spPr>
              <a:solidFill>
                <a:srgbClr val="E6E5E5"/>
              </a:solidFill>
            </c:spPr>
            <c:extLst>
              <c:ext xmlns:c16="http://schemas.microsoft.com/office/drawing/2014/chart" uri="{C3380CC4-5D6E-409C-BE32-E72D297353CC}">
                <c16:uniqueId val="{00000013-78D1-41D4-ABFA-320BD44357BD}"/>
              </c:ext>
            </c:extLst>
          </c:dPt>
          <c:dPt>
            <c:idx val="10"/>
            <c:invertIfNegative val="1"/>
            <c:bubble3D val="0"/>
            <c:spPr>
              <a:solidFill>
                <a:srgbClr val="FF8080"/>
              </a:solidFill>
            </c:spPr>
            <c:extLst>
              <c:ext xmlns:c16="http://schemas.microsoft.com/office/drawing/2014/chart" uri="{C3380CC4-5D6E-409C-BE32-E72D297353CC}">
                <c16:uniqueId val="{00000015-78D1-41D4-ABFA-320BD44357BD}"/>
              </c:ext>
            </c:extLst>
          </c:dPt>
          <c:dPt>
            <c:idx val="11"/>
            <c:invertIfNegative val="1"/>
            <c:bubble3D val="0"/>
            <c:spPr>
              <a:solidFill>
                <a:srgbClr val="E6E5E5"/>
              </a:solidFill>
            </c:spPr>
            <c:extLst>
              <c:ext xmlns:c16="http://schemas.microsoft.com/office/drawing/2014/chart" uri="{C3380CC4-5D6E-409C-BE32-E72D297353CC}">
                <c16:uniqueId val="{00000017-78D1-41D4-ABFA-320BD44357BD}"/>
              </c:ext>
            </c:extLst>
          </c:dPt>
          <c:dPt>
            <c:idx val="12"/>
            <c:invertIfNegative val="1"/>
            <c:bubble3D val="0"/>
            <c:spPr>
              <a:solidFill>
                <a:srgbClr val="006C6D"/>
              </a:solidFill>
            </c:spPr>
            <c:extLst>
              <c:ext xmlns:c16="http://schemas.microsoft.com/office/drawing/2014/chart" uri="{C3380CC4-5D6E-409C-BE32-E72D297353CC}">
                <c16:uniqueId val="{00000019-C093-4EB9-B690-5C386919E060}"/>
              </c:ext>
            </c:extLst>
          </c:dPt>
          <c:dPt>
            <c:idx val="13"/>
            <c:invertIfNegative val="1"/>
            <c:bubble3D val="0"/>
            <c:spPr>
              <a:solidFill>
                <a:srgbClr val="006C6D"/>
              </a:solidFill>
            </c:spPr>
            <c:extLst>
              <c:ext xmlns:c16="http://schemas.microsoft.com/office/drawing/2014/chart" uri="{C3380CC4-5D6E-409C-BE32-E72D297353CC}">
                <c16:uniqueId val="{0000001B-C093-4EB9-B690-5C386919E060}"/>
              </c:ext>
            </c:extLst>
          </c:dPt>
          <c:dPt>
            <c:idx val="14"/>
            <c:invertIfNegative val="1"/>
            <c:bubble3D val="0"/>
            <c:spPr>
              <a:solidFill>
                <a:srgbClr val="E6E5E5"/>
              </a:solidFill>
            </c:spPr>
            <c:extLst>
              <c:ext xmlns:c16="http://schemas.microsoft.com/office/drawing/2014/chart" uri="{C3380CC4-5D6E-409C-BE32-E72D297353CC}">
                <c16:uniqueId val="{0000001D-C093-4EB9-B690-5C386919E060}"/>
              </c:ext>
            </c:extLst>
          </c:dPt>
          <c:dPt>
            <c:idx val="15"/>
            <c:invertIfNegative val="1"/>
            <c:bubble3D val="0"/>
            <c:spPr>
              <a:solidFill>
                <a:srgbClr val="006C6D"/>
              </a:solidFill>
            </c:spPr>
            <c:extLst>
              <c:ext xmlns:c16="http://schemas.microsoft.com/office/drawing/2014/chart" uri="{C3380CC4-5D6E-409C-BE32-E72D297353CC}">
                <c16:uniqueId val="{0000001F-C093-4EB9-B690-5C386919E060}"/>
              </c:ext>
            </c:extLst>
          </c:dPt>
          <c:dLbls>
            <c:dLbl>
              <c:idx val="0"/>
              <c:tx>
                <c:rich>
                  <a:bodyPr/>
                  <a:lstStyle/>
                  <a:p>
                    <a:fld id="{1D288F26-4AEF-42AE-AC9F-BB4D4ACE1B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0B0F387A-02F5-4769-AC9A-E10D80A7FB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A743683F-B021-4A0C-A46F-15A3656CC2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A8D6EC14-34C2-4C67-8719-A6F88A8601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D085610B-7FF5-401B-913F-5263FE614E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BE001EF-EAEC-4F16-9A9F-D123227587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D07F0A7B-883A-4A84-8317-4FFA7B210E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6F009DB6-6C91-48DE-9FA6-C02A0F8771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dLbl>
              <c:idx val="8"/>
              <c:tx>
                <c:rich>
                  <a:bodyPr/>
                  <a:lstStyle/>
                  <a:p>
                    <a:fld id="{23F59F25-80D0-496D-9866-D0158DF172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78D1-41D4-ABFA-320BD44357BD}"/>
                </c:ext>
              </c:extLst>
            </c:dLbl>
            <c:dLbl>
              <c:idx val="9"/>
              <c:tx>
                <c:rich>
                  <a:bodyPr/>
                  <a:lstStyle/>
                  <a:p>
                    <a:fld id="{B0520A8F-D098-4F99-ADB6-E08CEC4FB9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78D1-41D4-ABFA-320BD44357BD}"/>
                </c:ext>
              </c:extLst>
            </c:dLbl>
            <c:dLbl>
              <c:idx val="10"/>
              <c:tx>
                <c:rich>
                  <a:bodyPr/>
                  <a:lstStyle/>
                  <a:p>
                    <a:fld id="{6AAE882E-0FA8-4A60-86E5-67BCFDD387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78D1-41D4-ABFA-320BD44357BD}"/>
                </c:ext>
              </c:extLst>
            </c:dLbl>
            <c:dLbl>
              <c:idx val="11"/>
              <c:tx>
                <c:rich>
                  <a:bodyPr/>
                  <a:lstStyle/>
                  <a:p>
                    <a:fld id="{859503D6-1850-40C5-955A-F018DB3B36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78D1-41D4-ABFA-320BD44357BD}"/>
                </c:ext>
              </c:extLst>
            </c:dLbl>
            <c:dLbl>
              <c:idx val="12"/>
              <c:tx>
                <c:rich>
                  <a:bodyPr/>
                  <a:lstStyle/>
                  <a:p>
                    <a:fld id="{198DA51B-FE81-4540-992E-82FCA151F8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C093-4EB9-B690-5C386919E060}"/>
                </c:ext>
              </c:extLst>
            </c:dLbl>
            <c:dLbl>
              <c:idx val="13"/>
              <c:tx>
                <c:rich>
                  <a:bodyPr/>
                  <a:lstStyle/>
                  <a:p>
                    <a:fld id="{F9B10ED3-5F3C-44E7-B7BC-EA5AC05444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C093-4EB9-B690-5C386919E060}"/>
                </c:ext>
              </c:extLst>
            </c:dLbl>
            <c:dLbl>
              <c:idx val="14"/>
              <c:tx>
                <c:rich>
                  <a:bodyPr/>
                  <a:lstStyle/>
                  <a:p>
                    <a:fld id="{5319FA66-4A4C-41AC-A033-9629F7C066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C093-4EB9-B690-5C386919E060}"/>
                </c:ext>
              </c:extLst>
            </c:dLbl>
            <c:dLbl>
              <c:idx val="15"/>
              <c:tx>
                <c:rich>
                  <a:bodyPr/>
                  <a:lstStyle/>
                  <a:p>
                    <a:fld id="{C04A10D7-F2D0-4F76-8329-1784BCB4CA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C093-4EB9-B690-5C386919E06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7</c:f>
              <c:numCache>
                <c:formatCode>General</c:formatCode>
                <c:ptCount val="16"/>
                <c:pt idx="0">
                  <c:v>9.9169999999999998</c:v>
                </c:pt>
                <c:pt idx="1">
                  <c:v>8.9261999999999997</c:v>
                </c:pt>
                <c:pt idx="2">
                  <c:v>11.7249</c:v>
                </c:pt>
                <c:pt idx="3">
                  <c:v>9.7886000000000006</c:v>
                </c:pt>
                <c:pt idx="4">
                  <c:v>13.0754</c:v>
                </c:pt>
                <c:pt idx="5">
                  <c:v>13.389799999999999</c:v>
                </c:pt>
                <c:pt idx="6">
                  <c:v>40.0364</c:v>
                </c:pt>
                <c:pt idx="7">
                  <c:v>22.726199999999999</c:v>
                </c:pt>
                <c:pt idx="8">
                  <c:v>51.2117</c:v>
                </c:pt>
                <c:pt idx="9">
                  <c:v>41.972799999999999</c:v>
                </c:pt>
                <c:pt idx="10">
                  <c:v>53.391599999999997</c:v>
                </c:pt>
                <c:pt idx="11">
                  <c:v>107.0124</c:v>
                </c:pt>
                <c:pt idx="12">
                  <c:v>38.367800000000003</c:v>
                </c:pt>
                <c:pt idx="13">
                  <c:v>36.220300000000002</c:v>
                </c:pt>
                <c:pt idx="14">
                  <c:v>33.212200000000003</c:v>
                </c:pt>
                <c:pt idx="15">
                  <c:v>44.388199999999998</c:v>
                </c:pt>
              </c:numCache>
            </c:numRef>
          </c:xVal>
          <c:yVal>
            <c:numRef>
              <c:f>Sheet1!$B$2:$B$17</c:f>
              <c:numCache>
                <c:formatCode>General</c:formatCode>
                <c:ptCount val="16"/>
                <c:pt idx="0">
                  <c:v>0.52270000000000005</c:v>
                </c:pt>
                <c:pt idx="1">
                  <c:v>0.55159999999999998</c:v>
                </c:pt>
                <c:pt idx="2">
                  <c:v>0.50960000000000005</c:v>
                </c:pt>
                <c:pt idx="3">
                  <c:v>0.45779999999999998</c:v>
                </c:pt>
                <c:pt idx="4">
                  <c:v>0.51039999999999996</c:v>
                </c:pt>
                <c:pt idx="5">
                  <c:v>0.38740000000000002</c:v>
                </c:pt>
                <c:pt idx="6">
                  <c:v>0.42859999999999998</c:v>
                </c:pt>
                <c:pt idx="7">
                  <c:v>0.52300000000000002</c:v>
                </c:pt>
                <c:pt idx="8">
                  <c:v>0.3992</c:v>
                </c:pt>
                <c:pt idx="9">
                  <c:v>0.38640000000000002</c:v>
                </c:pt>
                <c:pt idx="10">
                  <c:v>0.37040000000000001</c:v>
                </c:pt>
                <c:pt idx="11">
                  <c:v>0.38779999999999998</c:v>
                </c:pt>
                <c:pt idx="12">
                  <c:v>0.42970000000000003</c:v>
                </c:pt>
                <c:pt idx="13">
                  <c:v>0.43669999999999998</c:v>
                </c:pt>
                <c:pt idx="14">
                  <c:v>0.43959999999999999</c:v>
                </c:pt>
                <c:pt idx="15">
                  <c:v>0.40820000000000001</c:v>
                </c:pt>
              </c:numCache>
            </c:numRef>
          </c:yVal>
          <c:bubbleSize>
            <c:numRef>
              <c:f>Sheet1!$C$2:$C$17</c:f>
              <c:numCache>
                <c:formatCode>General</c:formatCode>
                <c:ptCount val="16"/>
                <c:pt idx="0">
                  <c:v>6505.5370999999996</c:v>
                </c:pt>
                <c:pt idx="1">
                  <c:v>13790.920099999999</c:v>
                </c:pt>
                <c:pt idx="2">
                  <c:v>5487.2606999999998</c:v>
                </c:pt>
                <c:pt idx="3">
                  <c:v>1409.5582999999999</c:v>
                </c:pt>
                <c:pt idx="4">
                  <c:v>3072.72</c:v>
                </c:pt>
                <c:pt idx="5">
                  <c:v>132157.54399999999</c:v>
                </c:pt>
                <c:pt idx="6">
                  <c:v>7246.5806000000002</c:v>
                </c:pt>
                <c:pt idx="7">
                  <c:v>10749.482900000001</c:v>
                </c:pt>
                <c:pt idx="8">
                  <c:v>89364.468000000023</c:v>
                </c:pt>
                <c:pt idx="9">
                  <c:v>850663.25030000077</c:v>
                </c:pt>
                <c:pt idx="10">
                  <c:v>203261.72849999991</c:v>
                </c:pt>
                <c:pt idx="11">
                  <c:v>49760.777699999962</c:v>
                </c:pt>
                <c:pt idx="12">
                  <c:v>13045.036899999999</c:v>
                </c:pt>
                <c:pt idx="13">
                  <c:v>36510.107500000013</c:v>
                </c:pt>
                <c:pt idx="14">
                  <c:v>44138.955300000001</c:v>
                </c:pt>
                <c:pt idx="15">
                  <c:v>7368.4456</c:v>
                </c:pt>
              </c:numCache>
            </c:numRef>
          </c:bubbleSize>
          <c:bubble3D val="0"/>
          <c:extLst>
            <c:ext xmlns:c15="http://schemas.microsoft.com/office/drawing/2012/chart" uri="{02D57815-91ED-43cb-92C2-25804820EDAC}">
              <c15:datalabelsRange>
                <c15:f>Sheet1!$E$2:$E$29</c15:f>
                <c15:dlblRangeCache>
                  <c:ptCount val="28"/>
                  <c:pt idx="0">
                    <c:v>Mousseux Autres</c:v>
                  </c:pt>
                  <c:pt idx="1">
                    <c:v>Mousseux Italiens</c:v>
                  </c:pt>
                  <c:pt idx="2">
                    <c:v>Mousseux Val De Loire</c:v>
                  </c:pt>
                  <c:pt idx="3">
                    <c:v>Mousseux Bordelais</c:v>
                  </c:pt>
                  <c:pt idx="4">
                    <c:v>Mousseux Bourgogne</c:v>
                  </c:pt>
                  <c:pt idx="5">
                    <c:v>Mousseux Alsace</c:v>
                  </c:pt>
                  <c:pt idx="6">
                    <c:v>Demi-Secs</c:v>
                  </c:pt>
                  <c:pt idx="7">
                    <c:v>Effervescents Sans Alcool</c:v>
                  </c:pt>
                  <c:pt idx="8">
                    <c:v>Rosés</c:v>
                  </c:pt>
                  <c:pt idx="9">
                    <c:v>Bruts</c:v>
                  </c:pt>
                  <c:pt idx="10">
                    <c:v>Blanc De Blancs</c:v>
                  </c:pt>
                  <c:pt idx="11">
                    <c:v>Millesimes</c:v>
                  </c:pt>
                  <c:pt idx="12">
                    <c:v>Blanc De Noirs</c:v>
                  </c:pt>
                  <c:pt idx="13">
                    <c:v>Extra Brut</c:v>
                  </c:pt>
                  <c:pt idx="14">
                    <c:v>Crus</c:v>
                  </c:pt>
                  <c:pt idx="15">
                    <c:v>Brut Nature</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8.41487999999998"/>
          <c:min val="7.1409599999999998"/>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9257176903360136"/>
        <c:crossBetween val="midCat"/>
      </c:valAx>
      <c:valAx>
        <c:axId val="1011451359"/>
        <c:scaling>
          <c:orientation val="minMax"/>
          <c:max val="1.0219199999999999"/>
          <c:min val="5.6320000000000016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2.51148938370278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spPr>
              <a:solidFill>
                <a:srgbClr val="006C6D"/>
              </a:solidFill>
            </c:spPr>
            <c:extLst>
              <c:ext xmlns:c16="http://schemas.microsoft.com/office/drawing/2014/chart" uri="{C3380CC4-5D6E-409C-BE32-E72D297353CC}">
                <c16:uniqueId val="{0000000C-7D2A-4F1E-BC80-EAAAE9B08A80}"/>
              </c:ext>
            </c:extLst>
          </c:dPt>
          <c:dPt>
            <c:idx val="6"/>
            <c:invertIfNegative val="0"/>
            <c:bubble3D val="0"/>
            <c:spPr>
              <a:solidFill>
                <a:srgbClr val="C0000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006C6D"/>
              </a:solidFill>
            </c:spPr>
            <c:extLst>
              <c:ext xmlns:c16="http://schemas.microsoft.com/office/drawing/2014/chart" uri="{C3380CC4-5D6E-409C-BE32-E72D297353CC}">
                <c16:uniqueId val="{0000000D-7D2A-4F1E-BC80-EAAAE9B08A80}"/>
              </c:ext>
            </c:extLst>
          </c:dPt>
          <c:dPt>
            <c:idx val="8"/>
            <c:invertIfNegative val="1"/>
            <c:bubble3D val="0"/>
            <c:spPr>
              <a:solidFill>
                <a:srgbClr val="E6E5E5"/>
              </a:solidFill>
            </c:spPr>
            <c:extLst>
              <c:ext xmlns:c16="http://schemas.microsoft.com/office/drawing/2014/chart" uri="{C3380CC4-5D6E-409C-BE32-E72D297353CC}">
                <c16:uniqueId val="{00000011-78D1-41D4-ABFA-320BD44357BD}"/>
              </c:ext>
            </c:extLst>
          </c:dPt>
          <c:dPt>
            <c:idx val="9"/>
            <c:invertIfNegative val="1"/>
            <c:bubble3D val="0"/>
            <c:spPr>
              <a:solidFill>
                <a:srgbClr val="E6E5E5"/>
              </a:solidFill>
            </c:spPr>
            <c:extLst>
              <c:ext xmlns:c16="http://schemas.microsoft.com/office/drawing/2014/chart" uri="{C3380CC4-5D6E-409C-BE32-E72D297353CC}">
                <c16:uniqueId val="{00000013-78D1-41D4-ABFA-320BD44357BD}"/>
              </c:ext>
            </c:extLst>
          </c:dPt>
          <c:dPt>
            <c:idx val="10"/>
            <c:invertIfNegative val="1"/>
            <c:bubble3D val="0"/>
            <c:spPr>
              <a:solidFill>
                <a:srgbClr val="FF8080"/>
              </a:solidFill>
            </c:spPr>
            <c:extLst>
              <c:ext xmlns:c16="http://schemas.microsoft.com/office/drawing/2014/chart" uri="{C3380CC4-5D6E-409C-BE32-E72D297353CC}">
                <c16:uniqueId val="{00000015-78D1-41D4-ABFA-320BD44357BD}"/>
              </c:ext>
            </c:extLst>
          </c:dPt>
          <c:dPt>
            <c:idx val="11"/>
            <c:invertIfNegative val="1"/>
            <c:bubble3D val="0"/>
            <c:spPr>
              <a:solidFill>
                <a:srgbClr val="7ECAC4"/>
              </a:solidFill>
            </c:spPr>
            <c:extLst>
              <c:ext xmlns:c16="http://schemas.microsoft.com/office/drawing/2014/chart" uri="{C3380CC4-5D6E-409C-BE32-E72D297353CC}">
                <c16:uniqueId val="{00000017-78D1-41D4-ABFA-320BD44357BD}"/>
              </c:ext>
            </c:extLst>
          </c:dPt>
          <c:dPt>
            <c:idx val="12"/>
            <c:invertIfNegative val="1"/>
            <c:bubble3D val="0"/>
            <c:spPr>
              <a:solidFill>
                <a:srgbClr val="FF8080"/>
              </a:solidFill>
            </c:spPr>
            <c:extLst>
              <c:ext xmlns:c16="http://schemas.microsoft.com/office/drawing/2014/chart" uri="{C3380CC4-5D6E-409C-BE32-E72D297353CC}">
                <c16:uniqueId val="{00000019-B3A4-45CA-B732-BECE7AE09DF7}"/>
              </c:ext>
            </c:extLst>
          </c:dPt>
          <c:dPt>
            <c:idx val="13"/>
            <c:invertIfNegative val="1"/>
            <c:bubble3D val="0"/>
            <c:spPr>
              <a:solidFill>
                <a:srgbClr val="FF8080"/>
              </a:solidFill>
            </c:spPr>
            <c:extLst>
              <c:ext xmlns:c16="http://schemas.microsoft.com/office/drawing/2014/chart" uri="{C3380CC4-5D6E-409C-BE32-E72D297353CC}">
                <c16:uniqueId val="{0000001B-B3A4-45CA-B732-BECE7AE09DF7}"/>
              </c:ext>
            </c:extLst>
          </c:dPt>
          <c:dPt>
            <c:idx val="14"/>
            <c:invertIfNegative val="1"/>
            <c:bubble3D val="0"/>
            <c:spPr>
              <a:solidFill>
                <a:srgbClr val="E6E5E5"/>
              </a:solidFill>
            </c:spPr>
            <c:extLst>
              <c:ext xmlns:c16="http://schemas.microsoft.com/office/drawing/2014/chart" uri="{C3380CC4-5D6E-409C-BE32-E72D297353CC}">
                <c16:uniqueId val="{0000001D-B3A4-45CA-B732-BECE7AE09DF7}"/>
              </c:ext>
            </c:extLst>
          </c:dPt>
          <c:dPt>
            <c:idx val="15"/>
            <c:invertIfNegative val="1"/>
            <c:bubble3D val="0"/>
            <c:spPr>
              <a:solidFill>
                <a:srgbClr val="C00000"/>
              </a:solidFill>
            </c:spPr>
            <c:extLst>
              <c:ext xmlns:c16="http://schemas.microsoft.com/office/drawing/2014/chart" uri="{C3380CC4-5D6E-409C-BE32-E72D297353CC}">
                <c16:uniqueId val="{0000001F-B3A4-45CA-B732-BECE7AE09DF7}"/>
              </c:ext>
            </c:extLst>
          </c:dPt>
          <c:dLbls>
            <c:dLbl>
              <c:idx val="0"/>
              <c:tx>
                <c:rich>
                  <a:bodyPr/>
                  <a:lstStyle/>
                  <a:p>
                    <a:fld id="{49A1E619-C385-4095-830A-6D47021345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C095EF2A-0341-4430-B41C-3C9EC74AD4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302FE535-EB78-48EF-A803-CF28F6580F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131217C0-667D-4891-812D-C382F72F52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A348420-74E9-485C-9C6B-9339375AD0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3CCCC51A-AB4D-471C-9D31-2134BEF86E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92C64619-FB42-4CD3-985D-10A1710195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F6FF046D-9E3C-463A-AB3B-A54D3667A9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dLbl>
              <c:idx val="8"/>
              <c:tx>
                <c:rich>
                  <a:bodyPr/>
                  <a:lstStyle/>
                  <a:p>
                    <a:fld id="{3F39B912-20A3-411D-AB7B-5212C92ADF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78D1-41D4-ABFA-320BD44357BD}"/>
                </c:ext>
              </c:extLst>
            </c:dLbl>
            <c:dLbl>
              <c:idx val="9"/>
              <c:tx>
                <c:rich>
                  <a:bodyPr/>
                  <a:lstStyle/>
                  <a:p>
                    <a:fld id="{689320C4-0035-4E85-8A5A-B2611EFDE2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78D1-41D4-ABFA-320BD44357BD}"/>
                </c:ext>
              </c:extLst>
            </c:dLbl>
            <c:dLbl>
              <c:idx val="10"/>
              <c:tx>
                <c:rich>
                  <a:bodyPr/>
                  <a:lstStyle/>
                  <a:p>
                    <a:fld id="{4763A22F-003E-428F-91E8-A632598A9C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78D1-41D4-ABFA-320BD44357BD}"/>
                </c:ext>
              </c:extLst>
            </c:dLbl>
            <c:dLbl>
              <c:idx val="11"/>
              <c:tx>
                <c:rich>
                  <a:bodyPr/>
                  <a:lstStyle/>
                  <a:p>
                    <a:fld id="{913E3C41-5EBA-4BBF-9B96-685FB48027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78D1-41D4-ABFA-320BD44357BD}"/>
                </c:ext>
              </c:extLst>
            </c:dLbl>
            <c:dLbl>
              <c:idx val="12"/>
              <c:tx>
                <c:rich>
                  <a:bodyPr/>
                  <a:lstStyle/>
                  <a:p>
                    <a:fld id="{1201B904-41DB-4DA0-98C1-8E171AA50A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3A4-45CA-B732-BECE7AE09DF7}"/>
                </c:ext>
              </c:extLst>
            </c:dLbl>
            <c:dLbl>
              <c:idx val="13"/>
              <c:tx>
                <c:rich>
                  <a:bodyPr/>
                  <a:lstStyle/>
                  <a:p>
                    <a:fld id="{FB9151B9-5EEF-477D-8A15-FA2D8B2871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3A4-45CA-B732-BECE7AE09DF7}"/>
                </c:ext>
              </c:extLst>
            </c:dLbl>
            <c:dLbl>
              <c:idx val="14"/>
              <c:tx>
                <c:rich>
                  <a:bodyPr/>
                  <a:lstStyle/>
                  <a:p>
                    <a:fld id="{EA1E586C-4246-4AEB-92FB-9534C9CA17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3A4-45CA-B732-BECE7AE09DF7}"/>
                </c:ext>
              </c:extLst>
            </c:dLbl>
            <c:dLbl>
              <c:idx val="15"/>
              <c:tx>
                <c:rich>
                  <a:bodyPr/>
                  <a:lstStyle/>
                  <a:p>
                    <a:fld id="{A9870B42-6E5B-4E2D-B1E7-8FE14A4098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3A4-45CA-B732-BECE7AE09DF7}"/>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7</c:f>
              <c:numCache>
                <c:formatCode>General</c:formatCode>
                <c:ptCount val="16"/>
                <c:pt idx="0">
                  <c:v>8.8957999999999995</c:v>
                </c:pt>
                <c:pt idx="1">
                  <c:v>9.2459000000000007</c:v>
                </c:pt>
                <c:pt idx="2">
                  <c:v>11.992699999999999</c:v>
                </c:pt>
                <c:pt idx="3">
                  <c:v>12.673299999999999</c:v>
                </c:pt>
                <c:pt idx="4">
                  <c:v>13.4915</c:v>
                </c:pt>
                <c:pt idx="5">
                  <c:v>18.8506</c:v>
                </c:pt>
                <c:pt idx="6">
                  <c:v>33.057499999999997</c:v>
                </c:pt>
                <c:pt idx="7">
                  <c:v>21.497800000000002</c:v>
                </c:pt>
                <c:pt idx="8">
                  <c:v>55.6631</c:v>
                </c:pt>
                <c:pt idx="9">
                  <c:v>40.946800000000003</c:v>
                </c:pt>
                <c:pt idx="10">
                  <c:v>74.442400000000006</c:v>
                </c:pt>
                <c:pt idx="11">
                  <c:v>144.8124</c:v>
                </c:pt>
                <c:pt idx="12">
                  <c:v>37.823</c:v>
                </c:pt>
                <c:pt idx="13">
                  <c:v>36.1098</c:v>
                </c:pt>
                <c:pt idx="14">
                  <c:v>33.514299999999999</c:v>
                </c:pt>
                <c:pt idx="15">
                  <c:v>48.886299999999999</c:v>
                </c:pt>
              </c:numCache>
            </c:numRef>
          </c:xVal>
          <c:yVal>
            <c:numRef>
              <c:f>Sheet1!$B$2:$B$17</c:f>
              <c:numCache>
                <c:formatCode>General</c:formatCode>
                <c:ptCount val="16"/>
                <c:pt idx="0">
                  <c:v>0.49130000000000001</c:v>
                </c:pt>
                <c:pt idx="1">
                  <c:v>0.5474</c:v>
                </c:pt>
                <c:pt idx="2">
                  <c:v>0.46039999999999998</c:v>
                </c:pt>
                <c:pt idx="3">
                  <c:v>0.47849999999999998</c:v>
                </c:pt>
                <c:pt idx="4">
                  <c:v>0.51290000000000002</c:v>
                </c:pt>
                <c:pt idx="5">
                  <c:v>0.45979999999999999</c:v>
                </c:pt>
                <c:pt idx="6">
                  <c:v>0.43330000000000002</c:v>
                </c:pt>
                <c:pt idx="7">
                  <c:v>0.51800000000000002</c:v>
                </c:pt>
                <c:pt idx="8">
                  <c:v>0.40550000000000003</c:v>
                </c:pt>
                <c:pt idx="9">
                  <c:v>0.39029999999999998</c:v>
                </c:pt>
                <c:pt idx="10">
                  <c:v>0.4083</c:v>
                </c:pt>
                <c:pt idx="11">
                  <c:v>0.37290000000000001</c:v>
                </c:pt>
                <c:pt idx="12">
                  <c:v>0.43519999999999998</c:v>
                </c:pt>
                <c:pt idx="13">
                  <c:v>0.4355</c:v>
                </c:pt>
                <c:pt idx="14">
                  <c:v>0.43880000000000002</c:v>
                </c:pt>
                <c:pt idx="15">
                  <c:v>0.41839999999999999</c:v>
                </c:pt>
              </c:numCache>
            </c:numRef>
          </c:yVal>
          <c:bubbleSize>
            <c:numRef>
              <c:f>Sheet1!$C$2:$C$17</c:f>
              <c:numCache>
                <c:formatCode>General</c:formatCode>
                <c:ptCount val="16"/>
                <c:pt idx="0">
                  <c:v>16030.305399999999</c:v>
                </c:pt>
                <c:pt idx="1">
                  <c:v>33414.6103</c:v>
                </c:pt>
                <c:pt idx="2">
                  <c:v>28614.671200000019</c:v>
                </c:pt>
                <c:pt idx="3">
                  <c:v>4194.8500999999987</c:v>
                </c:pt>
                <c:pt idx="4">
                  <c:v>11764.6178</c:v>
                </c:pt>
                <c:pt idx="5">
                  <c:v>7747.6084000000001</c:v>
                </c:pt>
                <c:pt idx="6">
                  <c:v>2314.0216999999998</c:v>
                </c:pt>
                <c:pt idx="7">
                  <c:v>16746.812700000009</c:v>
                </c:pt>
                <c:pt idx="8">
                  <c:v>103978.6274</c:v>
                </c:pt>
                <c:pt idx="9">
                  <c:v>1067975.5532000009</c:v>
                </c:pt>
                <c:pt idx="10">
                  <c:v>155733.57440000001</c:v>
                </c:pt>
                <c:pt idx="11">
                  <c:v>45905.51749999998</c:v>
                </c:pt>
                <c:pt idx="12">
                  <c:v>8018.4799000000003</c:v>
                </c:pt>
                <c:pt idx="13">
                  <c:v>31523.843899999989</c:v>
                </c:pt>
                <c:pt idx="14">
                  <c:v>78926.277200000011</c:v>
                </c:pt>
                <c:pt idx="15">
                  <c:v>5377.4941999999983</c:v>
                </c:pt>
              </c:numCache>
            </c:numRef>
          </c:bubbleSize>
          <c:bubble3D val="0"/>
          <c:extLst>
            <c:ext xmlns:c15="http://schemas.microsoft.com/office/drawing/2012/chart" uri="{02D57815-91ED-43cb-92C2-25804820EDAC}">
              <c15:datalabelsRange>
                <c15:f>Sheet1!$E$2:$E$29</c15:f>
                <c15:dlblRangeCache>
                  <c:ptCount val="28"/>
                  <c:pt idx="0">
                    <c:v>Mousseux Autres</c:v>
                  </c:pt>
                  <c:pt idx="1">
                    <c:v>Mousseux Italiens</c:v>
                  </c:pt>
                  <c:pt idx="2">
                    <c:v>Mousseux Val De Loire</c:v>
                  </c:pt>
                  <c:pt idx="3">
                    <c:v>Mousseux Bordelais</c:v>
                  </c:pt>
                  <c:pt idx="4">
                    <c:v>Mousseux Bourgogne</c:v>
                  </c:pt>
                  <c:pt idx="5">
                    <c:v>Mousseux Alsace</c:v>
                  </c:pt>
                  <c:pt idx="6">
                    <c:v>Demi-Secs</c:v>
                  </c:pt>
                  <c:pt idx="7">
                    <c:v>Effervescents Sans Alcool</c:v>
                  </c:pt>
                  <c:pt idx="8">
                    <c:v>Rosés</c:v>
                  </c:pt>
                  <c:pt idx="9">
                    <c:v>Bruts</c:v>
                  </c:pt>
                  <c:pt idx="10">
                    <c:v>Blanc De Blancs</c:v>
                  </c:pt>
                  <c:pt idx="11">
                    <c:v>Millesimes</c:v>
                  </c:pt>
                  <c:pt idx="12">
                    <c:v>Blanc De Noirs</c:v>
                  </c:pt>
                  <c:pt idx="13">
                    <c:v>Extra Brut</c:v>
                  </c:pt>
                  <c:pt idx="14">
                    <c:v>Crus</c:v>
                  </c:pt>
                  <c:pt idx="15">
                    <c:v>Brut Nature</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73.77488"/>
          <c:min val="7.1166400000000003"/>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439662749561461"/>
        <c:crossBetween val="midCat"/>
      </c:valAx>
      <c:valAx>
        <c:axId val="1011451359"/>
        <c:scaling>
          <c:orientation val="minMax"/>
          <c:max val="1.0168799999999998"/>
          <c:min val="5.8320000000000018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5.54108929508699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spPr>
              <a:solidFill>
                <a:srgbClr val="006C6D"/>
              </a:solidFill>
            </c:spPr>
            <c:extLst>
              <c:ext xmlns:c16="http://schemas.microsoft.com/office/drawing/2014/chart" uri="{C3380CC4-5D6E-409C-BE32-E72D297353CC}">
                <c16:uniqueId val="{0000000C-7D2A-4F1E-BC80-EAAAE9B08A80}"/>
              </c:ext>
            </c:extLst>
          </c:dPt>
          <c:dPt>
            <c:idx val="6"/>
            <c:invertIfNegative val="0"/>
            <c:bubble3D val="0"/>
            <c:spPr>
              <a:solidFill>
                <a:srgbClr val="E6E5E5"/>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006C6D"/>
              </a:solidFill>
            </c:spPr>
            <c:extLst>
              <c:ext xmlns:c16="http://schemas.microsoft.com/office/drawing/2014/chart" uri="{C3380CC4-5D6E-409C-BE32-E72D297353CC}">
                <c16:uniqueId val="{0000000D-7D2A-4F1E-BC80-EAAAE9B08A80}"/>
              </c:ext>
            </c:extLst>
          </c:dPt>
          <c:dPt>
            <c:idx val="8"/>
            <c:invertIfNegative val="1"/>
            <c:bubble3D val="0"/>
            <c:spPr>
              <a:solidFill>
                <a:srgbClr val="C00000"/>
              </a:solidFill>
            </c:spPr>
            <c:extLst>
              <c:ext xmlns:c16="http://schemas.microsoft.com/office/drawing/2014/chart" uri="{C3380CC4-5D6E-409C-BE32-E72D297353CC}">
                <c16:uniqueId val="{00000011-78D1-41D4-ABFA-320BD44357BD}"/>
              </c:ext>
            </c:extLst>
          </c:dPt>
          <c:dPt>
            <c:idx val="9"/>
            <c:invertIfNegative val="1"/>
            <c:bubble3D val="0"/>
            <c:spPr>
              <a:solidFill>
                <a:srgbClr val="FF8080"/>
              </a:solidFill>
            </c:spPr>
            <c:extLst>
              <c:ext xmlns:c16="http://schemas.microsoft.com/office/drawing/2014/chart" uri="{C3380CC4-5D6E-409C-BE32-E72D297353CC}">
                <c16:uniqueId val="{00000013-78D1-41D4-ABFA-320BD44357BD}"/>
              </c:ext>
            </c:extLst>
          </c:dPt>
          <c:dPt>
            <c:idx val="10"/>
            <c:invertIfNegative val="1"/>
            <c:bubble3D val="0"/>
            <c:spPr>
              <a:solidFill>
                <a:srgbClr val="C00000"/>
              </a:solidFill>
            </c:spPr>
            <c:extLst>
              <c:ext xmlns:c16="http://schemas.microsoft.com/office/drawing/2014/chart" uri="{C3380CC4-5D6E-409C-BE32-E72D297353CC}">
                <c16:uniqueId val="{00000015-78D1-41D4-ABFA-320BD44357BD}"/>
              </c:ext>
            </c:extLst>
          </c:dPt>
          <c:dPt>
            <c:idx val="11"/>
            <c:invertIfNegative val="1"/>
            <c:bubble3D val="0"/>
            <c:spPr>
              <a:solidFill>
                <a:srgbClr val="C00000"/>
              </a:solidFill>
            </c:spPr>
            <c:extLst>
              <c:ext xmlns:c16="http://schemas.microsoft.com/office/drawing/2014/chart" uri="{C3380CC4-5D6E-409C-BE32-E72D297353CC}">
                <c16:uniqueId val="{00000017-78D1-41D4-ABFA-320BD44357BD}"/>
              </c:ext>
            </c:extLst>
          </c:dPt>
          <c:dPt>
            <c:idx val="12"/>
            <c:invertIfNegative val="1"/>
            <c:bubble3D val="0"/>
            <c:spPr>
              <a:solidFill>
                <a:srgbClr val="FF8080"/>
              </a:solidFill>
            </c:spPr>
            <c:extLst>
              <c:ext xmlns:c16="http://schemas.microsoft.com/office/drawing/2014/chart" uri="{C3380CC4-5D6E-409C-BE32-E72D297353CC}">
                <c16:uniqueId val="{00000019-4D85-4104-9E26-6DF4432E3EC7}"/>
              </c:ext>
            </c:extLst>
          </c:dPt>
          <c:dPt>
            <c:idx val="13"/>
            <c:invertIfNegative val="1"/>
            <c:bubble3D val="0"/>
            <c:spPr>
              <a:solidFill>
                <a:srgbClr val="7ECAC4"/>
              </a:solidFill>
            </c:spPr>
            <c:extLst>
              <c:ext xmlns:c16="http://schemas.microsoft.com/office/drawing/2014/chart" uri="{C3380CC4-5D6E-409C-BE32-E72D297353CC}">
                <c16:uniqueId val="{0000001B-4D85-4104-9E26-6DF4432E3EC7}"/>
              </c:ext>
            </c:extLst>
          </c:dPt>
          <c:dPt>
            <c:idx val="14"/>
            <c:invertIfNegative val="1"/>
            <c:bubble3D val="0"/>
            <c:spPr>
              <a:solidFill>
                <a:srgbClr val="FF8080"/>
              </a:solidFill>
            </c:spPr>
            <c:extLst>
              <c:ext xmlns:c16="http://schemas.microsoft.com/office/drawing/2014/chart" uri="{C3380CC4-5D6E-409C-BE32-E72D297353CC}">
                <c16:uniqueId val="{0000001D-4D85-4104-9E26-6DF4432E3EC7}"/>
              </c:ext>
            </c:extLst>
          </c:dPt>
          <c:dPt>
            <c:idx val="15"/>
            <c:invertIfNegative val="1"/>
            <c:bubble3D val="0"/>
            <c:spPr>
              <a:solidFill>
                <a:srgbClr val="FF8080"/>
              </a:solidFill>
            </c:spPr>
            <c:extLst>
              <c:ext xmlns:c16="http://schemas.microsoft.com/office/drawing/2014/chart" uri="{C3380CC4-5D6E-409C-BE32-E72D297353CC}">
                <c16:uniqueId val="{0000001F-4D85-4104-9E26-6DF4432E3EC7}"/>
              </c:ext>
            </c:extLst>
          </c:dPt>
          <c:dLbls>
            <c:dLbl>
              <c:idx val="0"/>
              <c:tx>
                <c:rich>
                  <a:bodyPr/>
                  <a:lstStyle/>
                  <a:p>
                    <a:fld id="{3E05C12B-24B2-4E58-9645-7DAC7E2D95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0FE1D17D-46DA-4BED-8927-1E9C6A2D15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C07F1A5-AF66-4DA6-A3B5-5DDBFDB257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84857B4D-6B5D-45BE-B401-302A021038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2875D2B0-1E71-43B1-8F44-A088F89C91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AB2EC7EB-3C36-4E53-BA4B-7B03548AF7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9C275702-A55A-4FCC-90B5-9FF42FBEFA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528C99F8-5332-44C1-95BF-52CB7D57D7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dLbl>
              <c:idx val="8"/>
              <c:tx>
                <c:rich>
                  <a:bodyPr/>
                  <a:lstStyle/>
                  <a:p>
                    <a:fld id="{13C29E06-B8BD-4278-B97F-ABCA988C12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78D1-41D4-ABFA-320BD44357BD}"/>
                </c:ext>
              </c:extLst>
            </c:dLbl>
            <c:dLbl>
              <c:idx val="9"/>
              <c:tx>
                <c:rich>
                  <a:bodyPr/>
                  <a:lstStyle/>
                  <a:p>
                    <a:fld id="{6607D401-28D1-4B15-9404-9E9F7B4019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78D1-41D4-ABFA-320BD44357BD}"/>
                </c:ext>
              </c:extLst>
            </c:dLbl>
            <c:dLbl>
              <c:idx val="10"/>
              <c:tx>
                <c:rich>
                  <a:bodyPr/>
                  <a:lstStyle/>
                  <a:p>
                    <a:fld id="{2158F69B-4D45-4992-B979-D1831288BD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78D1-41D4-ABFA-320BD44357BD}"/>
                </c:ext>
              </c:extLst>
            </c:dLbl>
            <c:dLbl>
              <c:idx val="11"/>
              <c:tx>
                <c:rich>
                  <a:bodyPr/>
                  <a:lstStyle/>
                  <a:p>
                    <a:fld id="{E69BEFBC-A1BB-4392-9EC6-3275706B1D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78D1-41D4-ABFA-320BD44357BD}"/>
                </c:ext>
              </c:extLst>
            </c:dLbl>
            <c:dLbl>
              <c:idx val="12"/>
              <c:tx>
                <c:rich>
                  <a:bodyPr/>
                  <a:lstStyle/>
                  <a:p>
                    <a:fld id="{5788667B-A826-47DB-A106-569D66A36D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D85-4104-9E26-6DF4432E3EC7}"/>
                </c:ext>
              </c:extLst>
            </c:dLbl>
            <c:dLbl>
              <c:idx val="13"/>
              <c:tx>
                <c:rich>
                  <a:bodyPr/>
                  <a:lstStyle/>
                  <a:p>
                    <a:fld id="{5E4AA6B2-0EF9-4431-9EB1-46173439F3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D85-4104-9E26-6DF4432E3EC7}"/>
                </c:ext>
              </c:extLst>
            </c:dLbl>
            <c:dLbl>
              <c:idx val="14"/>
              <c:tx>
                <c:rich>
                  <a:bodyPr/>
                  <a:lstStyle/>
                  <a:p>
                    <a:fld id="{B8A8CCB6-99BB-4A00-B77C-DB103EBFE2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D85-4104-9E26-6DF4432E3EC7}"/>
                </c:ext>
              </c:extLst>
            </c:dLbl>
            <c:dLbl>
              <c:idx val="15"/>
              <c:tx>
                <c:rich>
                  <a:bodyPr/>
                  <a:lstStyle/>
                  <a:p>
                    <a:fld id="{6D19270C-3ABB-4FFD-B192-9AFE665E35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D85-4104-9E26-6DF4432E3EC7}"/>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7</c:f>
              <c:numCache>
                <c:formatCode>General</c:formatCode>
                <c:ptCount val="16"/>
                <c:pt idx="0">
                  <c:v>9.6359999999999992</c:v>
                </c:pt>
                <c:pt idx="1">
                  <c:v>9.4970999999999997</c:v>
                </c:pt>
                <c:pt idx="2">
                  <c:v>12.474500000000001</c:v>
                </c:pt>
                <c:pt idx="3">
                  <c:v>11.027100000000001</c:v>
                </c:pt>
                <c:pt idx="4">
                  <c:v>13.437200000000001</c:v>
                </c:pt>
                <c:pt idx="5">
                  <c:v>15.578099999999999</c:v>
                </c:pt>
                <c:pt idx="6">
                  <c:v>39.248899999999999</c:v>
                </c:pt>
                <c:pt idx="7">
                  <c:v>24.430499999999999</c:v>
                </c:pt>
                <c:pt idx="8">
                  <c:v>57.863199999999999</c:v>
                </c:pt>
                <c:pt idx="9">
                  <c:v>43.372999999999998</c:v>
                </c:pt>
                <c:pt idx="10">
                  <c:v>79.296300000000002</c:v>
                </c:pt>
                <c:pt idx="11">
                  <c:v>136.71950000000001</c:v>
                </c:pt>
                <c:pt idx="12">
                  <c:v>39.364800000000002</c:v>
                </c:pt>
                <c:pt idx="13">
                  <c:v>37.0747</c:v>
                </c:pt>
                <c:pt idx="14">
                  <c:v>33.418199999999999</c:v>
                </c:pt>
                <c:pt idx="15">
                  <c:v>48.244599999999998</c:v>
                </c:pt>
              </c:numCache>
            </c:numRef>
          </c:xVal>
          <c:yVal>
            <c:numRef>
              <c:f>Sheet1!$B$2:$B$17</c:f>
              <c:numCache>
                <c:formatCode>General</c:formatCode>
                <c:ptCount val="16"/>
                <c:pt idx="0">
                  <c:v>0.52170000000000005</c:v>
                </c:pt>
                <c:pt idx="1">
                  <c:v>0.54549999999999998</c:v>
                </c:pt>
                <c:pt idx="2">
                  <c:v>0.48480000000000001</c:v>
                </c:pt>
                <c:pt idx="3">
                  <c:v>0.46729999999999999</c:v>
                </c:pt>
                <c:pt idx="4">
                  <c:v>0.51039999999999996</c:v>
                </c:pt>
                <c:pt idx="5">
                  <c:v>0.42649999999999999</c:v>
                </c:pt>
                <c:pt idx="6">
                  <c:v>0.42959999999999998</c:v>
                </c:pt>
                <c:pt idx="7">
                  <c:v>0.52780000000000005</c:v>
                </c:pt>
                <c:pt idx="8">
                  <c:v>0.40649999999999997</c:v>
                </c:pt>
                <c:pt idx="9">
                  <c:v>0.39350000000000002</c:v>
                </c:pt>
                <c:pt idx="10">
                  <c:v>0.40429999999999999</c:v>
                </c:pt>
                <c:pt idx="11">
                  <c:v>0.37640000000000001</c:v>
                </c:pt>
                <c:pt idx="12">
                  <c:v>0.43409999999999999</c:v>
                </c:pt>
                <c:pt idx="13">
                  <c:v>0.42770000000000002</c:v>
                </c:pt>
                <c:pt idx="14">
                  <c:v>0.43740000000000001</c:v>
                </c:pt>
                <c:pt idx="15">
                  <c:v>0.42280000000000001</c:v>
                </c:pt>
              </c:numCache>
            </c:numRef>
          </c:yVal>
          <c:bubbleSize>
            <c:numRef>
              <c:f>Sheet1!$C$2:$C$17</c:f>
              <c:numCache>
                <c:formatCode>General</c:formatCode>
                <c:ptCount val="16"/>
                <c:pt idx="0">
                  <c:v>49240.157100000011</c:v>
                </c:pt>
                <c:pt idx="1">
                  <c:v>188726.6874</c:v>
                </c:pt>
                <c:pt idx="2">
                  <c:v>144417.72820000001</c:v>
                </c:pt>
                <c:pt idx="3">
                  <c:v>8579.0637999999999</c:v>
                </c:pt>
                <c:pt idx="4">
                  <c:v>58868.499100000001</c:v>
                </c:pt>
                <c:pt idx="5">
                  <c:v>78529.404399999999</c:v>
                </c:pt>
                <c:pt idx="6">
                  <c:v>14875.3287</c:v>
                </c:pt>
                <c:pt idx="7">
                  <c:v>78030.997000000003</c:v>
                </c:pt>
                <c:pt idx="8">
                  <c:v>451795.64400000009</c:v>
                </c:pt>
                <c:pt idx="9">
                  <c:v>5142130.9407999972</c:v>
                </c:pt>
                <c:pt idx="10">
                  <c:v>805888.13310000068</c:v>
                </c:pt>
                <c:pt idx="11">
                  <c:v>257032.70220000009</c:v>
                </c:pt>
                <c:pt idx="12">
                  <c:v>42356.540200000003</c:v>
                </c:pt>
                <c:pt idx="13">
                  <c:v>281100.50740000012</c:v>
                </c:pt>
                <c:pt idx="14">
                  <c:v>354400.38540000003</c:v>
                </c:pt>
                <c:pt idx="15">
                  <c:v>36279.961600000002</c:v>
                </c:pt>
              </c:numCache>
            </c:numRef>
          </c:bubbleSize>
          <c:bubble3D val="0"/>
          <c:extLst>
            <c:ext xmlns:c15="http://schemas.microsoft.com/office/drawing/2012/chart" uri="{02D57815-91ED-43cb-92C2-25804820EDAC}">
              <c15:datalabelsRange>
                <c15:f>Sheet1!$E$2:$E$29</c15:f>
                <c15:dlblRangeCache>
                  <c:ptCount val="28"/>
                  <c:pt idx="0">
                    <c:v>Mousseux Autres</c:v>
                  </c:pt>
                  <c:pt idx="1">
                    <c:v>Mousseux Italiens</c:v>
                  </c:pt>
                  <c:pt idx="2">
                    <c:v>Mousseux Val De Loire</c:v>
                  </c:pt>
                  <c:pt idx="3">
                    <c:v>Mousseux Bordelais</c:v>
                  </c:pt>
                  <c:pt idx="4">
                    <c:v>Mousseux Bourgogne</c:v>
                  </c:pt>
                  <c:pt idx="5">
                    <c:v>Mousseux Alsace</c:v>
                  </c:pt>
                  <c:pt idx="6">
                    <c:v>Demi-Secs</c:v>
                  </c:pt>
                  <c:pt idx="7">
                    <c:v>Effervescents Sans Alcool</c:v>
                  </c:pt>
                  <c:pt idx="8">
                    <c:v>Rosés</c:v>
                  </c:pt>
                  <c:pt idx="9">
                    <c:v>Bruts</c:v>
                  </c:pt>
                  <c:pt idx="10">
                    <c:v>Blanc De Blancs</c:v>
                  </c:pt>
                  <c:pt idx="11">
                    <c:v>Millesimes</c:v>
                  </c:pt>
                  <c:pt idx="12">
                    <c:v>Blanc De Noirs</c:v>
                  </c:pt>
                  <c:pt idx="13">
                    <c:v>Extra Brut</c:v>
                  </c:pt>
                  <c:pt idx="14">
                    <c:v>Crus</c:v>
                  </c:pt>
                  <c:pt idx="15">
                    <c:v>Brut Nature</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64.0634"/>
          <c:min val="7.5976800000000004"/>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694344970671065"/>
        <c:crossBetween val="midCat"/>
      </c:valAx>
      <c:valAx>
        <c:axId val="1011451359"/>
        <c:scaling>
          <c:orientation val="minMax"/>
          <c:max val="1.0145999999999999"/>
          <c:min val="6.1120000000000022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7.86731097002631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spPr>
              <a:solidFill>
                <a:srgbClr val="FF8080"/>
              </a:solidFill>
            </c:spPr>
            <c:extLst>
              <c:ext xmlns:c16="http://schemas.microsoft.com/office/drawing/2014/chart" uri="{C3380CC4-5D6E-409C-BE32-E72D297353CC}">
                <c16:uniqueId val="{0000000C-7D2A-4F1E-BC80-EAAAE9B08A80}"/>
              </c:ext>
            </c:extLst>
          </c:dPt>
          <c:dPt>
            <c:idx val="6"/>
            <c:invertIfNegative val="0"/>
            <c:bubble3D val="0"/>
            <c:spPr>
              <a:solidFill>
                <a:srgbClr val="C0000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006C6D"/>
              </a:solidFill>
            </c:spPr>
            <c:extLst>
              <c:ext xmlns:c16="http://schemas.microsoft.com/office/drawing/2014/chart" uri="{C3380CC4-5D6E-409C-BE32-E72D297353CC}">
                <c16:uniqueId val="{0000000D-7D2A-4F1E-BC80-EAAAE9B08A80}"/>
              </c:ext>
            </c:extLst>
          </c:dPt>
          <c:dPt>
            <c:idx val="8"/>
            <c:invertIfNegative val="1"/>
            <c:bubble3D val="0"/>
            <c:spPr>
              <a:solidFill>
                <a:srgbClr val="C00000"/>
              </a:solidFill>
            </c:spPr>
            <c:extLst>
              <c:ext xmlns:c16="http://schemas.microsoft.com/office/drawing/2014/chart" uri="{C3380CC4-5D6E-409C-BE32-E72D297353CC}">
                <c16:uniqueId val="{00000011-78D1-41D4-ABFA-320BD44357BD}"/>
              </c:ext>
            </c:extLst>
          </c:dPt>
          <c:dPt>
            <c:idx val="9"/>
            <c:invertIfNegative val="1"/>
            <c:bubble3D val="0"/>
            <c:spPr>
              <a:solidFill>
                <a:srgbClr val="FF8080"/>
              </a:solidFill>
            </c:spPr>
            <c:extLst>
              <c:ext xmlns:c16="http://schemas.microsoft.com/office/drawing/2014/chart" uri="{C3380CC4-5D6E-409C-BE32-E72D297353CC}">
                <c16:uniqueId val="{00000013-78D1-41D4-ABFA-320BD44357BD}"/>
              </c:ext>
            </c:extLst>
          </c:dPt>
          <c:dPt>
            <c:idx val="10"/>
            <c:invertIfNegative val="1"/>
            <c:bubble3D val="0"/>
            <c:spPr>
              <a:solidFill>
                <a:srgbClr val="C00000"/>
              </a:solidFill>
            </c:spPr>
            <c:extLst>
              <c:ext xmlns:c16="http://schemas.microsoft.com/office/drawing/2014/chart" uri="{C3380CC4-5D6E-409C-BE32-E72D297353CC}">
                <c16:uniqueId val="{00000015-78D1-41D4-ABFA-320BD44357BD}"/>
              </c:ext>
            </c:extLst>
          </c:dPt>
          <c:dPt>
            <c:idx val="11"/>
            <c:invertIfNegative val="1"/>
            <c:bubble3D val="0"/>
            <c:spPr>
              <a:solidFill>
                <a:srgbClr val="E6E5E5"/>
              </a:solidFill>
            </c:spPr>
            <c:extLst>
              <c:ext xmlns:c16="http://schemas.microsoft.com/office/drawing/2014/chart" uri="{C3380CC4-5D6E-409C-BE32-E72D297353CC}">
                <c16:uniqueId val="{00000017-78D1-41D4-ABFA-320BD44357BD}"/>
              </c:ext>
            </c:extLst>
          </c:dPt>
          <c:dPt>
            <c:idx val="12"/>
            <c:invertIfNegative val="1"/>
            <c:bubble3D val="0"/>
            <c:spPr>
              <a:solidFill>
                <a:srgbClr val="C00000"/>
              </a:solidFill>
            </c:spPr>
            <c:extLst>
              <c:ext xmlns:c16="http://schemas.microsoft.com/office/drawing/2014/chart" uri="{C3380CC4-5D6E-409C-BE32-E72D297353CC}">
                <c16:uniqueId val="{00000019-8D2E-419B-BDC4-345915668303}"/>
              </c:ext>
            </c:extLst>
          </c:dPt>
          <c:dPt>
            <c:idx val="13"/>
            <c:invertIfNegative val="1"/>
            <c:bubble3D val="0"/>
            <c:spPr>
              <a:solidFill>
                <a:srgbClr val="006C6D"/>
              </a:solidFill>
            </c:spPr>
            <c:extLst>
              <c:ext xmlns:c16="http://schemas.microsoft.com/office/drawing/2014/chart" uri="{C3380CC4-5D6E-409C-BE32-E72D297353CC}">
                <c16:uniqueId val="{0000001B-8D2E-419B-BDC4-345915668303}"/>
              </c:ext>
            </c:extLst>
          </c:dPt>
          <c:dPt>
            <c:idx val="14"/>
            <c:invertIfNegative val="1"/>
            <c:bubble3D val="0"/>
            <c:spPr>
              <a:solidFill>
                <a:srgbClr val="FF8080"/>
              </a:solidFill>
            </c:spPr>
            <c:extLst>
              <c:ext xmlns:c16="http://schemas.microsoft.com/office/drawing/2014/chart" uri="{C3380CC4-5D6E-409C-BE32-E72D297353CC}">
                <c16:uniqueId val="{0000001D-8D2E-419B-BDC4-345915668303}"/>
              </c:ext>
            </c:extLst>
          </c:dPt>
          <c:dPt>
            <c:idx val="15"/>
            <c:invertIfNegative val="1"/>
            <c:bubble3D val="0"/>
            <c:spPr>
              <a:solidFill>
                <a:srgbClr val="006C6D"/>
              </a:solidFill>
            </c:spPr>
            <c:extLst>
              <c:ext xmlns:c16="http://schemas.microsoft.com/office/drawing/2014/chart" uri="{C3380CC4-5D6E-409C-BE32-E72D297353CC}">
                <c16:uniqueId val="{0000001F-8D2E-419B-BDC4-345915668303}"/>
              </c:ext>
            </c:extLst>
          </c:dPt>
          <c:dLbls>
            <c:dLbl>
              <c:idx val="0"/>
              <c:tx>
                <c:rich>
                  <a:bodyPr/>
                  <a:lstStyle/>
                  <a:p>
                    <a:fld id="{2C4E5AC1-2A8B-43F1-B41B-EF8D57A805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8F14E52F-4644-4763-9F51-94FD35ECE8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096BE83B-4C52-47C5-990E-BBCDF2DA4C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7E977163-F1B4-4E4F-ABC9-18A0B08980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6C4459CC-39EF-4BE4-924E-7D3B3378EB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50EFE2AC-25CB-4A2A-B37C-37867A4997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E784E615-E981-4976-B65A-8B81388AFD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7BAEE20B-9644-4E58-A52B-CA06C834F0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dLbl>
              <c:idx val="8"/>
              <c:tx>
                <c:rich>
                  <a:bodyPr/>
                  <a:lstStyle/>
                  <a:p>
                    <a:fld id="{3AA4BBF1-CF92-4568-AEE1-155C764932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78D1-41D4-ABFA-320BD44357BD}"/>
                </c:ext>
              </c:extLst>
            </c:dLbl>
            <c:dLbl>
              <c:idx val="9"/>
              <c:tx>
                <c:rich>
                  <a:bodyPr/>
                  <a:lstStyle/>
                  <a:p>
                    <a:fld id="{56AC4065-30CD-4D35-8A28-E476B324D4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78D1-41D4-ABFA-320BD44357BD}"/>
                </c:ext>
              </c:extLst>
            </c:dLbl>
            <c:dLbl>
              <c:idx val="10"/>
              <c:tx>
                <c:rich>
                  <a:bodyPr/>
                  <a:lstStyle/>
                  <a:p>
                    <a:fld id="{8A743C90-99FE-4AF7-B4AF-06BD94508D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78D1-41D4-ABFA-320BD44357BD}"/>
                </c:ext>
              </c:extLst>
            </c:dLbl>
            <c:dLbl>
              <c:idx val="11"/>
              <c:tx>
                <c:rich>
                  <a:bodyPr/>
                  <a:lstStyle/>
                  <a:p>
                    <a:fld id="{FEA110CC-C0C7-4820-8AA7-4B061CC1C2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78D1-41D4-ABFA-320BD44357BD}"/>
                </c:ext>
              </c:extLst>
            </c:dLbl>
            <c:dLbl>
              <c:idx val="12"/>
              <c:tx>
                <c:rich>
                  <a:bodyPr/>
                  <a:lstStyle/>
                  <a:p>
                    <a:fld id="{25814BE1-015C-4A76-A361-A113A43437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8D2E-419B-BDC4-345915668303}"/>
                </c:ext>
              </c:extLst>
            </c:dLbl>
            <c:dLbl>
              <c:idx val="13"/>
              <c:tx>
                <c:rich>
                  <a:bodyPr/>
                  <a:lstStyle/>
                  <a:p>
                    <a:fld id="{EF2832C5-8986-4EA1-AD04-1558CB7314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8D2E-419B-BDC4-345915668303}"/>
                </c:ext>
              </c:extLst>
            </c:dLbl>
            <c:dLbl>
              <c:idx val="14"/>
              <c:tx>
                <c:rich>
                  <a:bodyPr/>
                  <a:lstStyle/>
                  <a:p>
                    <a:fld id="{597C691D-6435-45FF-AB1A-8CAE77B5A1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8D2E-419B-BDC4-345915668303}"/>
                </c:ext>
              </c:extLst>
            </c:dLbl>
            <c:dLbl>
              <c:idx val="15"/>
              <c:tx>
                <c:rich>
                  <a:bodyPr/>
                  <a:lstStyle/>
                  <a:p>
                    <a:fld id="{7A0D65F2-C396-4D76-A8EE-7F09F9F562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8D2E-419B-BDC4-345915668303}"/>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7</c:f>
              <c:numCache>
                <c:formatCode>General</c:formatCode>
                <c:ptCount val="16"/>
                <c:pt idx="0">
                  <c:v>11.2761</c:v>
                </c:pt>
                <c:pt idx="1">
                  <c:v>9.6295000000000002</c:v>
                </c:pt>
                <c:pt idx="2">
                  <c:v>12.8568</c:v>
                </c:pt>
                <c:pt idx="3">
                  <c:v>10.9679</c:v>
                </c:pt>
                <c:pt idx="4">
                  <c:v>13.4221</c:v>
                </c:pt>
                <c:pt idx="5">
                  <c:v>18.798400000000001</c:v>
                </c:pt>
                <c:pt idx="6">
                  <c:v>39.937899999999999</c:v>
                </c:pt>
                <c:pt idx="7">
                  <c:v>25.891300000000001</c:v>
                </c:pt>
                <c:pt idx="8">
                  <c:v>70.872600000000006</c:v>
                </c:pt>
                <c:pt idx="9">
                  <c:v>44.714300000000001</c:v>
                </c:pt>
                <c:pt idx="10">
                  <c:v>85.445999999999998</c:v>
                </c:pt>
                <c:pt idx="11">
                  <c:v>168.7835</c:v>
                </c:pt>
                <c:pt idx="12">
                  <c:v>41.8553</c:v>
                </c:pt>
                <c:pt idx="13">
                  <c:v>37.284100000000002</c:v>
                </c:pt>
                <c:pt idx="14">
                  <c:v>33.439300000000003</c:v>
                </c:pt>
                <c:pt idx="15">
                  <c:v>52.851700000000001</c:v>
                </c:pt>
              </c:numCache>
            </c:numRef>
          </c:xVal>
          <c:yVal>
            <c:numRef>
              <c:f>Sheet1!$B$2:$B$17</c:f>
              <c:numCache>
                <c:formatCode>General</c:formatCode>
                <c:ptCount val="16"/>
                <c:pt idx="0">
                  <c:v>0.47320000000000001</c:v>
                </c:pt>
                <c:pt idx="1">
                  <c:v>0.53910000000000002</c:v>
                </c:pt>
                <c:pt idx="2">
                  <c:v>0.51080000000000003</c:v>
                </c:pt>
                <c:pt idx="3">
                  <c:v>0.46629999999999999</c:v>
                </c:pt>
                <c:pt idx="4">
                  <c:v>0.51100000000000001</c:v>
                </c:pt>
                <c:pt idx="5">
                  <c:v>0.45900000000000002</c:v>
                </c:pt>
                <c:pt idx="6">
                  <c:v>0.42880000000000001</c:v>
                </c:pt>
                <c:pt idx="7">
                  <c:v>0.53539999999999999</c:v>
                </c:pt>
                <c:pt idx="8">
                  <c:v>0.40460000000000002</c:v>
                </c:pt>
                <c:pt idx="9">
                  <c:v>0.39450000000000002</c:v>
                </c:pt>
                <c:pt idx="10">
                  <c:v>0.40150000000000002</c:v>
                </c:pt>
                <c:pt idx="11">
                  <c:v>0.37659999999999999</c:v>
                </c:pt>
                <c:pt idx="12">
                  <c:v>0.43319999999999997</c:v>
                </c:pt>
                <c:pt idx="13">
                  <c:v>0.42720000000000002</c:v>
                </c:pt>
                <c:pt idx="14">
                  <c:v>0.43740000000000001</c:v>
                </c:pt>
                <c:pt idx="15">
                  <c:v>0.41899999999999998</c:v>
                </c:pt>
              </c:numCache>
            </c:numRef>
          </c:yVal>
          <c:bubbleSize>
            <c:numRef>
              <c:f>Sheet1!$C$2:$C$17</c:f>
              <c:numCache>
                <c:formatCode>General</c:formatCode>
                <c:ptCount val="16"/>
                <c:pt idx="0">
                  <c:v>77342.999599999996</c:v>
                </c:pt>
                <c:pt idx="1">
                  <c:v>402704.71079999988</c:v>
                </c:pt>
                <c:pt idx="2">
                  <c:v>167344.33319999999</c:v>
                </c:pt>
                <c:pt idx="3">
                  <c:v>11450.444100000001</c:v>
                </c:pt>
                <c:pt idx="4">
                  <c:v>97350.138800000001</c:v>
                </c:pt>
                <c:pt idx="5">
                  <c:v>63745.286800000002</c:v>
                </c:pt>
                <c:pt idx="6">
                  <c:v>29034.8328</c:v>
                </c:pt>
                <c:pt idx="7">
                  <c:v>166299.56789999999</c:v>
                </c:pt>
                <c:pt idx="8">
                  <c:v>1227443.136299998</c:v>
                </c:pt>
                <c:pt idx="9">
                  <c:v>9822170.2228000015</c:v>
                </c:pt>
                <c:pt idx="10">
                  <c:v>2246888.1462000008</c:v>
                </c:pt>
                <c:pt idx="11">
                  <c:v>821300.45329999982</c:v>
                </c:pt>
                <c:pt idx="12">
                  <c:v>93839.667799999996</c:v>
                </c:pt>
                <c:pt idx="13">
                  <c:v>540693.68339999998</c:v>
                </c:pt>
                <c:pt idx="14">
                  <c:v>632103.50289999996</c:v>
                </c:pt>
                <c:pt idx="15">
                  <c:v>77586.36099999999</c:v>
                </c:pt>
              </c:numCache>
            </c:numRef>
          </c:bubbleSize>
          <c:bubble3D val="0"/>
          <c:extLst>
            <c:ext xmlns:c15="http://schemas.microsoft.com/office/drawing/2012/chart" uri="{02D57815-91ED-43cb-92C2-25804820EDAC}">
              <c15:datalabelsRange>
                <c15:f>Sheet1!$E$2:$E$29</c15:f>
                <c15:dlblRangeCache>
                  <c:ptCount val="28"/>
                  <c:pt idx="0">
                    <c:v>Mousseux Autres</c:v>
                  </c:pt>
                  <c:pt idx="1">
                    <c:v>Mousseux Italiens</c:v>
                  </c:pt>
                  <c:pt idx="2">
                    <c:v>Mousseux Val De Loire</c:v>
                  </c:pt>
                  <c:pt idx="3">
                    <c:v>Mousseux Bordelais</c:v>
                  </c:pt>
                  <c:pt idx="4">
                    <c:v>Mousseux Bourgogne</c:v>
                  </c:pt>
                  <c:pt idx="5">
                    <c:v>Mousseux Alsace</c:v>
                  </c:pt>
                  <c:pt idx="6">
                    <c:v>Demi-Secs</c:v>
                  </c:pt>
                  <c:pt idx="7">
                    <c:v>Effervescents Sans Alcool</c:v>
                  </c:pt>
                  <c:pt idx="8">
                    <c:v>Rosés</c:v>
                  </c:pt>
                  <c:pt idx="9">
                    <c:v>Bruts</c:v>
                  </c:pt>
                  <c:pt idx="10">
                    <c:v>Blanc De Blancs</c:v>
                  </c:pt>
                  <c:pt idx="11">
                    <c:v>Millesimes</c:v>
                  </c:pt>
                  <c:pt idx="12">
                    <c:v>Blanc De Noirs</c:v>
                  </c:pt>
                  <c:pt idx="13">
                    <c:v>Extra Brut</c:v>
                  </c:pt>
                  <c:pt idx="14">
                    <c:v>Crus</c:v>
                  </c:pt>
                  <c:pt idx="15">
                    <c:v>Brut Nature</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02.5402"/>
          <c:min val="7.7036000000000007"/>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592403046222331"/>
        <c:crossBetween val="midCat"/>
      </c:valAx>
      <c:valAx>
        <c:axId val="1011451359"/>
        <c:scaling>
          <c:orientation val="minMax"/>
          <c:max val="1.0069199999999998"/>
          <c:min val="6.1280000000000001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55.9020728101524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EB631D78-C126-4705-B185-3E96CD81AC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E5E47617-86A0-4883-B898-3E2802CC9A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FF5-4D9B-9947-2A90D7752FBB}"/>
                </c:ext>
              </c:extLst>
            </c:dLbl>
            <c:dLbl>
              <c:idx val="2"/>
              <c:tx>
                <c:rich>
                  <a:bodyPr/>
                  <a:lstStyle/>
                  <a:p>
                    <a:fld id="{5E73B36C-E36E-4CB7-9735-2453F71C2B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FF5-4D9B-9947-2A90D7752FBB}"/>
                </c:ext>
              </c:extLst>
            </c:dLbl>
            <c:dLbl>
              <c:idx val="3"/>
              <c:tx>
                <c:rich>
                  <a:bodyPr/>
                  <a:lstStyle/>
                  <a:p>
                    <a:fld id="{2548542D-DCE9-477F-9C19-98A36941EC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FF8E5890-4399-4B1C-A08A-B53E5272B0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05214D66-9FC7-43B7-9FD2-C95B5AB517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E4D6BBCF-9AF2-4169-8DB3-6819FA66BB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D6270599-0669-48F1-8F44-3F5AA0D501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43.58410000000001</c:v>
                </c:pt>
              </c:numCache>
            </c:numRef>
          </c:xVal>
          <c:yVal>
            <c:numRef>
              <c:f>Sheet1!$B$2:$B$2</c:f>
              <c:numCache>
                <c:formatCode>General</c:formatCode>
                <c:ptCount val="1"/>
                <c:pt idx="0">
                  <c:v>0.37769999999999998</c:v>
                </c:pt>
              </c:numCache>
            </c:numRef>
          </c:yVal>
          <c:bubbleSize>
            <c:numRef>
              <c:f>Sheet1!$C$2:$C$2</c:f>
              <c:numCache>
                <c:formatCode>General</c:formatCode>
                <c:ptCount val="1"/>
                <c:pt idx="0">
                  <c:v>1994095.5426000019</c:v>
                </c:pt>
              </c:numCache>
            </c:numRef>
          </c:bubbleSize>
          <c:bubble3D val="0"/>
          <c:extLst>
            <c:ext xmlns:c15="http://schemas.microsoft.com/office/drawing/2012/chart" uri="{02D57815-91ED-43cb-92C2-25804820EDAC}">
              <c15:datalabelsRange>
                <c15:f>Sheet1!$E$2:$E$29</c15:f>
                <c15:dlblRangeCache>
                  <c:ptCount val="28"/>
                  <c:pt idx="0">
                    <c:v>NICOLAS</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72.30091999999999"/>
          <c:min val="114.86728000000001"/>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7769999999999998"/>
        <c:crossBetween val="midCat"/>
      </c:valAx>
      <c:valAx>
        <c:axId val="1011451359"/>
        <c:scaling>
          <c:orientation val="minMax"/>
          <c:max val="0.81323999999999996"/>
          <c:min val="6.2159999999999993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43.5841000000000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spPr>
              <a:solidFill>
                <a:srgbClr val="E6E5E5"/>
              </a:solidFill>
            </c:spPr>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006C6D"/>
              </a:solidFill>
            </c:spPr>
            <c:extLst>
              <c:ext xmlns:c16="http://schemas.microsoft.com/office/drawing/2014/chart" uri="{C3380CC4-5D6E-409C-BE32-E72D297353CC}">
                <c16:uniqueId val="{0000000D-7D2A-4F1E-BC80-EAAAE9B08A80}"/>
              </c:ext>
            </c:extLst>
          </c:dPt>
          <c:dPt>
            <c:idx val="8"/>
            <c:invertIfNegative val="1"/>
            <c:bubble3D val="0"/>
            <c:spPr>
              <a:solidFill>
                <a:srgbClr val="C00000"/>
              </a:solidFill>
            </c:spPr>
            <c:extLst>
              <c:ext xmlns:c16="http://schemas.microsoft.com/office/drawing/2014/chart" uri="{C3380CC4-5D6E-409C-BE32-E72D297353CC}">
                <c16:uniqueId val="{00000011-78D1-41D4-ABFA-320BD44357BD}"/>
              </c:ext>
            </c:extLst>
          </c:dPt>
          <c:dPt>
            <c:idx val="9"/>
            <c:invertIfNegative val="1"/>
            <c:bubble3D val="0"/>
            <c:spPr>
              <a:solidFill>
                <a:srgbClr val="FF8080"/>
              </a:solidFill>
            </c:spPr>
            <c:extLst>
              <c:ext xmlns:c16="http://schemas.microsoft.com/office/drawing/2014/chart" uri="{C3380CC4-5D6E-409C-BE32-E72D297353CC}">
                <c16:uniqueId val="{00000013-78D1-41D4-ABFA-320BD44357BD}"/>
              </c:ext>
            </c:extLst>
          </c:dPt>
          <c:dPt>
            <c:idx val="10"/>
            <c:invertIfNegative val="1"/>
            <c:bubble3D val="0"/>
            <c:spPr>
              <a:solidFill>
                <a:srgbClr val="C00000"/>
              </a:solidFill>
            </c:spPr>
            <c:extLst>
              <c:ext xmlns:c16="http://schemas.microsoft.com/office/drawing/2014/chart" uri="{C3380CC4-5D6E-409C-BE32-E72D297353CC}">
                <c16:uniqueId val="{00000015-78D1-41D4-ABFA-320BD44357BD}"/>
              </c:ext>
            </c:extLst>
          </c:dPt>
          <c:dPt>
            <c:idx val="11"/>
            <c:invertIfNegative val="1"/>
            <c:bubble3D val="0"/>
            <c:spPr>
              <a:solidFill>
                <a:srgbClr val="C00000"/>
              </a:solidFill>
            </c:spPr>
            <c:extLst>
              <c:ext xmlns:c16="http://schemas.microsoft.com/office/drawing/2014/chart" uri="{C3380CC4-5D6E-409C-BE32-E72D297353CC}">
                <c16:uniqueId val="{00000017-78D1-41D4-ABFA-320BD44357BD}"/>
              </c:ext>
            </c:extLst>
          </c:dPt>
          <c:dPt>
            <c:idx val="12"/>
            <c:invertIfNegative val="1"/>
            <c:bubble3D val="0"/>
            <c:spPr>
              <a:solidFill>
                <a:srgbClr val="006C6D"/>
              </a:solidFill>
            </c:spPr>
            <c:extLst>
              <c:ext xmlns:c16="http://schemas.microsoft.com/office/drawing/2014/chart" uri="{C3380CC4-5D6E-409C-BE32-E72D297353CC}">
                <c16:uniqueId val="{00000019-C56C-4B92-8749-D1D40A14A150}"/>
              </c:ext>
            </c:extLst>
          </c:dPt>
          <c:dPt>
            <c:idx val="13"/>
            <c:invertIfNegative val="1"/>
            <c:bubble3D val="0"/>
            <c:spPr>
              <a:solidFill>
                <a:srgbClr val="7ECAC4"/>
              </a:solidFill>
            </c:spPr>
            <c:extLst>
              <c:ext xmlns:c16="http://schemas.microsoft.com/office/drawing/2014/chart" uri="{C3380CC4-5D6E-409C-BE32-E72D297353CC}">
                <c16:uniqueId val="{0000001B-C56C-4B92-8749-D1D40A14A150}"/>
              </c:ext>
            </c:extLst>
          </c:dPt>
          <c:dPt>
            <c:idx val="14"/>
            <c:invertIfNegative val="1"/>
            <c:bubble3D val="0"/>
            <c:spPr>
              <a:solidFill>
                <a:srgbClr val="FF8080"/>
              </a:solidFill>
            </c:spPr>
            <c:extLst>
              <c:ext xmlns:c16="http://schemas.microsoft.com/office/drawing/2014/chart" uri="{C3380CC4-5D6E-409C-BE32-E72D297353CC}">
                <c16:uniqueId val="{0000001D-C56C-4B92-8749-D1D40A14A150}"/>
              </c:ext>
            </c:extLst>
          </c:dPt>
          <c:dPt>
            <c:idx val="15"/>
            <c:invertIfNegative val="1"/>
            <c:bubble3D val="0"/>
            <c:spPr>
              <a:solidFill>
                <a:srgbClr val="006C6D"/>
              </a:solidFill>
            </c:spPr>
            <c:extLst>
              <c:ext xmlns:c16="http://schemas.microsoft.com/office/drawing/2014/chart" uri="{C3380CC4-5D6E-409C-BE32-E72D297353CC}">
                <c16:uniqueId val="{0000001F-C56C-4B92-8749-D1D40A14A150}"/>
              </c:ext>
            </c:extLst>
          </c:dPt>
          <c:dLbls>
            <c:dLbl>
              <c:idx val="0"/>
              <c:tx>
                <c:rich>
                  <a:bodyPr/>
                  <a:lstStyle/>
                  <a:p>
                    <a:fld id="{477F0168-853B-4354-839A-4323C56DCB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5C9ED2E5-4554-4AED-B74D-1637AB8BA9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A8A8A6D6-4751-45DB-ACE5-A5EFA0F363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F9126554-6A23-4DD5-8CFC-6EE0A0F930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707BBC32-E33E-4EB9-A8EB-AE99B2632E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0E78C1F-CE95-4ABB-AC0C-337DAEB6B5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EFA44F7A-70B8-45EC-8A38-C6A586FEFA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D9886787-2697-436E-9425-DE1A085097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dLbl>
              <c:idx val="8"/>
              <c:tx>
                <c:rich>
                  <a:bodyPr/>
                  <a:lstStyle/>
                  <a:p>
                    <a:fld id="{BEF3E7A7-BD4C-4097-822D-A8C139B217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78D1-41D4-ABFA-320BD44357BD}"/>
                </c:ext>
              </c:extLst>
            </c:dLbl>
            <c:dLbl>
              <c:idx val="9"/>
              <c:tx>
                <c:rich>
                  <a:bodyPr/>
                  <a:lstStyle/>
                  <a:p>
                    <a:fld id="{521D7F4E-576F-4593-9690-87B4FC7032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78D1-41D4-ABFA-320BD44357BD}"/>
                </c:ext>
              </c:extLst>
            </c:dLbl>
            <c:dLbl>
              <c:idx val="10"/>
              <c:tx>
                <c:rich>
                  <a:bodyPr/>
                  <a:lstStyle/>
                  <a:p>
                    <a:fld id="{D2C5DEF1-48D3-4EF1-9725-2AA15F35FE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78D1-41D4-ABFA-320BD44357BD}"/>
                </c:ext>
              </c:extLst>
            </c:dLbl>
            <c:dLbl>
              <c:idx val="11"/>
              <c:tx>
                <c:rich>
                  <a:bodyPr/>
                  <a:lstStyle/>
                  <a:p>
                    <a:fld id="{967C6449-7CFF-4D3F-B044-348D331AF6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78D1-41D4-ABFA-320BD44357BD}"/>
                </c:ext>
              </c:extLst>
            </c:dLbl>
            <c:dLbl>
              <c:idx val="12"/>
              <c:tx>
                <c:rich>
                  <a:bodyPr/>
                  <a:lstStyle/>
                  <a:p>
                    <a:fld id="{9C6BB26C-DC75-4A13-A000-E92035D14F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C56C-4B92-8749-D1D40A14A150}"/>
                </c:ext>
              </c:extLst>
            </c:dLbl>
            <c:dLbl>
              <c:idx val="13"/>
              <c:tx>
                <c:rich>
                  <a:bodyPr/>
                  <a:lstStyle/>
                  <a:p>
                    <a:fld id="{C95E5A65-9C0B-40B9-92C2-BCA62CBC77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C56C-4B92-8749-D1D40A14A150}"/>
                </c:ext>
              </c:extLst>
            </c:dLbl>
            <c:dLbl>
              <c:idx val="14"/>
              <c:tx>
                <c:rich>
                  <a:bodyPr/>
                  <a:lstStyle/>
                  <a:p>
                    <a:fld id="{E4F105D3-0B82-4F44-9D57-41CC224F17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C56C-4B92-8749-D1D40A14A150}"/>
                </c:ext>
              </c:extLst>
            </c:dLbl>
            <c:dLbl>
              <c:idx val="15"/>
              <c:tx>
                <c:rich>
                  <a:bodyPr/>
                  <a:lstStyle/>
                  <a:p>
                    <a:fld id="{F35E1663-B7B3-435B-B0B6-6EC8F5A769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C56C-4B92-8749-D1D40A14A15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7</c:f>
              <c:numCache>
                <c:formatCode>General</c:formatCode>
                <c:ptCount val="16"/>
                <c:pt idx="0">
                  <c:v>10.821199999999999</c:v>
                </c:pt>
                <c:pt idx="1">
                  <c:v>9.5114000000000001</c:v>
                </c:pt>
                <c:pt idx="2">
                  <c:v>12.5153</c:v>
                </c:pt>
                <c:pt idx="3">
                  <c:v>10.8842</c:v>
                </c:pt>
                <c:pt idx="4">
                  <c:v>13.8226</c:v>
                </c:pt>
                <c:pt idx="5">
                  <c:v>15.625500000000001</c:v>
                </c:pt>
                <c:pt idx="6">
                  <c:v>39.991799999999998</c:v>
                </c:pt>
                <c:pt idx="7">
                  <c:v>23.111799999999999</c:v>
                </c:pt>
                <c:pt idx="8">
                  <c:v>57.499099999999999</c:v>
                </c:pt>
                <c:pt idx="9">
                  <c:v>43.185899999999997</c:v>
                </c:pt>
                <c:pt idx="10">
                  <c:v>79.148499999999999</c:v>
                </c:pt>
                <c:pt idx="11">
                  <c:v>134.46180000000001</c:v>
                </c:pt>
                <c:pt idx="12">
                  <c:v>39.575699999999998</c:v>
                </c:pt>
                <c:pt idx="13">
                  <c:v>36.5428</c:v>
                </c:pt>
                <c:pt idx="14">
                  <c:v>33.3992</c:v>
                </c:pt>
                <c:pt idx="15">
                  <c:v>50.197400000000002</c:v>
                </c:pt>
              </c:numCache>
            </c:numRef>
          </c:xVal>
          <c:yVal>
            <c:numRef>
              <c:f>Sheet1!$B$2:$B$17</c:f>
              <c:numCache>
                <c:formatCode>General</c:formatCode>
                <c:ptCount val="16"/>
                <c:pt idx="0">
                  <c:v>0.50249999999999995</c:v>
                </c:pt>
                <c:pt idx="1">
                  <c:v>0.54530000000000001</c:v>
                </c:pt>
                <c:pt idx="2">
                  <c:v>0.49</c:v>
                </c:pt>
                <c:pt idx="3">
                  <c:v>0.46550000000000002</c:v>
                </c:pt>
                <c:pt idx="4">
                  <c:v>0.48699999999999999</c:v>
                </c:pt>
                <c:pt idx="5">
                  <c:v>0.42159999999999997</c:v>
                </c:pt>
                <c:pt idx="6">
                  <c:v>0.43030000000000002</c:v>
                </c:pt>
                <c:pt idx="7">
                  <c:v>0.52359999999999995</c:v>
                </c:pt>
                <c:pt idx="8">
                  <c:v>0.40649999999999997</c:v>
                </c:pt>
                <c:pt idx="9">
                  <c:v>0.39479999999999998</c:v>
                </c:pt>
                <c:pt idx="10">
                  <c:v>0.4042</c:v>
                </c:pt>
                <c:pt idx="11">
                  <c:v>0.38080000000000003</c:v>
                </c:pt>
                <c:pt idx="12">
                  <c:v>0.4345</c:v>
                </c:pt>
                <c:pt idx="13">
                  <c:v>0.43230000000000002</c:v>
                </c:pt>
                <c:pt idx="14">
                  <c:v>0.43740000000000001</c:v>
                </c:pt>
                <c:pt idx="15">
                  <c:v>0.4224</c:v>
                </c:pt>
              </c:numCache>
            </c:numRef>
          </c:yVal>
          <c:bubbleSize>
            <c:numRef>
              <c:f>Sheet1!$C$2:$C$17</c:f>
              <c:numCache>
                <c:formatCode>General</c:formatCode>
                <c:ptCount val="16"/>
                <c:pt idx="0">
                  <c:v>66236.645499999999</c:v>
                </c:pt>
                <c:pt idx="1">
                  <c:v>237023.935</c:v>
                </c:pt>
                <c:pt idx="2">
                  <c:v>160521.0486999999</c:v>
                </c:pt>
                <c:pt idx="3">
                  <c:v>9708.7252000000008</c:v>
                </c:pt>
                <c:pt idx="4">
                  <c:v>97974.25940000001</c:v>
                </c:pt>
                <c:pt idx="5">
                  <c:v>94284.052799999976</c:v>
                </c:pt>
                <c:pt idx="6">
                  <c:v>22515.397700000001</c:v>
                </c:pt>
                <c:pt idx="7">
                  <c:v>88841.785500000013</c:v>
                </c:pt>
                <c:pt idx="8">
                  <c:v>543826.32400000002</c:v>
                </c:pt>
                <c:pt idx="9">
                  <c:v>6236088.1620999957</c:v>
                </c:pt>
                <c:pt idx="10">
                  <c:v>1110690.3508000011</c:v>
                </c:pt>
                <c:pt idx="11">
                  <c:v>286538.14889999991</c:v>
                </c:pt>
                <c:pt idx="12">
                  <c:v>60907.003299999997</c:v>
                </c:pt>
                <c:pt idx="13">
                  <c:v>361262.09210000001</c:v>
                </c:pt>
                <c:pt idx="14">
                  <c:v>469859.94630000001</c:v>
                </c:pt>
                <c:pt idx="15">
                  <c:v>35389.1852</c:v>
                </c:pt>
              </c:numCache>
            </c:numRef>
          </c:bubbleSize>
          <c:bubble3D val="0"/>
          <c:extLst>
            <c:ext xmlns:c15="http://schemas.microsoft.com/office/drawing/2012/chart" uri="{02D57815-91ED-43cb-92C2-25804820EDAC}">
              <c15:datalabelsRange>
                <c15:f>Sheet1!$E$2:$E$29</c15:f>
                <c15:dlblRangeCache>
                  <c:ptCount val="28"/>
                  <c:pt idx="0">
                    <c:v>Mousseux Autres</c:v>
                  </c:pt>
                  <c:pt idx="1">
                    <c:v>Mousseux Italiens</c:v>
                  </c:pt>
                  <c:pt idx="2">
                    <c:v>Mousseux Val De Loire</c:v>
                  </c:pt>
                  <c:pt idx="3">
                    <c:v>Mousseux Bordelais</c:v>
                  </c:pt>
                  <c:pt idx="4">
                    <c:v>Mousseux Bourgogne</c:v>
                  </c:pt>
                  <c:pt idx="5">
                    <c:v>Mousseux Alsace</c:v>
                  </c:pt>
                  <c:pt idx="6">
                    <c:v>Demi-Secs</c:v>
                  </c:pt>
                  <c:pt idx="7">
                    <c:v>Effervescents Sans Alcool</c:v>
                  </c:pt>
                  <c:pt idx="8">
                    <c:v>Rosés</c:v>
                  </c:pt>
                  <c:pt idx="9">
                    <c:v>Bruts</c:v>
                  </c:pt>
                  <c:pt idx="10">
                    <c:v>Blanc De Blancs</c:v>
                  </c:pt>
                  <c:pt idx="11">
                    <c:v>Millesimes</c:v>
                  </c:pt>
                  <c:pt idx="12">
                    <c:v>Blanc De Noirs</c:v>
                  </c:pt>
                  <c:pt idx="13">
                    <c:v>Extra Brut</c:v>
                  </c:pt>
                  <c:pt idx="14">
                    <c:v>Crus</c:v>
                  </c:pt>
                  <c:pt idx="15">
                    <c:v>Brut Nature</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61.35416000000001"/>
          <c:min val="7.6091200000000008"/>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819103935030809"/>
        <c:crossBetween val="midCat"/>
      </c:valAx>
      <c:valAx>
        <c:axId val="1011451359"/>
        <c:scaling>
          <c:orientation val="minMax"/>
          <c:max val="1.0143599999999999"/>
          <c:min val="6.4640000000000031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7.66067487364700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E6E5E5"/>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spPr>
              <a:solidFill>
                <a:srgbClr val="E6E5E5"/>
              </a:solidFill>
            </c:spPr>
            <c:extLst>
              <c:ext xmlns:c16="http://schemas.microsoft.com/office/drawing/2014/chart" uri="{C3380CC4-5D6E-409C-BE32-E72D297353CC}">
                <c16:uniqueId val="{0000000C-7D2A-4F1E-BC80-EAAAE9B08A80}"/>
              </c:ext>
            </c:extLst>
          </c:dPt>
          <c:dPt>
            <c:idx val="6"/>
            <c:invertIfNegative val="0"/>
            <c:bubble3D val="0"/>
            <c:spPr>
              <a:solidFill>
                <a:srgbClr val="C0000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006C6D"/>
              </a:solidFill>
            </c:spPr>
            <c:extLst>
              <c:ext xmlns:c16="http://schemas.microsoft.com/office/drawing/2014/chart" uri="{C3380CC4-5D6E-409C-BE32-E72D297353CC}">
                <c16:uniqueId val="{0000000D-7D2A-4F1E-BC80-EAAAE9B08A80}"/>
              </c:ext>
            </c:extLst>
          </c:dPt>
          <c:dPt>
            <c:idx val="8"/>
            <c:invertIfNegative val="1"/>
            <c:bubble3D val="0"/>
            <c:spPr>
              <a:solidFill>
                <a:srgbClr val="C00000"/>
              </a:solidFill>
            </c:spPr>
            <c:extLst>
              <c:ext xmlns:c16="http://schemas.microsoft.com/office/drawing/2014/chart" uri="{C3380CC4-5D6E-409C-BE32-E72D297353CC}">
                <c16:uniqueId val="{00000011-78D1-41D4-ABFA-320BD44357BD}"/>
              </c:ext>
            </c:extLst>
          </c:dPt>
          <c:dPt>
            <c:idx val="9"/>
            <c:invertIfNegative val="1"/>
            <c:bubble3D val="0"/>
            <c:spPr>
              <a:solidFill>
                <a:srgbClr val="FF8080"/>
              </a:solidFill>
            </c:spPr>
            <c:extLst>
              <c:ext xmlns:c16="http://schemas.microsoft.com/office/drawing/2014/chart" uri="{C3380CC4-5D6E-409C-BE32-E72D297353CC}">
                <c16:uniqueId val="{00000013-78D1-41D4-ABFA-320BD44357BD}"/>
              </c:ext>
            </c:extLst>
          </c:dPt>
          <c:dPt>
            <c:idx val="10"/>
            <c:invertIfNegative val="1"/>
            <c:bubble3D val="0"/>
            <c:spPr>
              <a:solidFill>
                <a:srgbClr val="C00000"/>
              </a:solidFill>
            </c:spPr>
            <c:extLst>
              <c:ext xmlns:c16="http://schemas.microsoft.com/office/drawing/2014/chart" uri="{C3380CC4-5D6E-409C-BE32-E72D297353CC}">
                <c16:uniqueId val="{00000015-78D1-41D4-ABFA-320BD44357BD}"/>
              </c:ext>
            </c:extLst>
          </c:dPt>
          <c:dPt>
            <c:idx val="11"/>
            <c:invertIfNegative val="1"/>
            <c:bubble3D val="0"/>
            <c:spPr>
              <a:solidFill>
                <a:srgbClr val="FF8080"/>
              </a:solidFill>
            </c:spPr>
            <c:extLst>
              <c:ext xmlns:c16="http://schemas.microsoft.com/office/drawing/2014/chart" uri="{C3380CC4-5D6E-409C-BE32-E72D297353CC}">
                <c16:uniqueId val="{00000017-78D1-41D4-ABFA-320BD44357BD}"/>
              </c:ext>
            </c:extLst>
          </c:dPt>
          <c:dPt>
            <c:idx val="12"/>
            <c:invertIfNegative val="1"/>
            <c:bubble3D val="0"/>
            <c:spPr>
              <a:solidFill>
                <a:srgbClr val="FF8080"/>
              </a:solidFill>
            </c:spPr>
            <c:extLst>
              <c:ext xmlns:c16="http://schemas.microsoft.com/office/drawing/2014/chart" uri="{C3380CC4-5D6E-409C-BE32-E72D297353CC}">
                <c16:uniqueId val="{00000019-F319-49FD-B50D-4EABB821467D}"/>
              </c:ext>
            </c:extLst>
          </c:dPt>
          <c:dPt>
            <c:idx val="13"/>
            <c:invertIfNegative val="1"/>
            <c:bubble3D val="0"/>
            <c:spPr>
              <a:solidFill>
                <a:srgbClr val="FF8080"/>
              </a:solidFill>
            </c:spPr>
            <c:extLst>
              <c:ext xmlns:c16="http://schemas.microsoft.com/office/drawing/2014/chart" uri="{C3380CC4-5D6E-409C-BE32-E72D297353CC}">
                <c16:uniqueId val="{0000001B-F319-49FD-B50D-4EABB821467D}"/>
              </c:ext>
            </c:extLst>
          </c:dPt>
          <c:dPt>
            <c:idx val="14"/>
            <c:invertIfNegative val="1"/>
            <c:bubble3D val="0"/>
            <c:spPr>
              <a:solidFill>
                <a:srgbClr val="C00000"/>
              </a:solidFill>
            </c:spPr>
            <c:extLst>
              <c:ext xmlns:c16="http://schemas.microsoft.com/office/drawing/2014/chart" uri="{C3380CC4-5D6E-409C-BE32-E72D297353CC}">
                <c16:uniqueId val="{0000001D-F319-49FD-B50D-4EABB821467D}"/>
              </c:ext>
            </c:extLst>
          </c:dPt>
          <c:dPt>
            <c:idx val="15"/>
            <c:invertIfNegative val="1"/>
            <c:bubble3D val="0"/>
            <c:spPr>
              <a:solidFill>
                <a:srgbClr val="006C6D"/>
              </a:solidFill>
            </c:spPr>
            <c:extLst>
              <c:ext xmlns:c16="http://schemas.microsoft.com/office/drawing/2014/chart" uri="{C3380CC4-5D6E-409C-BE32-E72D297353CC}">
                <c16:uniqueId val="{0000001F-F319-49FD-B50D-4EABB821467D}"/>
              </c:ext>
            </c:extLst>
          </c:dPt>
          <c:dLbls>
            <c:dLbl>
              <c:idx val="0"/>
              <c:tx>
                <c:rich>
                  <a:bodyPr/>
                  <a:lstStyle/>
                  <a:p>
                    <a:fld id="{0149D826-660F-41E6-9778-87B1532499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C3269105-1FA0-4EBC-AA1A-5B4BC588E2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C5BC862-5EA0-4770-9DDB-2A61C50662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EAAA2DEC-DE07-4A7E-A3C1-5F4FA8110E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55266C9B-9A7F-4AFB-866C-3AB145528D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CF57C2CB-19D2-449C-AA60-EA593BA1F5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A3386B03-CDDD-4FDA-A28D-4F98665A2F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AF178312-9553-4EF7-BC70-BAD049AC11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dLbl>
              <c:idx val="8"/>
              <c:tx>
                <c:rich>
                  <a:bodyPr/>
                  <a:lstStyle/>
                  <a:p>
                    <a:fld id="{485F45E7-919F-4DFE-A476-0707F7197A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78D1-41D4-ABFA-320BD44357BD}"/>
                </c:ext>
              </c:extLst>
            </c:dLbl>
            <c:dLbl>
              <c:idx val="9"/>
              <c:tx>
                <c:rich>
                  <a:bodyPr/>
                  <a:lstStyle/>
                  <a:p>
                    <a:fld id="{21FE3542-C6E9-434E-B9E9-DB5B7C3C05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78D1-41D4-ABFA-320BD44357BD}"/>
                </c:ext>
              </c:extLst>
            </c:dLbl>
            <c:dLbl>
              <c:idx val="10"/>
              <c:tx>
                <c:rich>
                  <a:bodyPr/>
                  <a:lstStyle/>
                  <a:p>
                    <a:fld id="{0CB7E714-D91F-429D-ADA5-01DBA3E9B9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78D1-41D4-ABFA-320BD44357BD}"/>
                </c:ext>
              </c:extLst>
            </c:dLbl>
            <c:dLbl>
              <c:idx val="11"/>
              <c:tx>
                <c:rich>
                  <a:bodyPr/>
                  <a:lstStyle/>
                  <a:p>
                    <a:fld id="{602DBCBF-0696-4955-84C3-DED3812A6B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78D1-41D4-ABFA-320BD44357BD}"/>
                </c:ext>
              </c:extLst>
            </c:dLbl>
            <c:dLbl>
              <c:idx val="12"/>
              <c:tx>
                <c:rich>
                  <a:bodyPr/>
                  <a:lstStyle/>
                  <a:p>
                    <a:fld id="{44A63BD0-97B3-4F47-AFDA-617C2CB9B1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F319-49FD-B50D-4EABB821467D}"/>
                </c:ext>
              </c:extLst>
            </c:dLbl>
            <c:dLbl>
              <c:idx val="13"/>
              <c:tx>
                <c:rich>
                  <a:bodyPr/>
                  <a:lstStyle/>
                  <a:p>
                    <a:fld id="{0A3761EA-1EE4-46DE-9675-5FB609CE62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F319-49FD-B50D-4EABB821467D}"/>
                </c:ext>
              </c:extLst>
            </c:dLbl>
            <c:dLbl>
              <c:idx val="14"/>
              <c:tx>
                <c:rich>
                  <a:bodyPr/>
                  <a:lstStyle/>
                  <a:p>
                    <a:fld id="{C8E32A30-EAE9-4A09-B997-1E1379835F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F319-49FD-B50D-4EABB821467D}"/>
                </c:ext>
              </c:extLst>
            </c:dLbl>
            <c:dLbl>
              <c:idx val="15"/>
              <c:tx>
                <c:rich>
                  <a:bodyPr/>
                  <a:lstStyle/>
                  <a:p>
                    <a:fld id="{252DCF03-65D8-4625-A5BB-F3959CECF3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F319-49FD-B50D-4EABB821467D}"/>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7</c:f>
              <c:numCache>
                <c:formatCode>General</c:formatCode>
                <c:ptCount val="16"/>
                <c:pt idx="0">
                  <c:v>10.102499999999999</c:v>
                </c:pt>
                <c:pt idx="1">
                  <c:v>9.4278999999999993</c:v>
                </c:pt>
                <c:pt idx="2">
                  <c:v>12.3</c:v>
                </c:pt>
                <c:pt idx="3">
                  <c:v>10.9755</c:v>
                </c:pt>
                <c:pt idx="4">
                  <c:v>13.451599999999999</c:v>
                </c:pt>
                <c:pt idx="5">
                  <c:v>15.970499999999999</c:v>
                </c:pt>
                <c:pt idx="6">
                  <c:v>40.2483</c:v>
                </c:pt>
                <c:pt idx="7">
                  <c:v>21.971</c:v>
                </c:pt>
                <c:pt idx="8">
                  <c:v>56.712499999999999</c:v>
                </c:pt>
                <c:pt idx="9">
                  <c:v>42.6965</c:v>
                </c:pt>
                <c:pt idx="10">
                  <c:v>75.363900000000001</c:v>
                </c:pt>
                <c:pt idx="11">
                  <c:v>111.31100000000001</c:v>
                </c:pt>
                <c:pt idx="12">
                  <c:v>38.923699999999997</c:v>
                </c:pt>
                <c:pt idx="13">
                  <c:v>36.614100000000001</c:v>
                </c:pt>
                <c:pt idx="14">
                  <c:v>33.442799999999998</c:v>
                </c:pt>
                <c:pt idx="15">
                  <c:v>47.169899999999998</c:v>
                </c:pt>
              </c:numCache>
            </c:numRef>
          </c:xVal>
          <c:yVal>
            <c:numRef>
              <c:f>Sheet1!$B$2:$B$17</c:f>
              <c:numCache>
                <c:formatCode>General</c:formatCode>
                <c:ptCount val="16"/>
                <c:pt idx="0">
                  <c:v>0.50629999999999997</c:v>
                </c:pt>
                <c:pt idx="1">
                  <c:v>0.54649999999999999</c:v>
                </c:pt>
                <c:pt idx="2">
                  <c:v>0.47</c:v>
                </c:pt>
                <c:pt idx="3">
                  <c:v>0.46489999999999998</c:v>
                </c:pt>
                <c:pt idx="4">
                  <c:v>0.50780000000000003</c:v>
                </c:pt>
                <c:pt idx="5">
                  <c:v>0.4259</c:v>
                </c:pt>
                <c:pt idx="6">
                  <c:v>0.4299</c:v>
                </c:pt>
                <c:pt idx="7">
                  <c:v>0.52190000000000003</c:v>
                </c:pt>
                <c:pt idx="8">
                  <c:v>0.40500000000000003</c:v>
                </c:pt>
                <c:pt idx="9">
                  <c:v>0.39229999999999998</c:v>
                </c:pt>
                <c:pt idx="10">
                  <c:v>0.40600000000000003</c:v>
                </c:pt>
                <c:pt idx="11">
                  <c:v>0.379</c:v>
                </c:pt>
                <c:pt idx="12">
                  <c:v>0.43540000000000001</c:v>
                </c:pt>
                <c:pt idx="13">
                  <c:v>0.43180000000000002</c:v>
                </c:pt>
                <c:pt idx="14">
                  <c:v>0.43740000000000001</c:v>
                </c:pt>
                <c:pt idx="15">
                  <c:v>0.42449999999999999</c:v>
                </c:pt>
              </c:numCache>
            </c:numRef>
          </c:yVal>
          <c:bubbleSize>
            <c:numRef>
              <c:f>Sheet1!$C$2:$C$17</c:f>
              <c:numCache>
                <c:formatCode>General</c:formatCode>
                <c:ptCount val="16"/>
                <c:pt idx="0">
                  <c:v>78981.436900000001</c:v>
                </c:pt>
                <c:pt idx="1">
                  <c:v>201710.90859999991</c:v>
                </c:pt>
                <c:pt idx="2">
                  <c:v>194549.8665</c:v>
                </c:pt>
                <c:pt idx="3">
                  <c:v>12347.440500000001</c:v>
                </c:pt>
                <c:pt idx="4">
                  <c:v>78933.850900000005</c:v>
                </c:pt>
                <c:pt idx="5">
                  <c:v>89019.301200000002</c:v>
                </c:pt>
                <c:pt idx="6">
                  <c:v>19037.427899999999</c:v>
                </c:pt>
                <c:pt idx="7">
                  <c:v>77953.170400000032</c:v>
                </c:pt>
                <c:pt idx="8">
                  <c:v>513077.54580000037</c:v>
                </c:pt>
                <c:pt idx="9">
                  <c:v>5711509.8140999982</c:v>
                </c:pt>
                <c:pt idx="10">
                  <c:v>1006108.158600001</c:v>
                </c:pt>
                <c:pt idx="11">
                  <c:v>242212.70540000001</c:v>
                </c:pt>
                <c:pt idx="12">
                  <c:v>48771.446000000004</c:v>
                </c:pt>
                <c:pt idx="13">
                  <c:v>282477.41970000003</c:v>
                </c:pt>
                <c:pt idx="14">
                  <c:v>420476.41859999998</c:v>
                </c:pt>
                <c:pt idx="15">
                  <c:v>35047.244299999998</c:v>
                </c:pt>
              </c:numCache>
            </c:numRef>
          </c:bubbleSize>
          <c:bubble3D val="0"/>
          <c:extLst>
            <c:ext xmlns:c15="http://schemas.microsoft.com/office/drawing/2012/chart" uri="{02D57815-91ED-43cb-92C2-25804820EDAC}">
              <c15:datalabelsRange>
                <c15:f>Sheet1!$E$2:$E$29</c15:f>
                <c15:dlblRangeCache>
                  <c:ptCount val="28"/>
                  <c:pt idx="0">
                    <c:v>Mousseux Autres</c:v>
                  </c:pt>
                  <c:pt idx="1">
                    <c:v>Mousseux Italiens</c:v>
                  </c:pt>
                  <c:pt idx="2">
                    <c:v>Mousseux Val De Loire</c:v>
                  </c:pt>
                  <c:pt idx="3">
                    <c:v>Mousseux Bordelais</c:v>
                  </c:pt>
                  <c:pt idx="4">
                    <c:v>Mousseux Bourgogne</c:v>
                  </c:pt>
                  <c:pt idx="5">
                    <c:v>Mousseux Alsace</c:v>
                  </c:pt>
                  <c:pt idx="6">
                    <c:v>Demi-Secs</c:v>
                  </c:pt>
                  <c:pt idx="7">
                    <c:v>Effervescents Sans Alcool</c:v>
                  </c:pt>
                  <c:pt idx="8">
                    <c:v>Rosés</c:v>
                  </c:pt>
                  <c:pt idx="9">
                    <c:v>Bruts</c:v>
                  </c:pt>
                  <c:pt idx="10">
                    <c:v>Blanc De Blancs</c:v>
                  </c:pt>
                  <c:pt idx="11">
                    <c:v>Millesimes</c:v>
                  </c:pt>
                  <c:pt idx="12">
                    <c:v>Blanc De Noirs</c:v>
                  </c:pt>
                  <c:pt idx="13">
                    <c:v>Extra Brut</c:v>
                  </c:pt>
                  <c:pt idx="14">
                    <c:v>Crus</c:v>
                  </c:pt>
                  <c:pt idx="15">
                    <c:v>Brut Nature</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33.57320000000001"/>
          <c:min val="7.5423200000000001"/>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666687496860787"/>
        <c:crossBetween val="midCat"/>
      </c:valAx>
      <c:valAx>
        <c:axId val="1011451359"/>
        <c:scaling>
          <c:orientation val="minMax"/>
          <c:max val="1.0158"/>
          <c:min val="6.320000000000002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5.92558121182534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spPr>
              <a:solidFill>
                <a:srgbClr val="FF8080"/>
              </a:solidFill>
            </c:spPr>
            <c:extLst>
              <c:ext xmlns:c16="http://schemas.microsoft.com/office/drawing/2014/chart" uri="{C3380CC4-5D6E-409C-BE32-E72D297353CC}">
                <c16:uniqueId val="{0000000C-7D2A-4F1E-BC80-EAAAE9B08A80}"/>
              </c:ext>
            </c:extLst>
          </c:dPt>
          <c:dPt>
            <c:idx val="6"/>
            <c:invertIfNegative val="0"/>
            <c:bubble3D val="0"/>
            <c:spPr>
              <a:solidFill>
                <a:srgbClr val="C0000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006C6D"/>
              </a:solidFill>
            </c:spPr>
            <c:extLst>
              <c:ext xmlns:c16="http://schemas.microsoft.com/office/drawing/2014/chart" uri="{C3380CC4-5D6E-409C-BE32-E72D297353CC}">
                <c16:uniqueId val="{0000000D-7D2A-4F1E-BC80-EAAAE9B08A80}"/>
              </c:ext>
            </c:extLst>
          </c:dPt>
          <c:dPt>
            <c:idx val="8"/>
            <c:invertIfNegative val="1"/>
            <c:bubble3D val="0"/>
            <c:spPr>
              <a:solidFill>
                <a:srgbClr val="FF8080"/>
              </a:solidFill>
            </c:spPr>
            <c:extLst>
              <c:ext xmlns:c16="http://schemas.microsoft.com/office/drawing/2014/chart" uri="{C3380CC4-5D6E-409C-BE32-E72D297353CC}">
                <c16:uniqueId val="{00000011-78D1-41D4-ABFA-320BD44357BD}"/>
              </c:ext>
            </c:extLst>
          </c:dPt>
          <c:dPt>
            <c:idx val="9"/>
            <c:invertIfNegative val="1"/>
            <c:bubble3D val="0"/>
            <c:spPr>
              <a:solidFill>
                <a:srgbClr val="FF8080"/>
              </a:solidFill>
            </c:spPr>
            <c:extLst>
              <c:ext xmlns:c16="http://schemas.microsoft.com/office/drawing/2014/chart" uri="{C3380CC4-5D6E-409C-BE32-E72D297353CC}">
                <c16:uniqueId val="{00000013-78D1-41D4-ABFA-320BD44357BD}"/>
              </c:ext>
            </c:extLst>
          </c:dPt>
          <c:dPt>
            <c:idx val="10"/>
            <c:invertIfNegative val="1"/>
            <c:bubble3D val="0"/>
            <c:spPr>
              <a:solidFill>
                <a:srgbClr val="C00000"/>
              </a:solidFill>
            </c:spPr>
            <c:extLst>
              <c:ext xmlns:c16="http://schemas.microsoft.com/office/drawing/2014/chart" uri="{C3380CC4-5D6E-409C-BE32-E72D297353CC}">
                <c16:uniqueId val="{00000015-78D1-41D4-ABFA-320BD44357BD}"/>
              </c:ext>
            </c:extLst>
          </c:dPt>
          <c:dPt>
            <c:idx val="11"/>
            <c:invertIfNegative val="1"/>
            <c:bubble3D val="0"/>
            <c:spPr>
              <a:solidFill>
                <a:srgbClr val="E6E5E5"/>
              </a:solidFill>
            </c:spPr>
            <c:extLst>
              <c:ext xmlns:c16="http://schemas.microsoft.com/office/drawing/2014/chart" uri="{C3380CC4-5D6E-409C-BE32-E72D297353CC}">
                <c16:uniqueId val="{00000017-78D1-41D4-ABFA-320BD44357BD}"/>
              </c:ext>
            </c:extLst>
          </c:dPt>
          <c:dPt>
            <c:idx val="12"/>
            <c:invertIfNegative val="1"/>
            <c:bubble3D val="0"/>
            <c:spPr>
              <a:solidFill>
                <a:srgbClr val="7ECAC4"/>
              </a:solidFill>
            </c:spPr>
            <c:extLst>
              <c:ext xmlns:c16="http://schemas.microsoft.com/office/drawing/2014/chart" uri="{C3380CC4-5D6E-409C-BE32-E72D297353CC}">
                <c16:uniqueId val="{00000019-BE29-4183-84DD-8E3C11E5BB39}"/>
              </c:ext>
            </c:extLst>
          </c:dPt>
          <c:dPt>
            <c:idx val="13"/>
            <c:invertIfNegative val="1"/>
            <c:bubble3D val="0"/>
            <c:spPr>
              <a:solidFill>
                <a:srgbClr val="7ECAC4"/>
              </a:solidFill>
            </c:spPr>
            <c:extLst>
              <c:ext xmlns:c16="http://schemas.microsoft.com/office/drawing/2014/chart" uri="{C3380CC4-5D6E-409C-BE32-E72D297353CC}">
                <c16:uniqueId val="{0000001B-BE29-4183-84DD-8E3C11E5BB39}"/>
              </c:ext>
            </c:extLst>
          </c:dPt>
          <c:dPt>
            <c:idx val="14"/>
            <c:invertIfNegative val="1"/>
            <c:bubble3D val="0"/>
            <c:spPr>
              <a:solidFill>
                <a:srgbClr val="FF8080"/>
              </a:solidFill>
            </c:spPr>
            <c:extLst>
              <c:ext xmlns:c16="http://schemas.microsoft.com/office/drawing/2014/chart" uri="{C3380CC4-5D6E-409C-BE32-E72D297353CC}">
                <c16:uniqueId val="{0000001D-BE29-4183-84DD-8E3C11E5BB39}"/>
              </c:ext>
            </c:extLst>
          </c:dPt>
          <c:dPt>
            <c:idx val="15"/>
            <c:invertIfNegative val="1"/>
            <c:bubble3D val="0"/>
            <c:spPr>
              <a:solidFill>
                <a:srgbClr val="E6E5E5"/>
              </a:solidFill>
            </c:spPr>
            <c:extLst>
              <c:ext xmlns:c16="http://schemas.microsoft.com/office/drawing/2014/chart" uri="{C3380CC4-5D6E-409C-BE32-E72D297353CC}">
                <c16:uniqueId val="{0000001F-BE29-4183-84DD-8E3C11E5BB39}"/>
              </c:ext>
            </c:extLst>
          </c:dPt>
          <c:dLbls>
            <c:dLbl>
              <c:idx val="0"/>
              <c:tx>
                <c:rich>
                  <a:bodyPr/>
                  <a:lstStyle/>
                  <a:p>
                    <a:fld id="{39E0FFD3-0E5E-4F7C-9272-1B73C83DF9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BF406B12-BD1D-450D-BC95-8A9C4BC687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E5D503D2-8EFE-4A03-8F83-CC8D52DD75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F91B42DF-6321-40D8-907F-9F181EC5A5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8FE1F3B3-635E-47AA-A381-529DCE7E6F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D11EAFE5-1364-4235-82FD-FEBA049EA9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28197AC7-5630-40BA-B7F1-F2944811DD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FC8B5274-31FF-4B69-AEC8-765EFEEF90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dLbl>
              <c:idx val="8"/>
              <c:tx>
                <c:rich>
                  <a:bodyPr/>
                  <a:lstStyle/>
                  <a:p>
                    <a:fld id="{42DA36D8-4B37-4E74-9C69-3504148B5D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78D1-41D4-ABFA-320BD44357BD}"/>
                </c:ext>
              </c:extLst>
            </c:dLbl>
            <c:dLbl>
              <c:idx val="9"/>
              <c:tx>
                <c:rich>
                  <a:bodyPr/>
                  <a:lstStyle/>
                  <a:p>
                    <a:fld id="{29288149-E7D2-4FB4-8970-94770E4BB9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78D1-41D4-ABFA-320BD44357BD}"/>
                </c:ext>
              </c:extLst>
            </c:dLbl>
            <c:dLbl>
              <c:idx val="10"/>
              <c:tx>
                <c:rich>
                  <a:bodyPr/>
                  <a:lstStyle/>
                  <a:p>
                    <a:fld id="{2265C7BC-BA4C-453A-AA62-BD6C9C93DF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78D1-41D4-ABFA-320BD44357BD}"/>
                </c:ext>
              </c:extLst>
            </c:dLbl>
            <c:dLbl>
              <c:idx val="11"/>
              <c:tx>
                <c:rich>
                  <a:bodyPr/>
                  <a:lstStyle/>
                  <a:p>
                    <a:fld id="{2479BF01-B47E-4981-AB23-ECC1517B53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78D1-41D4-ABFA-320BD44357BD}"/>
                </c:ext>
              </c:extLst>
            </c:dLbl>
            <c:dLbl>
              <c:idx val="12"/>
              <c:tx>
                <c:rich>
                  <a:bodyPr/>
                  <a:lstStyle/>
                  <a:p>
                    <a:fld id="{C7ABD2C9-D567-4738-8881-6455245D7B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E29-4183-84DD-8E3C11E5BB39}"/>
                </c:ext>
              </c:extLst>
            </c:dLbl>
            <c:dLbl>
              <c:idx val="13"/>
              <c:tx>
                <c:rich>
                  <a:bodyPr/>
                  <a:lstStyle/>
                  <a:p>
                    <a:fld id="{D67CB1CD-280B-47F0-90C7-742BEE693F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E29-4183-84DD-8E3C11E5BB39}"/>
                </c:ext>
              </c:extLst>
            </c:dLbl>
            <c:dLbl>
              <c:idx val="14"/>
              <c:tx>
                <c:rich>
                  <a:bodyPr/>
                  <a:lstStyle/>
                  <a:p>
                    <a:fld id="{E3DD7516-DA22-4986-862F-510AAC5FFB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E29-4183-84DD-8E3C11E5BB39}"/>
                </c:ext>
              </c:extLst>
            </c:dLbl>
            <c:dLbl>
              <c:idx val="15"/>
              <c:tx>
                <c:rich>
                  <a:bodyPr/>
                  <a:lstStyle/>
                  <a:p>
                    <a:fld id="{4D6C9ECD-EE92-4123-A55F-E2670AFD4F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E29-4183-84DD-8E3C11E5BB39}"/>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7</c:f>
              <c:numCache>
                <c:formatCode>General</c:formatCode>
                <c:ptCount val="16"/>
                <c:pt idx="0">
                  <c:v>10.799099999999999</c:v>
                </c:pt>
                <c:pt idx="1">
                  <c:v>9.6205999999999996</c:v>
                </c:pt>
                <c:pt idx="2">
                  <c:v>12.5991</c:v>
                </c:pt>
                <c:pt idx="3">
                  <c:v>11.357900000000001</c:v>
                </c:pt>
                <c:pt idx="4">
                  <c:v>13.453200000000001</c:v>
                </c:pt>
                <c:pt idx="5">
                  <c:v>17.9803</c:v>
                </c:pt>
                <c:pt idx="6">
                  <c:v>37.862499999999997</c:v>
                </c:pt>
                <c:pt idx="7">
                  <c:v>24.279900000000001</c:v>
                </c:pt>
                <c:pt idx="8">
                  <c:v>58.195799999999998</c:v>
                </c:pt>
                <c:pt idx="9">
                  <c:v>43.093200000000003</c:v>
                </c:pt>
                <c:pt idx="10">
                  <c:v>78.562100000000001</c:v>
                </c:pt>
                <c:pt idx="11">
                  <c:v>145.91970000000001</c:v>
                </c:pt>
                <c:pt idx="12">
                  <c:v>39.215000000000003</c:v>
                </c:pt>
                <c:pt idx="13">
                  <c:v>36.482599999999998</c:v>
                </c:pt>
                <c:pt idx="14">
                  <c:v>33.418100000000003</c:v>
                </c:pt>
                <c:pt idx="15">
                  <c:v>52.081200000000003</c:v>
                </c:pt>
              </c:numCache>
            </c:numRef>
          </c:xVal>
          <c:yVal>
            <c:numRef>
              <c:f>Sheet1!$B$2:$B$17</c:f>
              <c:numCache>
                <c:formatCode>General</c:formatCode>
                <c:ptCount val="16"/>
                <c:pt idx="0">
                  <c:v>0.50960000000000005</c:v>
                </c:pt>
                <c:pt idx="1">
                  <c:v>0.54410000000000003</c:v>
                </c:pt>
                <c:pt idx="2">
                  <c:v>0.49490000000000001</c:v>
                </c:pt>
                <c:pt idx="3">
                  <c:v>0.46960000000000002</c:v>
                </c:pt>
                <c:pt idx="4">
                  <c:v>0.51049999999999995</c:v>
                </c:pt>
                <c:pt idx="5">
                  <c:v>0.45279999999999998</c:v>
                </c:pt>
                <c:pt idx="6">
                  <c:v>0.43240000000000001</c:v>
                </c:pt>
                <c:pt idx="7">
                  <c:v>0.53339999999999999</c:v>
                </c:pt>
                <c:pt idx="8">
                  <c:v>0.40699999999999997</c:v>
                </c:pt>
                <c:pt idx="9">
                  <c:v>0.39360000000000001</c:v>
                </c:pt>
                <c:pt idx="10">
                  <c:v>0.4027</c:v>
                </c:pt>
                <c:pt idx="11">
                  <c:v>0.3775</c:v>
                </c:pt>
                <c:pt idx="12">
                  <c:v>0.43559999999999999</c:v>
                </c:pt>
                <c:pt idx="13">
                  <c:v>0.43120000000000003</c:v>
                </c:pt>
                <c:pt idx="14">
                  <c:v>0.437</c:v>
                </c:pt>
                <c:pt idx="15">
                  <c:v>0.42230000000000001</c:v>
                </c:pt>
              </c:numCache>
            </c:numRef>
          </c:yVal>
          <c:bubbleSize>
            <c:numRef>
              <c:f>Sheet1!$C$2:$C$17</c:f>
              <c:numCache>
                <c:formatCode>General</c:formatCode>
                <c:ptCount val="16"/>
                <c:pt idx="0">
                  <c:v>71522.511400000032</c:v>
                </c:pt>
                <c:pt idx="1">
                  <c:v>328697.09859999991</c:v>
                </c:pt>
                <c:pt idx="2">
                  <c:v>202366.6917</c:v>
                </c:pt>
                <c:pt idx="3">
                  <c:v>14356.338299999999</c:v>
                </c:pt>
                <c:pt idx="4">
                  <c:v>88737.557799999995</c:v>
                </c:pt>
                <c:pt idx="5">
                  <c:v>65574.324200000017</c:v>
                </c:pt>
                <c:pt idx="6">
                  <c:v>24534.872500000001</c:v>
                </c:pt>
                <c:pt idx="7">
                  <c:v>124580.4051</c:v>
                </c:pt>
                <c:pt idx="8">
                  <c:v>744091.31059999974</c:v>
                </c:pt>
                <c:pt idx="9">
                  <c:v>7802318.1625000043</c:v>
                </c:pt>
                <c:pt idx="10">
                  <c:v>1401312.8086999999</c:v>
                </c:pt>
                <c:pt idx="11">
                  <c:v>399965.95870000031</c:v>
                </c:pt>
                <c:pt idx="12">
                  <c:v>67920.321800000005</c:v>
                </c:pt>
                <c:pt idx="13">
                  <c:v>428415.03739999991</c:v>
                </c:pt>
                <c:pt idx="14">
                  <c:v>534388.50309999997</c:v>
                </c:pt>
                <c:pt idx="15">
                  <c:v>48383.434200000003</c:v>
                </c:pt>
              </c:numCache>
            </c:numRef>
          </c:bubbleSize>
          <c:bubble3D val="0"/>
          <c:extLst>
            <c:ext xmlns:c15="http://schemas.microsoft.com/office/drawing/2012/chart" uri="{02D57815-91ED-43cb-92C2-25804820EDAC}">
              <c15:datalabelsRange>
                <c15:f>Sheet1!$E$2:$E$29</c15:f>
                <c15:dlblRangeCache>
                  <c:ptCount val="28"/>
                  <c:pt idx="0">
                    <c:v>Mousseux Autres</c:v>
                  </c:pt>
                  <c:pt idx="1">
                    <c:v>Mousseux Italiens</c:v>
                  </c:pt>
                  <c:pt idx="2">
                    <c:v>Mousseux Val De Loire</c:v>
                  </c:pt>
                  <c:pt idx="3">
                    <c:v>Mousseux Bordelais</c:v>
                  </c:pt>
                  <c:pt idx="4">
                    <c:v>Mousseux Bourgogne</c:v>
                  </c:pt>
                  <c:pt idx="5">
                    <c:v>Mousseux Alsace</c:v>
                  </c:pt>
                  <c:pt idx="6">
                    <c:v>Demi-Secs</c:v>
                  </c:pt>
                  <c:pt idx="7">
                    <c:v>Effervescents Sans Alcool</c:v>
                  </c:pt>
                  <c:pt idx="8">
                    <c:v>Rosés</c:v>
                  </c:pt>
                  <c:pt idx="9">
                    <c:v>Bruts</c:v>
                  </c:pt>
                  <c:pt idx="10">
                    <c:v>Blanc De Blancs</c:v>
                  </c:pt>
                  <c:pt idx="11">
                    <c:v>Millesimes</c:v>
                  </c:pt>
                  <c:pt idx="12">
                    <c:v>Blanc De Noirs</c:v>
                  </c:pt>
                  <c:pt idx="13">
                    <c:v>Extra Brut</c:v>
                  </c:pt>
                  <c:pt idx="14">
                    <c:v>Crus</c:v>
                  </c:pt>
                  <c:pt idx="15">
                    <c:v>Brut Nature</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75.10364000000001"/>
          <c:min val="7.6964800000000002"/>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751457103291044"/>
        <c:crossBetween val="midCat"/>
      </c:valAx>
      <c:valAx>
        <c:axId val="1011451359"/>
        <c:scaling>
          <c:orientation val="minMax"/>
          <c:max val="1.01292"/>
          <c:min val="6.2000000000000013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8.56402783410505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5.8427307295754599E-4</c:v>
                </c:pt>
                <c:pt idx="1">
                  <c:v>-1.1261288671619839E-2</c:v>
                </c:pt>
                <c:pt idx="2">
                  <c:v>5.0779747580842471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3.7100000000000001E-2</c:v>
                </c:pt>
                <c:pt idx="1">
                  <c:v>1.18E-2</c:v>
                </c:pt>
                <c:pt idx="2">
                  <c:v>-0.1318</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noFill/>
                    <a:round/>
                  </a:ln>
                  <a:effectLst/>
                </c14:spPr>
              </c14:invertSolidFillFmt>
            </c:ex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General"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0</c:v>
                </c:pt>
                <c:pt idx="1">
                  <c:v>6</c:v>
                </c:pt>
                <c:pt idx="2">
                  <c:v>0</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solidFill>
                      <a:schemeClr val="lt1">
                        <a:alpha val="50000"/>
                      </a:schemeClr>
                    </a:solidFill>
                    <a:round/>
                  </a:ln>
                  <a:effectLst/>
                </c14:spPr>
              </c14:invertSolidFillFmt>
            </c:ex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General"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5.9190648624715542E-3</c:v>
                </c:pt>
                <c:pt idx="1">
                  <c:v>-1.4065043963452152E-2</c:v>
                </c:pt>
                <c:pt idx="2">
                  <c:v>1.1108215789135345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3.4299999999999997E-2</c:v>
                </c:pt>
                <c:pt idx="1">
                  <c:v>1.49E-2</c:v>
                </c:pt>
                <c:pt idx="2">
                  <c:v>-0.1211</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noFill/>
                    <a:round/>
                  </a:ln>
                  <a:effectLst/>
                </c14:spPr>
              </c14:invertSolidFillFmt>
            </c:ex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General"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0</c:v>
                </c:pt>
                <c:pt idx="1">
                  <c:v>3</c:v>
                </c:pt>
                <c:pt idx="2">
                  <c:v>0</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solidFill>
                      <a:schemeClr val="lt1">
                        <a:alpha val="50000"/>
                      </a:schemeClr>
                    </a:solidFill>
                    <a:round/>
                  </a:ln>
                  <a:effectLst/>
                </c14:spPr>
              </c14:invertSolidFillFmt>
            </c:ex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General"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Mousseux</c:v>
                </c:pt>
                <c:pt idx="1">
                  <c:v>Champagnes</c:v>
                </c:pt>
                <c:pt idx="2">
                  <c:v>Effervescents Sans Alcool</c:v>
                </c:pt>
              </c:strCache>
            </c:strRef>
          </c:cat>
          <c:val>
            <c:numRef>
              <c:f>Sheet1!$B$2:$B$5</c:f>
              <c:numCache>
                <c:formatCode>General</c:formatCode>
                <c:ptCount val="4"/>
                <c:pt idx="0">
                  <c:v>-2.5952686099339761E-3</c:v>
                </c:pt>
                <c:pt idx="1">
                  <c:v>-8.9115539233189482E-3</c:v>
                </c:pt>
                <c:pt idx="2">
                  <c:v>1.4519272749888901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262.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263.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264.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65.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266.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267.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268.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269.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0.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271.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272.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273.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274.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275.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276.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277.xml.rels><?xml version="1.0" encoding="UTF-8" standalone="yes"?>
<Relationships xmlns="http://schemas.openxmlformats.org/package/2006/relationships"><Relationship Id="rId2" Type="http://schemas.openxmlformats.org/officeDocument/2006/relationships/slide" Target="../slides/slide277.xml"/><Relationship Id="rId1" Type="http://schemas.openxmlformats.org/officeDocument/2006/relationships/notesMaster" Target="../notesMasters/notesMaster1.xml"/></Relationships>
</file>

<file path=ppt/notesSlides/_rels/notesSlide278.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279.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0.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281.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282.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283.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284.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285.xml.rels><?xml version="1.0" encoding="UTF-8" standalone="yes"?>
<Relationships xmlns="http://schemas.openxmlformats.org/package/2006/relationships"><Relationship Id="rId2" Type="http://schemas.openxmlformats.org/officeDocument/2006/relationships/slide" Target="../slides/slide285.xml"/><Relationship Id="rId1" Type="http://schemas.openxmlformats.org/officeDocument/2006/relationships/notesMaster" Target="../notesMasters/notesMaster1.xml"/></Relationships>
</file>

<file path=ppt/notesSlides/_rels/notesSlide286.xml.rels><?xml version="1.0" encoding="UTF-8" standalone="yes"?>
<Relationships xmlns="http://schemas.openxmlformats.org/package/2006/relationships"><Relationship Id="rId2" Type="http://schemas.openxmlformats.org/officeDocument/2006/relationships/slide" Target="../slides/slide286.xml"/><Relationship Id="rId1" Type="http://schemas.openxmlformats.org/officeDocument/2006/relationships/notesMaster" Target="../notesMasters/notesMaster1.xml"/></Relationships>
</file>

<file path=ppt/notesSlides/_rels/notesSlide287.xml.rels><?xml version="1.0" encoding="UTF-8" standalone="yes"?>
<Relationships xmlns="http://schemas.openxmlformats.org/package/2006/relationships"><Relationship Id="rId2" Type="http://schemas.openxmlformats.org/officeDocument/2006/relationships/slide" Target="../slides/slide287.xml"/><Relationship Id="rId1" Type="http://schemas.openxmlformats.org/officeDocument/2006/relationships/notesMaster" Target="../notesMasters/notesMaster1.xml"/></Relationships>
</file>

<file path=ppt/notesSlides/_rels/notesSlide288.xml.rels><?xml version="1.0" encoding="UTF-8" standalone="yes"?>
<Relationships xmlns="http://schemas.openxmlformats.org/package/2006/relationships"><Relationship Id="rId2" Type="http://schemas.openxmlformats.org/officeDocument/2006/relationships/slide" Target="../slides/slide288.xml"/><Relationship Id="rId1" Type="http://schemas.openxmlformats.org/officeDocument/2006/relationships/notesMaster" Target="../notesMasters/notesMaster1.xml"/></Relationships>
</file>

<file path=ppt/notesSlides/_rels/notesSlide289.xml.rels><?xml version="1.0" encoding="UTF-8" standalone="yes"?>
<Relationships xmlns="http://schemas.openxmlformats.org/package/2006/relationships"><Relationship Id="rId2" Type="http://schemas.openxmlformats.org/officeDocument/2006/relationships/slide" Target="../slides/slide28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0.xml.rels><?xml version="1.0" encoding="UTF-8" standalone="yes"?>
<Relationships xmlns="http://schemas.openxmlformats.org/package/2006/relationships"><Relationship Id="rId2" Type="http://schemas.openxmlformats.org/officeDocument/2006/relationships/slide" Target="../slides/slide290.xml"/><Relationship Id="rId1" Type="http://schemas.openxmlformats.org/officeDocument/2006/relationships/notesMaster" Target="../notesMasters/notesMaster1.xml"/></Relationships>
</file>

<file path=ppt/notesSlides/_rels/notesSlide291.xml.rels><?xml version="1.0" encoding="UTF-8" standalone="yes"?>
<Relationships xmlns="http://schemas.openxmlformats.org/package/2006/relationships"><Relationship Id="rId2" Type="http://schemas.openxmlformats.org/officeDocument/2006/relationships/slide" Target="../slides/slide291.xml"/><Relationship Id="rId1" Type="http://schemas.openxmlformats.org/officeDocument/2006/relationships/notesMaster" Target="../notesMasters/notesMaster1.xml"/></Relationships>
</file>

<file path=ppt/notesSlides/_rels/notesSlide292.xml.rels><?xml version="1.0" encoding="UTF-8" standalone="yes"?>
<Relationships xmlns="http://schemas.openxmlformats.org/package/2006/relationships"><Relationship Id="rId2" Type="http://schemas.openxmlformats.org/officeDocument/2006/relationships/slide" Target="../slides/slide292.xml"/><Relationship Id="rId1" Type="http://schemas.openxmlformats.org/officeDocument/2006/relationships/notesMaster" Target="../notesMasters/notesMaster1.xml"/></Relationships>
</file>

<file path=ppt/notesSlides/_rels/notesSlide293.xml.rels><?xml version="1.0" encoding="UTF-8" standalone="yes"?>
<Relationships xmlns="http://schemas.openxmlformats.org/package/2006/relationships"><Relationship Id="rId2" Type="http://schemas.openxmlformats.org/officeDocument/2006/relationships/slide" Target="../slides/slide293.xml"/><Relationship Id="rId1" Type="http://schemas.openxmlformats.org/officeDocument/2006/relationships/notesMaster" Target="../notesMasters/notesMaster1.xml"/></Relationships>
</file>

<file path=ppt/notesSlides/_rels/notesSlide294.xml.rels><?xml version="1.0" encoding="UTF-8" standalone="yes"?>
<Relationships xmlns="http://schemas.openxmlformats.org/package/2006/relationships"><Relationship Id="rId2" Type="http://schemas.openxmlformats.org/officeDocument/2006/relationships/slide" Target="../slides/slide294.xml"/><Relationship Id="rId1" Type="http://schemas.openxmlformats.org/officeDocument/2006/relationships/notesMaster" Target="../notesMasters/notesMaster1.xml"/></Relationships>
</file>

<file path=ppt/notesSlides/_rels/notesSlide295.xml.rels><?xml version="1.0" encoding="UTF-8" standalone="yes"?>
<Relationships xmlns="http://schemas.openxmlformats.org/package/2006/relationships"><Relationship Id="rId2" Type="http://schemas.openxmlformats.org/officeDocument/2006/relationships/slide" Target="../slides/slide295.xml"/><Relationship Id="rId1" Type="http://schemas.openxmlformats.org/officeDocument/2006/relationships/notesMaster" Target="../notesMasters/notesMaster1.xml"/></Relationships>
</file>

<file path=ppt/notesSlides/_rels/notesSlide296.xml.rels><?xml version="1.0" encoding="UTF-8" standalone="yes"?>
<Relationships xmlns="http://schemas.openxmlformats.org/package/2006/relationships"><Relationship Id="rId2" Type="http://schemas.openxmlformats.org/officeDocument/2006/relationships/slide" Target="../slides/slide296.xml"/><Relationship Id="rId1" Type="http://schemas.openxmlformats.org/officeDocument/2006/relationships/notesMaster" Target="../notesMasters/notesMaster1.xml"/></Relationships>
</file>

<file path=ppt/notesSlides/_rels/notesSlide297.xml.rels><?xml version="1.0" encoding="UTF-8" standalone="yes"?>
<Relationships xmlns="http://schemas.openxmlformats.org/package/2006/relationships"><Relationship Id="rId2" Type="http://schemas.openxmlformats.org/officeDocument/2006/relationships/slide" Target="../slides/slide297.xml"/><Relationship Id="rId1" Type="http://schemas.openxmlformats.org/officeDocument/2006/relationships/notesMaster" Target="../notesMasters/notesMaster1.xml"/></Relationships>
</file>

<file path=ppt/notesSlides/_rels/notesSlide298.xml.rels><?xml version="1.0" encoding="UTF-8" standalone="yes"?>
<Relationships xmlns="http://schemas.openxmlformats.org/package/2006/relationships"><Relationship Id="rId2" Type="http://schemas.openxmlformats.org/officeDocument/2006/relationships/slide" Target="../slides/slide298.xml"/><Relationship Id="rId1" Type="http://schemas.openxmlformats.org/officeDocument/2006/relationships/notesMaster" Target="../notesMasters/notesMaster1.xml"/></Relationships>
</file>

<file path=ppt/notesSlides/_rels/notesSlide299.xml.rels><?xml version="1.0" encoding="UTF-8" standalone="yes"?>
<Relationships xmlns="http://schemas.openxmlformats.org/package/2006/relationships"><Relationship Id="rId2" Type="http://schemas.openxmlformats.org/officeDocument/2006/relationships/slide" Target="../slides/slide29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00.xml.rels><?xml version="1.0" encoding="UTF-8" standalone="yes"?>
<Relationships xmlns="http://schemas.openxmlformats.org/package/2006/relationships"><Relationship Id="rId2" Type="http://schemas.openxmlformats.org/officeDocument/2006/relationships/slide" Target="../slides/slide300.xml"/><Relationship Id="rId1" Type="http://schemas.openxmlformats.org/officeDocument/2006/relationships/notesMaster" Target="../notesMasters/notesMaster1.xml"/></Relationships>
</file>

<file path=ppt/notesSlides/_rels/notesSlide301.xml.rels><?xml version="1.0" encoding="UTF-8" standalone="yes"?>
<Relationships xmlns="http://schemas.openxmlformats.org/package/2006/relationships"><Relationship Id="rId2" Type="http://schemas.openxmlformats.org/officeDocument/2006/relationships/slide" Target="../slides/slide301.xml"/><Relationship Id="rId1" Type="http://schemas.openxmlformats.org/officeDocument/2006/relationships/notesMaster" Target="../notesMasters/notesMaster1.xml"/></Relationships>
</file>

<file path=ppt/notesSlides/_rels/notesSlide302.xml.rels><?xml version="1.0" encoding="UTF-8" standalone="yes"?>
<Relationships xmlns="http://schemas.openxmlformats.org/package/2006/relationships"><Relationship Id="rId2" Type="http://schemas.openxmlformats.org/officeDocument/2006/relationships/slide" Target="../slides/slide302.xml"/><Relationship Id="rId1" Type="http://schemas.openxmlformats.org/officeDocument/2006/relationships/notesMaster" Target="../notesMasters/notesMaster1.xml"/></Relationships>
</file>

<file path=ppt/notesSlides/_rels/notesSlide303.xml.rels><?xml version="1.0" encoding="UTF-8" standalone="yes"?>
<Relationships xmlns="http://schemas.openxmlformats.org/package/2006/relationships"><Relationship Id="rId2" Type="http://schemas.openxmlformats.org/officeDocument/2006/relationships/slide" Target="../slides/slide303.xml"/><Relationship Id="rId1" Type="http://schemas.openxmlformats.org/officeDocument/2006/relationships/notesMaster" Target="../notesMasters/notesMaster1.xml"/></Relationships>
</file>

<file path=ppt/notesSlides/_rels/notesSlide304.xml.rels><?xml version="1.0" encoding="UTF-8" standalone="yes"?>
<Relationships xmlns="http://schemas.openxmlformats.org/package/2006/relationships"><Relationship Id="rId2" Type="http://schemas.openxmlformats.org/officeDocument/2006/relationships/slide" Target="../slides/slide304.xml"/><Relationship Id="rId1" Type="http://schemas.openxmlformats.org/officeDocument/2006/relationships/notesMaster" Target="../notesMasters/notesMaster1.xml"/></Relationships>
</file>

<file path=ppt/notesSlides/_rels/notesSlide305.xml.rels><?xml version="1.0" encoding="UTF-8" standalone="yes"?>
<Relationships xmlns="http://schemas.openxmlformats.org/package/2006/relationships"><Relationship Id="rId2" Type="http://schemas.openxmlformats.org/officeDocument/2006/relationships/slide" Target="../slides/slide305.xml"/><Relationship Id="rId1" Type="http://schemas.openxmlformats.org/officeDocument/2006/relationships/notesMaster" Target="../notesMasters/notesMaster1.xml"/></Relationships>
</file>

<file path=ppt/notesSlides/_rels/notesSlide306.xml.rels><?xml version="1.0" encoding="UTF-8" standalone="yes"?>
<Relationships xmlns="http://schemas.openxmlformats.org/package/2006/relationships"><Relationship Id="rId2" Type="http://schemas.openxmlformats.org/officeDocument/2006/relationships/slide" Target="../slides/slide306.xml"/><Relationship Id="rId1" Type="http://schemas.openxmlformats.org/officeDocument/2006/relationships/notesMaster" Target="../notesMasters/notesMaster1.xml"/></Relationships>
</file>

<file path=ppt/notesSlides/_rels/notesSlide307.xml.rels><?xml version="1.0" encoding="UTF-8" standalone="yes"?>
<Relationships xmlns="http://schemas.openxmlformats.org/package/2006/relationships"><Relationship Id="rId2" Type="http://schemas.openxmlformats.org/officeDocument/2006/relationships/slide" Target="../slides/slide307.xml"/><Relationship Id="rId1" Type="http://schemas.openxmlformats.org/officeDocument/2006/relationships/notesMaster" Target="../notesMasters/notesMaster1.xml"/></Relationships>
</file>

<file path=ppt/notesSlides/_rels/notesSlide308.xml.rels><?xml version="1.0" encoding="UTF-8" standalone="yes"?>
<Relationships xmlns="http://schemas.openxmlformats.org/package/2006/relationships"><Relationship Id="rId2" Type="http://schemas.openxmlformats.org/officeDocument/2006/relationships/slide" Target="../slides/slide308.xml"/><Relationship Id="rId1" Type="http://schemas.openxmlformats.org/officeDocument/2006/relationships/notesMaster" Target="../notesMasters/notesMaster1.xml"/></Relationships>
</file>

<file path=ppt/notesSlides/_rels/notesSlide309.xml.rels><?xml version="1.0" encoding="UTF-8" standalone="yes"?>
<Relationships xmlns="http://schemas.openxmlformats.org/package/2006/relationships"><Relationship Id="rId2" Type="http://schemas.openxmlformats.org/officeDocument/2006/relationships/slide" Target="../slides/slide30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0.xml.rels><?xml version="1.0" encoding="UTF-8" standalone="yes"?>
<Relationships xmlns="http://schemas.openxmlformats.org/package/2006/relationships"><Relationship Id="rId2" Type="http://schemas.openxmlformats.org/officeDocument/2006/relationships/slide" Target="../slides/slide310.xml"/><Relationship Id="rId1" Type="http://schemas.openxmlformats.org/officeDocument/2006/relationships/notesMaster" Target="../notesMasters/notesMaster1.xml"/></Relationships>
</file>

<file path=ppt/notesSlides/_rels/notesSlide311.xml.rels><?xml version="1.0" encoding="UTF-8" standalone="yes"?>
<Relationships xmlns="http://schemas.openxmlformats.org/package/2006/relationships"><Relationship Id="rId2" Type="http://schemas.openxmlformats.org/officeDocument/2006/relationships/slide" Target="../slides/slide311.xml"/><Relationship Id="rId1" Type="http://schemas.openxmlformats.org/officeDocument/2006/relationships/notesMaster" Target="../notesMasters/notesMaster1.xml"/></Relationships>
</file>

<file path=ppt/notesSlides/_rels/notesSlide312.xml.rels><?xml version="1.0" encoding="UTF-8" standalone="yes"?>
<Relationships xmlns="http://schemas.openxmlformats.org/package/2006/relationships"><Relationship Id="rId2" Type="http://schemas.openxmlformats.org/officeDocument/2006/relationships/slide" Target="../slides/slide312.xml"/><Relationship Id="rId1" Type="http://schemas.openxmlformats.org/officeDocument/2006/relationships/notesMaster" Target="../notesMasters/notesMaster1.xml"/></Relationships>
</file>

<file path=ppt/notesSlides/_rels/notesSlide313.xml.rels><?xml version="1.0" encoding="UTF-8" standalone="yes"?>
<Relationships xmlns="http://schemas.openxmlformats.org/package/2006/relationships"><Relationship Id="rId2" Type="http://schemas.openxmlformats.org/officeDocument/2006/relationships/slide" Target="../slides/slide718.xml"/><Relationship Id="rId1" Type="http://schemas.openxmlformats.org/officeDocument/2006/relationships/notesMaster" Target="../notesMasters/notesMaster1.xml"/></Relationships>
</file>

<file path=ppt/notesSlides/_rels/notesSlide314.xml.rels><?xml version="1.0" encoding="UTF-8" standalone="yes"?>
<Relationships xmlns="http://schemas.openxmlformats.org/package/2006/relationships"><Relationship Id="rId2" Type="http://schemas.openxmlformats.org/officeDocument/2006/relationships/slide" Target="../slides/slide719.xml"/><Relationship Id="rId1" Type="http://schemas.openxmlformats.org/officeDocument/2006/relationships/notesMaster" Target="../notesMasters/notesMaster1.xml"/></Relationships>
</file>

<file path=ppt/notesSlides/_rels/notesSlide315.xml.rels><?xml version="1.0" encoding="UTF-8" standalone="yes"?>
<Relationships xmlns="http://schemas.openxmlformats.org/package/2006/relationships"><Relationship Id="rId2" Type="http://schemas.openxmlformats.org/officeDocument/2006/relationships/slide" Target="../slides/slide720.xml"/><Relationship Id="rId1" Type="http://schemas.openxmlformats.org/officeDocument/2006/relationships/notesMaster" Target="../notesMasters/notesMaster1.xml"/></Relationships>
</file>

<file path=ppt/notesSlides/_rels/notesSlide316.xml.rels><?xml version="1.0" encoding="UTF-8" standalone="yes"?>
<Relationships xmlns="http://schemas.openxmlformats.org/package/2006/relationships"><Relationship Id="rId2" Type="http://schemas.openxmlformats.org/officeDocument/2006/relationships/slide" Target="../slides/slide721.xml"/><Relationship Id="rId1" Type="http://schemas.openxmlformats.org/officeDocument/2006/relationships/notesMaster" Target="../notesMasters/notesMaster1.xml"/></Relationships>
</file>

<file path=ppt/notesSlides/_rels/notesSlide317.xml.rels><?xml version="1.0" encoding="UTF-8" standalone="yes"?>
<Relationships xmlns="http://schemas.openxmlformats.org/package/2006/relationships"><Relationship Id="rId2" Type="http://schemas.openxmlformats.org/officeDocument/2006/relationships/slide" Target="../slides/slide722.xml"/><Relationship Id="rId1" Type="http://schemas.openxmlformats.org/officeDocument/2006/relationships/notesMaster" Target="../notesMasters/notesMaster1.xml"/></Relationships>
</file>

<file path=ppt/notesSlides/_rels/notesSlide318.xml.rels><?xml version="1.0" encoding="UTF-8" standalone="yes"?>
<Relationships xmlns="http://schemas.openxmlformats.org/package/2006/relationships"><Relationship Id="rId2" Type="http://schemas.openxmlformats.org/officeDocument/2006/relationships/slide" Target="../slides/slide723.xml"/><Relationship Id="rId1" Type="http://schemas.openxmlformats.org/officeDocument/2006/relationships/notesMaster" Target="../notesMasters/notesMaster1.xml"/></Relationships>
</file>

<file path=ppt/notesSlides/_rels/notesSlide319.xml.rels><?xml version="1.0" encoding="UTF-8" standalone="yes"?>
<Relationships xmlns="http://schemas.openxmlformats.org/package/2006/relationships"><Relationship Id="rId2" Type="http://schemas.openxmlformats.org/officeDocument/2006/relationships/slide" Target="../slides/slide72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0.xml.rels><?xml version="1.0" encoding="UTF-8" standalone="yes"?>
<Relationships xmlns="http://schemas.openxmlformats.org/package/2006/relationships"><Relationship Id="rId2" Type="http://schemas.openxmlformats.org/officeDocument/2006/relationships/slide" Target="../slides/slide725.xml"/><Relationship Id="rId1" Type="http://schemas.openxmlformats.org/officeDocument/2006/relationships/notesMaster" Target="../notesMasters/notesMaster1.xml"/></Relationships>
</file>

<file path=ppt/notesSlides/_rels/notesSlide321.xml.rels><?xml version="1.0" encoding="UTF-8" standalone="yes"?>
<Relationships xmlns="http://schemas.openxmlformats.org/package/2006/relationships"><Relationship Id="rId2" Type="http://schemas.openxmlformats.org/officeDocument/2006/relationships/slide" Target="../slides/slide726.xml"/><Relationship Id="rId1" Type="http://schemas.openxmlformats.org/officeDocument/2006/relationships/notesMaster" Target="../notesMasters/notesMaster1.xml"/></Relationships>
</file>

<file path=ppt/notesSlides/_rels/notesSlide322.xml.rels><?xml version="1.0" encoding="UTF-8" standalone="yes"?>
<Relationships xmlns="http://schemas.openxmlformats.org/package/2006/relationships"><Relationship Id="rId2" Type="http://schemas.openxmlformats.org/officeDocument/2006/relationships/slide" Target="../slides/slide727.xml"/><Relationship Id="rId1" Type="http://schemas.openxmlformats.org/officeDocument/2006/relationships/notesMaster" Target="../notesMasters/notesMaster1.xml"/></Relationships>
</file>

<file path=ppt/notesSlides/_rels/notesSlide323.xml.rels><?xml version="1.0" encoding="UTF-8" standalone="yes"?>
<Relationships xmlns="http://schemas.openxmlformats.org/package/2006/relationships"><Relationship Id="rId2" Type="http://schemas.openxmlformats.org/officeDocument/2006/relationships/slide" Target="../slides/slide728.xml"/><Relationship Id="rId1" Type="http://schemas.openxmlformats.org/officeDocument/2006/relationships/notesMaster" Target="../notesMasters/notesMaster1.xml"/></Relationships>
</file>

<file path=ppt/notesSlides/_rels/notesSlide324.xml.rels><?xml version="1.0" encoding="UTF-8" standalone="yes"?>
<Relationships xmlns="http://schemas.openxmlformats.org/package/2006/relationships"><Relationship Id="rId2" Type="http://schemas.openxmlformats.org/officeDocument/2006/relationships/slide" Target="../slides/slide729.xml"/><Relationship Id="rId1" Type="http://schemas.openxmlformats.org/officeDocument/2006/relationships/notesMaster" Target="../notesMasters/notesMaster1.xml"/></Relationships>
</file>

<file path=ppt/notesSlides/_rels/notesSlide325.xml.rels><?xml version="1.0" encoding="UTF-8" standalone="yes"?>
<Relationships xmlns="http://schemas.openxmlformats.org/package/2006/relationships"><Relationship Id="rId2" Type="http://schemas.openxmlformats.org/officeDocument/2006/relationships/slide" Target="../slides/slide730.xml"/><Relationship Id="rId1" Type="http://schemas.openxmlformats.org/officeDocument/2006/relationships/notesMaster" Target="../notesMasters/notesMaster1.xml"/></Relationships>
</file>

<file path=ppt/notesSlides/_rels/notesSlide326.xml.rels><?xml version="1.0" encoding="UTF-8" standalone="yes"?>
<Relationships xmlns="http://schemas.openxmlformats.org/package/2006/relationships"><Relationship Id="rId2" Type="http://schemas.openxmlformats.org/officeDocument/2006/relationships/slide" Target="../slides/slide731.xml"/><Relationship Id="rId1" Type="http://schemas.openxmlformats.org/officeDocument/2006/relationships/notesMaster" Target="../notesMasters/notesMaster1.xml"/></Relationships>
</file>

<file path=ppt/notesSlides/_rels/notesSlide327.xml.rels><?xml version="1.0" encoding="UTF-8" standalone="yes"?>
<Relationships xmlns="http://schemas.openxmlformats.org/package/2006/relationships"><Relationship Id="rId2" Type="http://schemas.openxmlformats.org/officeDocument/2006/relationships/slide" Target="../slides/slide732.xml"/><Relationship Id="rId1" Type="http://schemas.openxmlformats.org/officeDocument/2006/relationships/notesMaster" Target="../notesMasters/notesMaster1.xml"/></Relationships>
</file>

<file path=ppt/notesSlides/_rels/notesSlide328.xml.rels><?xml version="1.0" encoding="UTF-8" standalone="yes"?>
<Relationships xmlns="http://schemas.openxmlformats.org/package/2006/relationships"><Relationship Id="rId2" Type="http://schemas.openxmlformats.org/officeDocument/2006/relationships/slide" Target="../slides/slide733.xml"/><Relationship Id="rId1" Type="http://schemas.openxmlformats.org/officeDocument/2006/relationships/notesMaster" Target="../notesMasters/notesMaster1.xml"/></Relationships>
</file>

<file path=ppt/notesSlides/_rels/notesSlide329.xml.rels><?xml version="1.0" encoding="UTF-8" standalone="yes"?>
<Relationships xmlns="http://schemas.openxmlformats.org/package/2006/relationships"><Relationship Id="rId2" Type="http://schemas.openxmlformats.org/officeDocument/2006/relationships/slide" Target="../slides/slide7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0.xml.rels><?xml version="1.0" encoding="UTF-8" standalone="yes"?>
<Relationships xmlns="http://schemas.openxmlformats.org/package/2006/relationships"><Relationship Id="rId2" Type="http://schemas.openxmlformats.org/officeDocument/2006/relationships/slide" Target="../slides/slide735.xml"/><Relationship Id="rId1" Type="http://schemas.openxmlformats.org/officeDocument/2006/relationships/notesMaster" Target="../notesMasters/notesMaster1.xml"/></Relationships>
</file>

<file path=ppt/notesSlides/_rels/notesSlide331.xml.rels><?xml version="1.0" encoding="UTF-8" standalone="yes"?>
<Relationships xmlns="http://schemas.openxmlformats.org/package/2006/relationships"><Relationship Id="rId2" Type="http://schemas.openxmlformats.org/officeDocument/2006/relationships/slide" Target="../slides/slide736.xml"/><Relationship Id="rId1" Type="http://schemas.openxmlformats.org/officeDocument/2006/relationships/notesMaster" Target="../notesMasters/notesMaster1.xml"/></Relationships>
</file>

<file path=ppt/notesSlides/_rels/notesSlide332.xml.rels><?xml version="1.0" encoding="UTF-8" standalone="yes"?>
<Relationships xmlns="http://schemas.openxmlformats.org/package/2006/relationships"><Relationship Id="rId2" Type="http://schemas.openxmlformats.org/officeDocument/2006/relationships/slide" Target="../slides/slide737.xml"/><Relationship Id="rId1" Type="http://schemas.openxmlformats.org/officeDocument/2006/relationships/notesMaster" Target="../notesMasters/notesMaster1.xml"/></Relationships>
</file>

<file path=ppt/notesSlides/_rels/notesSlide333.xml.rels><?xml version="1.0" encoding="UTF-8" standalone="yes"?>
<Relationships xmlns="http://schemas.openxmlformats.org/package/2006/relationships"><Relationship Id="rId2" Type="http://schemas.openxmlformats.org/officeDocument/2006/relationships/slide" Target="../slides/slide738.xml"/><Relationship Id="rId1" Type="http://schemas.openxmlformats.org/officeDocument/2006/relationships/notesMaster" Target="../notesMasters/notesMaster1.xml"/></Relationships>
</file>

<file path=ppt/notesSlides/_rels/notesSlide334.xml.rels><?xml version="1.0" encoding="UTF-8" standalone="yes"?>
<Relationships xmlns="http://schemas.openxmlformats.org/package/2006/relationships"><Relationship Id="rId2" Type="http://schemas.openxmlformats.org/officeDocument/2006/relationships/slide" Target="../slides/slide739.xml"/><Relationship Id="rId1" Type="http://schemas.openxmlformats.org/officeDocument/2006/relationships/notesMaster" Target="../notesMasters/notesMaster1.xml"/></Relationships>
</file>

<file path=ppt/notesSlides/_rels/notesSlide335.xml.rels><?xml version="1.0" encoding="UTF-8" standalone="yes"?>
<Relationships xmlns="http://schemas.openxmlformats.org/package/2006/relationships"><Relationship Id="rId2" Type="http://schemas.openxmlformats.org/officeDocument/2006/relationships/slide" Target="../slides/slide740.xml"/><Relationship Id="rId1" Type="http://schemas.openxmlformats.org/officeDocument/2006/relationships/notesMaster" Target="../notesMasters/notesMaster1.xml"/></Relationships>
</file>

<file path=ppt/notesSlides/_rels/notesSlide336.xml.rels><?xml version="1.0" encoding="UTF-8" standalone="yes"?>
<Relationships xmlns="http://schemas.openxmlformats.org/package/2006/relationships"><Relationship Id="rId2" Type="http://schemas.openxmlformats.org/officeDocument/2006/relationships/slide" Target="../slides/slide741.xml"/><Relationship Id="rId1" Type="http://schemas.openxmlformats.org/officeDocument/2006/relationships/notesMaster" Target="../notesMasters/notesMaster1.xml"/></Relationships>
</file>

<file path=ppt/notesSlides/_rels/notesSlide337.xml.rels><?xml version="1.0" encoding="UTF-8" standalone="yes"?>
<Relationships xmlns="http://schemas.openxmlformats.org/package/2006/relationships"><Relationship Id="rId2" Type="http://schemas.openxmlformats.org/officeDocument/2006/relationships/slide" Target="../slides/slide742.xml"/><Relationship Id="rId1" Type="http://schemas.openxmlformats.org/officeDocument/2006/relationships/notesMaster" Target="../notesMasters/notesMaster1.xml"/></Relationships>
</file>

<file path=ppt/notesSlides/_rels/notesSlide338.xml.rels><?xml version="1.0" encoding="UTF-8" standalone="yes"?>
<Relationships xmlns="http://schemas.openxmlformats.org/package/2006/relationships"><Relationship Id="rId2" Type="http://schemas.openxmlformats.org/officeDocument/2006/relationships/slide" Target="../slides/slide743.xml"/><Relationship Id="rId1" Type="http://schemas.openxmlformats.org/officeDocument/2006/relationships/notesMaster" Target="../notesMasters/notesMaster1.xml"/></Relationships>
</file>

<file path=ppt/notesSlides/_rels/notesSlide339.xml.rels><?xml version="1.0" encoding="UTF-8" standalone="yes"?>
<Relationships xmlns="http://schemas.openxmlformats.org/package/2006/relationships"><Relationship Id="rId2" Type="http://schemas.openxmlformats.org/officeDocument/2006/relationships/slide" Target="../slides/slide7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0.xml.rels><?xml version="1.0" encoding="UTF-8" standalone="yes"?>
<Relationships xmlns="http://schemas.openxmlformats.org/package/2006/relationships"><Relationship Id="rId2" Type="http://schemas.openxmlformats.org/officeDocument/2006/relationships/slide" Target="../slides/slide745.xml"/><Relationship Id="rId1" Type="http://schemas.openxmlformats.org/officeDocument/2006/relationships/notesMaster" Target="../notesMasters/notesMaster1.xml"/></Relationships>
</file>

<file path=ppt/notesSlides/_rels/notesSlide341.xml.rels><?xml version="1.0" encoding="UTF-8" standalone="yes"?>
<Relationships xmlns="http://schemas.openxmlformats.org/package/2006/relationships"><Relationship Id="rId2" Type="http://schemas.openxmlformats.org/officeDocument/2006/relationships/slide" Target="../slides/slide746.xml"/><Relationship Id="rId1" Type="http://schemas.openxmlformats.org/officeDocument/2006/relationships/notesMaster" Target="../notesMasters/notesMaster1.xml"/></Relationships>
</file>

<file path=ppt/notesSlides/_rels/notesSlide342.xml.rels><?xml version="1.0" encoding="UTF-8" standalone="yes"?>
<Relationships xmlns="http://schemas.openxmlformats.org/package/2006/relationships"><Relationship Id="rId2" Type="http://schemas.openxmlformats.org/officeDocument/2006/relationships/slide" Target="../slides/slide747.xml"/><Relationship Id="rId1" Type="http://schemas.openxmlformats.org/officeDocument/2006/relationships/notesMaster" Target="../notesMasters/notesMaster1.xml"/></Relationships>
</file>

<file path=ppt/notesSlides/_rels/notesSlide343.xml.rels><?xml version="1.0" encoding="UTF-8" standalone="yes"?>
<Relationships xmlns="http://schemas.openxmlformats.org/package/2006/relationships"><Relationship Id="rId2" Type="http://schemas.openxmlformats.org/officeDocument/2006/relationships/slide" Target="../slides/slide748.xml"/><Relationship Id="rId1" Type="http://schemas.openxmlformats.org/officeDocument/2006/relationships/notesMaster" Target="../notesMasters/notesMaster1.xml"/></Relationships>
</file>

<file path=ppt/notesSlides/_rels/notesSlide344.xml.rels><?xml version="1.0" encoding="UTF-8" standalone="yes"?>
<Relationships xmlns="http://schemas.openxmlformats.org/package/2006/relationships"><Relationship Id="rId2" Type="http://schemas.openxmlformats.org/officeDocument/2006/relationships/slide" Target="../slides/slide749.xml"/><Relationship Id="rId1" Type="http://schemas.openxmlformats.org/officeDocument/2006/relationships/notesMaster" Target="../notesMasters/notesMaster1.xml"/></Relationships>
</file>

<file path=ppt/notesSlides/_rels/notesSlide345.xml.rels><?xml version="1.0" encoding="UTF-8" standalone="yes"?>
<Relationships xmlns="http://schemas.openxmlformats.org/package/2006/relationships"><Relationship Id="rId2" Type="http://schemas.openxmlformats.org/officeDocument/2006/relationships/slide" Target="../slides/slide750.xml"/><Relationship Id="rId1" Type="http://schemas.openxmlformats.org/officeDocument/2006/relationships/notesMaster" Target="../notesMasters/notesMaster1.xml"/></Relationships>
</file>

<file path=ppt/notesSlides/_rels/notesSlide346.xml.rels><?xml version="1.0" encoding="UTF-8" standalone="yes"?>
<Relationships xmlns="http://schemas.openxmlformats.org/package/2006/relationships"><Relationship Id="rId2" Type="http://schemas.openxmlformats.org/officeDocument/2006/relationships/slide" Target="../slides/slide751.xml"/><Relationship Id="rId1" Type="http://schemas.openxmlformats.org/officeDocument/2006/relationships/notesMaster" Target="../notesMasters/notesMaster1.xml"/></Relationships>
</file>

<file path=ppt/notesSlides/_rels/notesSlide347.xml.rels><?xml version="1.0" encoding="UTF-8" standalone="yes"?>
<Relationships xmlns="http://schemas.openxmlformats.org/package/2006/relationships"><Relationship Id="rId2" Type="http://schemas.openxmlformats.org/officeDocument/2006/relationships/slide" Target="../slides/slide752.xml"/><Relationship Id="rId1" Type="http://schemas.openxmlformats.org/officeDocument/2006/relationships/notesMaster" Target="../notesMasters/notesMaster1.xml"/></Relationships>
</file>

<file path=ppt/notesSlides/_rels/notesSlide348.xml.rels><?xml version="1.0" encoding="UTF-8" standalone="yes"?>
<Relationships xmlns="http://schemas.openxmlformats.org/package/2006/relationships"><Relationship Id="rId2" Type="http://schemas.openxmlformats.org/officeDocument/2006/relationships/slide" Target="../slides/slide753.xml"/><Relationship Id="rId1" Type="http://schemas.openxmlformats.org/officeDocument/2006/relationships/notesMaster" Target="../notesMasters/notesMaster1.xml"/></Relationships>
</file>

<file path=ppt/notesSlides/_rels/notesSlide349.xml.rels><?xml version="1.0" encoding="UTF-8" standalone="yes"?>
<Relationships xmlns="http://schemas.openxmlformats.org/package/2006/relationships"><Relationship Id="rId2" Type="http://schemas.openxmlformats.org/officeDocument/2006/relationships/slide" Target="../slides/slide75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0.xml.rels><?xml version="1.0" encoding="UTF-8" standalone="yes"?>
<Relationships xmlns="http://schemas.openxmlformats.org/package/2006/relationships"><Relationship Id="rId2" Type="http://schemas.openxmlformats.org/officeDocument/2006/relationships/slide" Target="../slides/slide755.xml"/><Relationship Id="rId1" Type="http://schemas.openxmlformats.org/officeDocument/2006/relationships/notesMaster" Target="../notesMasters/notesMaster1.xml"/></Relationships>
</file>

<file path=ppt/notesSlides/_rels/notesSlide351.xml.rels><?xml version="1.0" encoding="UTF-8" standalone="yes"?>
<Relationships xmlns="http://schemas.openxmlformats.org/package/2006/relationships"><Relationship Id="rId2" Type="http://schemas.openxmlformats.org/officeDocument/2006/relationships/slide" Target="../slides/slide756.xml"/><Relationship Id="rId1" Type="http://schemas.openxmlformats.org/officeDocument/2006/relationships/notesMaster" Target="../notesMasters/notesMaster1.xml"/></Relationships>
</file>

<file path=ppt/notesSlides/_rels/notesSlide352.xml.rels><?xml version="1.0" encoding="UTF-8" standalone="yes"?>
<Relationships xmlns="http://schemas.openxmlformats.org/package/2006/relationships"><Relationship Id="rId2" Type="http://schemas.openxmlformats.org/officeDocument/2006/relationships/slide" Target="../slides/slide757.xml"/><Relationship Id="rId1" Type="http://schemas.openxmlformats.org/officeDocument/2006/relationships/notesMaster" Target="../notesMasters/notesMaster1.xml"/></Relationships>
</file>

<file path=ppt/notesSlides/_rels/notesSlide353.xml.rels><?xml version="1.0" encoding="UTF-8" standalone="yes"?>
<Relationships xmlns="http://schemas.openxmlformats.org/package/2006/relationships"><Relationship Id="rId2" Type="http://schemas.openxmlformats.org/officeDocument/2006/relationships/slide" Target="../slides/slide758.xml"/><Relationship Id="rId1" Type="http://schemas.openxmlformats.org/officeDocument/2006/relationships/notesMaster" Target="../notesMasters/notesMaster1.xml"/></Relationships>
</file>

<file path=ppt/notesSlides/_rels/notesSlide354.xml.rels><?xml version="1.0" encoding="UTF-8" standalone="yes"?>
<Relationships xmlns="http://schemas.openxmlformats.org/package/2006/relationships"><Relationship Id="rId2" Type="http://schemas.openxmlformats.org/officeDocument/2006/relationships/slide" Target="../slides/slide759.xml"/><Relationship Id="rId1" Type="http://schemas.openxmlformats.org/officeDocument/2006/relationships/notesMaster" Target="../notesMasters/notesMaster1.xml"/></Relationships>
</file>

<file path=ppt/notesSlides/_rels/notesSlide355.xml.rels><?xml version="1.0" encoding="UTF-8" standalone="yes"?>
<Relationships xmlns="http://schemas.openxmlformats.org/package/2006/relationships"><Relationship Id="rId2" Type="http://schemas.openxmlformats.org/officeDocument/2006/relationships/slide" Target="../slides/slide760.xml"/><Relationship Id="rId1" Type="http://schemas.openxmlformats.org/officeDocument/2006/relationships/notesMaster" Target="../notesMasters/notesMaster1.xml"/></Relationships>
</file>

<file path=ppt/notesSlides/_rels/notesSlide356.xml.rels><?xml version="1.0" encoding="UTF-8" standalone="yes"?>
<Relationships xmlns="http://schemas.openxmlformats.org/package/2006/relationships"><Relationship Id="rId2" Type="http://schemas.openxmlformats.org/officeDocument/2006/relationships/slide" Target="../slides/slide761.xml"/><Relationship Id="rId1" Type="http://schemas.openxmlformats.org/officeDocument/2006/relationships/notesMaster" Target="../notesMasters/notesMaster1.xml"/></Relationships>
</file>

<file path=ppt/notesSlides/_rels/notesSlide357.xml.rels><?xml version="1.0" encoding="UTF-8" standalone="yes"?>
<Relationships xmlns="http://schemas.openxmlformats.org/package/2006/relationships"><Relationship Id="rId2" Type="http://schemas.openxmlformats.org/officeDocument/2006/relationships/slide" Target="../slides/slide762.xml"/><Relationship Id="rId1" Type="http://schemas.openxmlformats.org/officeDocument/2006/relationships/notesMaster" Target="../notesMasters/notesMaster1.xml"/></Relationships>
</file>

<file path=ppt/notesSlides/_rels/notesSlide358.xml.rels><?xml version="1.0" encoding="UTF-8" standalone="yes"?>
<Relationships xmlns="http://schemas.openxmlformats.org/package/2006/relationships"><Relationship Id="rId2" Type="http://schemas.openxmlformats.org/officeDocument/2006/relationships/slide" Target="../slides/slide763.xml"/><Relationship Id="rId1" Type="http://schemas.openxmlformats.org/officeDocument/2006/relationships/notesMaster" Target="../notesMasters/notesMaster1.xml"/></Relationships>
</file>

<file path=ppt/notesSlides/_rels/notesSlide359.xml.rels><?xml version="1.0" encoding="UTF-8" standalone="yes"?>
<Relationships xmlns="http://schemas.openxmlformats.org/package/2006/relationships"><Relationship Id="rId2" Type="http://schemas.openxmlformats.org/officeDocument/2006/relationships/slide" Target="../slides/slide76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0.xml.rels><?xml version="1.0" encoding="UTF-8" standalone="yes"?>
<Relationships xmlns="http://schemas.openxmlformats.org/package/2006/relationships"><Relationship Id="rId2" Type="http://schemas.openxmlformats.org/officeDocument/2006/relationships/slide" Target="../slides/slide765.xml"/><Relationship Id="rId1" Type="http://schemas.openxmlformats.org/officeDocument/2006/relationships/notesMaster" Target="../notesMasters/notesMaster1.xml"/></Relationships>
</file>

<file path=ppt/notesSlides/_rels/notesSlide361.xml.rels><?xml version="1.0" encoding="UTF-8" standalone="yes"?>
<Relationships xmlns="http://schemas.openxmlformats.org/package/2006/relationships"><Relationship Id="rId2" Type="http://schemas.openxmlformats.org/officeDocument/2006/relationships/slide" Target="../slides/slide766.xml"/><Relationship Id="rId1" Type="http://schemas.openxmlformats.org/officeDocument/2006/relationships/notesMaster" Target="../notesMasters/notesMaster1.xml"/></Relationships>
</file>

<file path=ppt/notesSlides/_rels/notesSlide362.xml.rels><?xml version="1.0" encoding="UTF-8" standalone="yes"?>
<Relationships xmlns="http://schemas.openxmlformats.org/package/2006/relationships"><Relationship Id="rId2" Type="http://schemas.openxmlformats.org/officeDocument/2006/relationships/slide" Target="../slides/slide767.xml"/><Relationship Id="rId1" Type="http://schemas.openxmlformats.org/officeDocument/2006/relationships/notesMaster" Target="../notesMasters/notesMaster1.xml"/></Relationships>
</file>

<file path=ppt/notesSlides/_rels/notesSlide363.xml.rels><?xml version="1.0" encoding="UTF-8" standalone="yes"?>
<Relationships xmlns="http://schemas.openxmlformats.org/package/2006/relationships"><Relationship Id="rId2" Type="http://schemas.openxmlformats.org/officeDocument/2006/relationships/slide" Target="../slides/slide768.xml"/><Relationship Id="rId1" Type="http://schemas.openxmlformats.org/officeDocument/2006/relationships/notesMaster" Target="../notesMasters/notesMaster1.xml"/></Relationships>
</file>

<file path=ppt/notesSlides/_rels/notesSlide364.xml.rels><?xml version="1.0" encoding="UTF-8" standalone="yes"?>
<Relationships xmlns="http://schemas.openxmlformats.org/package/2006/relationships"><Relationship Id="rId2" Type="http://schemas.openxmlformats.org/officeDocument/2006/relationships/slide" Target="../slides/slide769.xml"/><Relationship Id="rId1" Type="http://schemas.openxmlformats.org/officeDocument/2006/relationships/notesMaster" Target="../notesMasters/notesMaster1.xml"/></Relationships>
</file>

<file path=ppt/notesSlides/_rels/notesSlide365.xml.rels><?xml version="1.0" encoding="UTF-8" standalone="yes"?>
<Relationships xmlns="http://schemas.openxmlformats.org/package/2006/relationships"><Relationship Id="rId2" Type="http://schemas.openxmlformats.org/officeDocument/2006/relationships/slide" Target="../slides/slide770.xml"/><Relationship Id="rId1" Type="http://schemas.openxmlformats.org/officeDocument/2006/relationships/notesMaster" Target="../notesMasters/notesMaster1.xml"/></Relationships>
</file>

<file path=ppt/notesSlides/_rels/notesSlide366.xml.rels><?xml version="1.0" encoding="UTF-8" standalone="yes"?>
<Relationships xmlns="http://schemas.openxmlformats.org/package/2006/relationships"><Relationship Id="rId2" Type="http://schemas.openxmlformats.org/officeDocument/2006/relationships/slide" Target="../slides/slide771.xml"/><Relationship Id="rId1" Type="http://schemas.openxmlformats.org/officeDocument/2006/relationships/notesMaster" Target="../notesMasters/notesMaster1.xml"/></Relationships>
</file>

<file path=ppt/notesSlides/_rels/notesSlide367.xml.rels><?xml version="1.0" encoding="UTF-8" standalone="yes"?>
<Relationships xmlns="http://schemas.openxmlformats.org/package/2006/relationships"><Relationship Id="rId2" Type="http://schemas.openxmlformats.org/officeDocument/2006/relationships/slide" Target="../slides/slide772.xml"/><Relationship Id="rId1" Type="http://schemas.openxmlformats.org/officeDocument/2006/relationships/notesMaster" Target="../notesMasters/notesMaster1.xml"/></Relationships>
</file>

<file path=ppt/notesSlides/_rels/notesSlide368.xml.rels><?xml version="1.0" encoding="UTF-8" standalone="yes"?>
<Relationships xmlns="http://schemas.openxmlformats.org/package/2006/relationships"><Relationship Id="rId2" Type="http://schemas.openxmlformats.org/officeDocument/2006/relationships/slide" Target="../slides/slide773.xml"/><Relationship Id="rId1" Type="http://schemas.openxmlformats.org/officeDocument/2006/relationships/notesMaster" Target="../notesMasters/notesMaster1.xml"/></Relationships>
</file>

<file path=ppt/notesSlides/_rels/notesSlide369.xml.rels><?xml version="1.0" encoding="UTF-8" standalone="yes"?>
<Relationships xmlns="http://schemas.openxmlformats.org/package/2006/relationships"><Relationship Id="rId2" Type="http://schemas.openxmlformats.org/officeDocument/2006/relationships/slide" Target="../slides/slide77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0.xml.rels><?xml version="1.0" encoding="UTF-8" standalone="yes"?>
<Relationships xmlns="http://schemas.openxmlformats.org/package/2006/relationships"><Relationship Id="rId2" Type="http://schemas.openxmlformats.org/officeDocument/2006/relationships/slide" Target="../slides/slide775.xml"/><Relationship Id="rId1" Type="http://schemas.openxmlformats.org/officeDocument/2006/relationships/notesMaster" Target="../notesMasters/notesMaster1.xml"/></Relationships>
</file>

<file path=ppt/notesSlides/_rels/notesSlide371.xml.rels><?xml version="1.0" encoding="UTF-8" standalone="yes"?>
<Relationships xmlns="http://schemas.openxmlformats.org/package/2006/relationships"><Relationship Id="rId2" Type="http://schemas.openxmlformats.org/officeDocument/2006/relationships/slide" Target="../slides/slide776.xml"/><Relationship Id="rId1" Type="http://schemas.openxmlformats.org/officeDocument/2006/relationships/notesMaster" Target="../notesMasters/notesMaster1.xml"/></Relationships>
</file>

<file path=ppt/notesSlides/_rels/notesSlide372.xml.rels><?xml version="1.0" encoding="UTF-8" standalone="yes"?>
<Relationships xmlns="http://schemas.openxmlformats.org/package/2006/relationships"><Relationship Id="rId2" Type="http://schemas.openxmlformats.org/officeDocument/2006/relationships/slide" Target="../slides/slide777.xml"/><Relationship Id="rId1" Type="http://schemas.openxmlformats.org/officeDocument/2006/relationships/notesMaster" Target="../notesMasters/notesMaster1.xml"/></Relationships>
</file>

<file path=ppt/notesSlides/_rels/notesSlide373.xml.rels><?xml version="1.0" encoding="UTF-8" standalone="yes"?>
<Relationships xmlns="http://schemas.openxmlformats.org/package/2006/relationships"><Relationship Id="rId2" Type="http://schemas.openxmlformats.org/officeDocument/2006/relationships/slide" Target="../slides/slide778.xml"/><Relationship Id="rId1" Type="http://schemas.openxmlformats.org/officeDocument/2006/relationships/notesMaster" Target="../notesMasters/notesMaster1.xml"/></Relationships>
</file>

<file path=ppt/notesSlides/_rels/notesSlide374.xml.rels><?xml version="1.0" encoding="UTF-8" standalone="yes"?>
<Relationships xmlns="http://schemas.openxmlformats.org/package/2006/relationships"><Relationship Id="rId2" Type="http://schemas.openxmlformats.org/officeDocument/2006/relationships/slide" Target="../slides/slide779.xml"/><Relationship Id="rId1" Type="http://schemas.openxmlformats.org/officeDocument/2006/relationships/notesMaster" Target="../notesMasters/notesMaster1.xml"/></Relationships>
</file>

<file path=ppt/notesSlides/_rels/notesSlide375.xml.rels><?xml version="1.0" encoding="UTF-8" standalone="yes"?>
<Relationships xmlns="http://schemas.openxmlformats.org/package/2006/relationships"><Relationship Id="rId2" Type="http://schemas.openxmlformats.org/officeDocument/2006/relationships/slide" Target="../slides/slide780.xml"/><Relationship Id="rId1" Type="http://schemas.openxmlformats.org/officeDocument/2006/relationships/notesMaster" Target="../notesMasters/notesMaster1.xml"/></Relationships>
</file>

<file path=ppt/notesSlides/_rels/notesSlide376.xml.rels><?xml version="1.0" encoding="UTF-8" standalone="yes"?>
<Relationships xmlns="http://schemas.openxmlformats.org/package/2006/relationships"><Relationship Id="rId2" Type="http://schemas.openxmlformats.org/officeDocument/2006/relationships/slide" Target="../slides/slide781.xml"/><Relationship Id="rId1" Type="http://schemas.openxmlformats.org/officeDocument/2006/relationships/notesMaster" Target="../notesMasters/notesMaster1.xml"/></Relationships>
</file>

<file path=ppt/notesSlides/_rels/notesSlide377.xml.rels><?xml version="1.0" encoding="UTF-8" standalone="yes"?>
<Relationships xmlns="http://schemas.openxmlformats.org/package/2006/relationships"><Relationship Id="rId2" Type="http://schemas.openxmlformats.org/officeDocument/2006/relationships/slide" Target="../slides/slide782.xml"/><Relationship Id="rId1" Type="http://schemas.openxmlformats.org/officeDocument/2006/relationships/notesMaster" Target="../notesMasters/notesMaster1.xml"/></Relationships>
</file>

<file path=ppt/notesSlides/_rels/notesSlide378.xml.rels><?xml version="1.0" encoding="UTF-8" standalone="yes"?>
<Relationships xmlns="http://schemas.openxmlformats.org/package/2006/relationships"><Relationship Id="rId2" Type="http://schemas.openxmlformats.org/officeDocument/2006/relationships/slide" Target="../slides/slide783.xml"/><Relationship Id="rId1" Type="http://schemas.openxmlformats.org/officeDocument/2006/relationships/notesMaster" Target="../notesMasters/notesMaster1.xml"/></Relationships>
</file>

<file path=ppt/notesSlides/_rels/notesSlide379.xml.rels><?xml version="1.0" encoding="UTF-8" standalone="yes"?>
<Relationships xmlns="http://schemas.openxmlformats.org/package/2006/relationships"><Relationship Id="rId2" Type="http://schemas.openxmlformats.org/officeDocument/2006/relationships/slide" Target="../slides/slide78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0.xml.rels><?xml version="1.0" encoding="UTF-8" standalone="yes"?>
<Relationships xmlns="http://schemas.openxmlformats.org/package/2006/relationships"><Relationship Id="rId2" Type="http://schemas.openxmlformats.org/officeDocument/2006/relationships/slide" Target="../slides/slide785.xml"/><Relationship Id="rId1" Type="http://schemas.openxmlformats.org/officeDocument/2006/relationships/notesMaster" Target="../notesMasters/notesMaster1.xml"/></Relationships>
</file>

<file path=ppt/notesSlides/_rels/notesSlide381.xml.rels><?xml version="1.0" encoding="UTF-8" standalone="yes"?>
<Relationships xmlns="http://schemas.openxmlformats.org/package/2006/relationships"><Relationship Id="rId2" Type="http://schemas.openxmlformats.org/officeDocument/2006/relationships/slide" Target="../slides/slide786.xml"/><Relationship Id="rId1" Type="http://schemas.openxmlformats.org/officeDocument/2006/relationships/notesMaster" Target="../notesMasters/notesMaster1.xml"/></Relationships>
</file>

<file path=ppt/notesSlides/_rels/notesSlide382.xml.rels><?xml version="1.0" encoding="UTF-8" standalone="yes"?>
<Relationships xmlns="http://schemas.openxmlformats.org/package/2006/relationships"><Relationship Id="rId2" Type="http://schemas.openxmlformats.org/officeDocument/2006/relationships/slide" Target="../slides/slide787.xml"/><Relationship Id="rId1" Type="http://schemas.openxmlformats.org/officeDocument/2006/relationships/notesMaster" Target="../notesMasters/notesMaster1.xml"/></Relationships>
</file>

<file path=ppt/notesSlides/_rels/notesSlide383.xml.rels><?xml version="1.0" encoding="UTF-8" standalone="yes"?>
<Relationships xmlns="http://schemas.openxmlformats.org/package/2006/relationships"><Relationship Id="rId2" Type="http://schemas.openxmlformats.org/officeDocument/2006/relationships/slide" Target="../slides/slide788.xml"/><Relationship Id="rId1" Type="http://schemas.openxmlformats.org/officeDocument/2006/relationships/notesMaster" Target="../notesMasters/notesMaster1.xml"/></Relationships>
</file>

<file path=ppt/notesSlides/_rels/notesSlide384.xml.rels><?xml version="1.0" encoding="UTF-8" standalone="yes"?>
<Relationships xmlns="http://schemas.openxmlformats.org/package/2006/relationships"><Relationship Id="rId2" Type="http://schemas.openxmlformats.org/officeDocument/2006/relationships/slide" Target="../slides/slide789.xml"/><Relationship Id="rId1" Type="http://schemas.openxmlformats.org/officeDocument/2006/relationships/notesMaster" Target="../notesMasters/notesMaster1.xml"/></Relationships>
</file>

<file path=ppt/notesSlides/_rels/notesSlide385.xml.rels><?xml version="1.0" encoding="UTF-8" standalone="yes"?>
<Relationships xmlns="http://schemas.openxmlformats.org/package/2006/relationships"><Relationship Id="rId2" Type="http://schemas.openxmlformats.org/officeDocument/2006/relationships/slide" Target="../slides/slide790.xml"/><Relationship Id="rId1" Type="http://schemas.openxmlformats.org/officeDocument/2006/relationships/notesMaster" Target="../notesMasters/notesMaster1.xml"/></Relationships>
</file>

<file path=ppt/notesSlides/_rels/notesSlide386.xml.rels><?xml version="1.0" encoding="UTF-8" standalone="yes"?>
<Relationships xmlns="http://schemas.openxmlformats.org/package/2006/relationships"><Relationship Id="rId2" Type="http://schemas.openxmlformats.org/officeDocument/2006/relationships/slide" Target="../slides/slide791.xml"/><Relationship Id="rId1" Type="http://schemas.openxmlformats.org/officeDocument/2006/relationships/notesMaster" Target="../notesMasters/notesMaster1.xml"/></Relationships>
</file>

<file path=ppt/notesSlides/_rels/notesSlide387.xml.rels><?xml version="1.0" encoding="UTF-8" standalone="yes"?>
<Relationships xmlns="http://schemas.openxmlformats.org/package/2006/relationships"><Relationship Id="rId2" Type="http://schemas.openxmlformats.org/officeDocument/2006/relationships/slide" Target="../slides/slide792.xml"/><Relationship Id="rId1" Type="http://schemas.openxmlformats.org/officeDocument/2006/relationships/notesMaster" Target="../notesMasters/notesMaster1.xml"/></Relationships>
</file>

<file path=ppt/notesSlides/_rels/notesSlide388.xml.rels><?xml version="1.0" encoding="UTF-8" standalone="yes"?>
<Relationships xmlns="http://schemas.openxmlformats.org/package/2006/relationships"><Relationship Id="rId2" Type="http://schemas.openxmlformats.org/officeDocument/2006/relationships/slide" Target="../slides/slide793.xml"/><Relationship Id="rId1" Type="http://schemas.openxmlformats.org/officeDocument/2006/relationships/notesMaster" Target="../notesMasters/notesMaster1.xml"/></Relationships>
</file>

<file path=ppt/notesSlides/_rels/notesSlide389.xml.rels><?xml version="1.0" encoding="UTF-8" standalone="yes"?>
<Relationships xmlns="http://schemas.openxmlformats.org/package/2006/relationships"><Relationship Id="rId2" Type="http://schemas.openxmlformats.org/officeDocument/2006/relationships/slide" Target="../slides/slide79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0.xml.rels><?xml version="1.0" encoding="UTF-8" standalone="yes"?>
<Relationships xmlns="http://schemas.openxmlformats.org/package/2006/relationships"><Relationship Id="rId2" Type="http://schemas.openxmlformats.org/officeDocument/2006/relationships/slide" Target="../slides/slide795.xml"/><Relationship Id="rId1" Type="http://schemas.openxmlformats.org/officeDocument/2006/relationships/notesMaster" Target="../notesMasters/notesMaster1.xml"/></Relationships>
</file>

<file path=ppt/notesSlides/_rels/notesSlide391.xml.rels><?xml version="1.0" encoding="UTF-8" standalone="yes"?>
<Relationships xmlns="http://schemas.openxmlformats.org/package/2006/relationships"><Relationship Id="rId2" Type="http://schemas.openxmlformats.org/officeDocument/2006/relationships/slide" Target="../slides/slide796.xml"/><Relationship Id="rId1" Type="http://schemas.openxmlformats.org/officeDocument/2006/relationships/notesMaster" Target="../notesMasters/notesMaster1.xml"/></Relationships>
</file>

<file path=ppt/notesSlides/_rels/notesSlide392.xml.rels><?xml version="1.0" encoding="UTF-8" standalone="yes"?>
<Relationships xmlns="http://schemas.openxmlformats.org/package/2006/relationships"><Relationship Id="rId2" Type="http://schemas.openxmlformats.org/officeDocument/2006/relationships/slide" Target="../slides/slide797.xml"/><Relationship Id="rId1" Type="http://schemas.openxmlformats.org/officeDocument/2006/relationships/notesMaster" Target="../notesMasters/notesMaster1.xml"/></Relationships>
</file>

<file path=ppt/notesSlides/_rels/notesSlide393.xml.rels><?xml version="1.0" encoding="UTF-8" standalone="yes"?>
<Relationships xmlns="http://schemas.openxmlformats.org/package/2006/relationships"><Relationship Id="rId2" Type="http://schemas.openxmlformats.org/officeDocument/2006/relationships/slide" Target="../slides/slide798.xml"/><Relationship Id="rId1" Type="http://schemas.openxmlformats.org/officeDocument/2006/relationships/notesMaster" Target="../notesMasters/notesMaster1.xml"/></Relationships>
</file>

<file path=ppt/notesSlides/_rels/notesSlide394.xml.rels><?xml version="1.0" encoding="UTF-8" standalone="yes"?>
<Relationships xmlns="http://schemas.openxmlformats.org/package/2006/relationships"><Relationship Id="rId2" Type="http://schemas.openxmlformats.org/officeDocument/2006/relationships/slide" Target="../slides/slide799.xml"/><Relationship Id="rId1" Type="http://schemas.openxmlformats.org/officeDocument/2006/relationships/notesMaster" Target="../notesMasters/notesMaster1.xml"/></Relationships>
</file>

<file path=ppt/notesSlides/_rels/notesSlide395.xml.rels><?xml version="1.0" encoding="UTF-8" standalone="yes"?>
<Relationships xmlns="http://schemas.openxmlformats.org/package/2006/relationships"><Relationship Id="rId2" Type="http://schemas.openxmlformats.org/officeDocument/2006/relationships/slide" Target="../slides/slide800.xml"/><Relationship Id="rId1" Type="http://schemas.openxmlformats.org/officeDocument/2006/relationships/notesMaster" Target="../notesMasters/notesMaster1.xml"/></Relationships>
</file>

<file path=ppt/notesSlides/_rels/notesSlide396.xml.rels><?xml version="1.0" encoding="UTF-8" standalone="yes"?>
<Relationships xmlns="http://schemas.openxmlformats.org/package/2006/relationships"><Relationship Id="rId2" Type="http://schemas.openxmlformats.org/officeDocument/2006/relationships/slide" Target="../slides/slide801.xml"/><Relationship Id="rId1" Type="http://schemas.openxmlformats.org/officeDocument/2006/relationships/notesMaster" Target="../notesMasters/notesMaster1.xml"/></Relationships>
</file>

<file path=ppt/notesSlides/_rels/notesSlide397.xml.rels><?xml version="1.0" encoding="UTF-8" standalone="yes"?>
<Relationships xmlns="http://schemas.openxmlformats.org/package/2006/relationships"><Relationship Id="rId2" Type="http://schemas.openxmlformats.org/officeDocument/2006/relationships/slide" Target="../slides/slide802.xml"/><Relationship Id="rId1" Type="http://schemas.openxmlformats.org/officeDocument/2006/relationships/notesMaster" Target="../notesMasters/notesMaster1.xml"/></Relationships>
</file>

<file path=ppt/notesSlides/_rels/notesSlide398.xml.rels><?xml version="1.0" encoding="UTF-8" standalone="yes"?>
<Relationships xmlns="http://schemas.openxmlformats.org/package/2006/relationships"><Relationship Id="rId2" Type="http://schemas.openxmlformats.org/officeDocument/2006/relationships/slide" Target="../slides/slide803.xml"/><Relationship Id="rId1" Type="http://schemas.openxmlformats.org/officeDocument/2006/relationships/notesMaster" Target="../notesMasters/notesMaster1.xml"/></Relationships>
</file>

<file path=ppt/notesSlides/_rels/notesSlide399.xml.rels><?xml version="1.0" encoding="UTF-8" standalone="yes"?>
<Relationships xmlns="http://schemas.openxmlformats.org/package/2006/relationships"><Relationship Id="rId2" Type="http://schemas.openxmlformats.org/officeDocument/2006/relationships/slide" Target="../slides/slide80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00.xml.rels><?xml version="1.0" encoding="UTF-8" standalone="yes"?>
<Relationships xmlns="http://schemas.openxmlformats.org/package/2006/relationships"><Relationship Id="rId2" Type="http://schemas.openxmlformats.org/officeDocument/2006/relationships/slide" Target="../slides/slide805.xml"/><Relationship Id="rId1" Type="http://schemas.openxmlformats.org/officeDocument/2006/relationships/notesMaster" Target="../notesMasters/notesMaster1.xml"/></Relationships>
</file>

<file path=ppt/notesSlides/_rels/notesSlide401.xml.rels><?xml version="1.0" encoding="UTF-8" standalone="yes"?>
<Relationships xmlns="http://schemas.openxmlformats.org/package/2006/relationships"><Relationship Id="rId2" Type="http://schemas.openxmlformats.org/officeDocument/2006/relationships/slide" Target="../slides/slide806.xml"/><Relationship Id="rId1" Type="http://schemas.openxmlformats.org/officeDocument/2006/relationships/notesMaster" Target="../notesMasters/notesMaster1.xml"/></Relationships>
</file>

<file path=ppt/notesSlides/_rels/notesSlide402.xml.rels><?xml version="1.0" encoding="UTF-8" standalone="yes"?>
<Relationships xmlns="http://schemas.openxmlformats.org/package/2006/relationships"><Relationship Id="rId2" Type="http://schemas.openxmlformats.org/officeDocument/2006/relationships/slide" Target="../slides/slide807.xml"/><Relationship Id="rId1" Type="http://schemas.openxmlformats.org/officeDocument/2006/relationships/notesMaster" Target="../notesMasters/notesMaster1.xml"/></Relationships>
</file>

<file path=ppt/notesSlides/_rels/notesSlide403.xml.rels><?xml version="1.0" encoding="UTF-8" standalone="yes"?>
<Relationships xmlns="http://schemas.openxmlformats.org/package/2006/relationships"><Relationship Id="rId2" Type="http://schemas.openxmlformats.org/officeDocument/2006/relationships/slide" Target="../slides/slide808.xml"/><Relationship Id="rId1" Type="http://schemas.openxmlformats.org/officeDocument/2006/relationships/notesMaster" Target="../notesMasters/notesMaster1.xml"/></Relationships>
</file>

<file path=ppt/notesSlides/_rels/notesSlide404.xml.rels><?xml version="1.0" encoding="UTF-8" standalone="yes"?>
<Relationships xmlns="http://schemas.openxmlformats.org/package/2006/relationships"><Relationship Id="rId2" Type="http://schemas.openxmlformats.org/officeDocument/2006/relationships/slide" Target="../slides/slide809.xml"/><Relationship Id="rId1" Type="http://schemas.openxmlformats.org/officeDocument/2006/relationships/notesMaster" Target="../notesMasters/notesMaster1.xml"/></Relationships>
</file>

<file path=ppt/notesSlides/_rels/notesSlide405.xml.rels><?xml version="1.0" encoding="UTF-8" standalone="yes"?>
<Relationships xmlns="http://schemas.openxmlformats.org/package/2006/relationships"><Relationship Id="rId2" Type="http://schemas.openxmlformats.org/officeDocument/2006/relationships/slide" Target="../slides/slide810.xml"/><Relationship Id="rId1" Type="http://schemas.openxmlformats.org/officeDocument/2006/relationships/notesMaster" Target="../notesMasters/notesMaster1.xml"/></Relationships>
</file>

<file path=ppt/notesSlides/_rels/notesSlide406.xml.rels><?xml version="1.0" encoding="UTF-8" standalone="yes"?>
<Relationships xmlns="http://schemas.openxmlformats.org/package/2006/relationships"><Relationship Id="rId2" Type="http://schemas.openxmlformats.org/officeDocument/2006/relationships/slide" Target="../slides/slide811.xml"/><Relationship Id="rId1" Type="http://schemas.openxmlformats.org/officeDocument/2006/relationships/notesMaster" Target="../notesMasters/notesMaster1.xml"/></Relationships>
</file>

<file path=ppt/notesSlides/_rels/notesSlide407.xml.rels><?xml version="1.0" encoding="UTF-8" standalone="yes"?>
<Relationships xmlns="http://schemas.openxmlformats.org/package/2006/relationships"><Relationship Id="rId2" Type="http://schemas.openxmlformats.org/officeDocument/2006/relationships/slide" Target="../slides/slide812.xml"/><Relationship Id="rId1" Type="http://schemas.openxmlformats.org/officeDocument/2006/relationships/notesMaster" Target="../notesMasters/notesMaster1.xml"/></Relationships>
</file>

<file path=ppt/notesSlides/_rels/notesSlide408.xml.rels><?xml version="1.0" encoding="UTF-8" standalone="yes"?>
<Relationships xmlns="http://schemas.openxmlformats.org/package/2006/relationships"><Relationship Id="rId2" Type="http://schemas.openxmlformats.org/officeDocument/2006/relationships/slide" Target="../slides/slide813.xml"/><Relationship Id="rId1" Type="http://schemas.openxmlformats.org/officeDocument/2006/relationships/notesMaster" Target="../notesMasters/notesMaster1.xml"/></Relationships>
</file>

<file path=ppt/notesSlides/_rels/notesSlide409.xml.rels><?xml version="1.0" encoding="UTF-8" standalone="yes"?>
<Relationships xmlns="http://schemas.openxmlformats.org/package/2006/relationships"><Relationship Id="rId2" Type="http://schemas.openxmlformats.org/officeDocument/2006/relationships/slide" Target="../slides/slide81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0.xml.rels><?xml version="1.0" encoding="UTF-8" standalone="yes"?>
<Relationships xmlns="http://schemas.openxmlformats.org/package/2006/relationships"><Relationship Id="rId2" Type="http://schemas.openxmlformats.org/officeDocument/2006/relationships/slide" Target="../slides/slide815.xml"/><Relationship Id="rId1" Type="http://schemas.openxmlformats.org/officeDocument/2006/relationships/notesMaster" Target="../notesMasters/notesMaster1.xml"/></Relationships>
</file>

<file path=ppt/notesSlides/_rels/notesSlide411.xml.rels><?xml version="1.0" encoding="UTF-8" standalone="yes"?>
<Relationships xmlns="http://schemas.openxmlformats.org/package/2006/relationships"><Relationship Id="rId2" Type="http://schemas.openxmlformats.org/officeDocument/2006/relationships/slide" Target="../slides/slide816.xml"/><Relationship Id="rId1" Type="http://schemas.openxmlformats.org/officeDocument/2006/relationships/notesMaster" Target="../notesMasters/notesMaster1.xml"/></Relationships>
</file>

<file path=ppt/notesSlides/_rels/notesSlide412.xml.rels><?xml version="1.0" encoding="UTF-8" standalone="yes"?>
<Relationships xmlns="http://schemas.openxmlformats.org/package/2006/relationships"><Relationship Id="rId2" Type="http://schemas.openxmlformats.org/officeDocument/2006/relationships/slide" Target="../slides/slide817.xml"/><Relationship Id="rId1" Type="http://schemas.openxmlformats.org/officeDocument/2006/relationships/notesMaster" Target="../notesMasters/notesMaster1.xml"/></Relationships>
</file>

<file path=ppt/notesSlides/_rels/notesSlide413.xml.rels><?xml version="1.0" encoding="UTF-8" standalone="yes"?>
<Relationships xmlns="http://schemas.openxmlformats.org/package/2006/relationships"><Relationship Id="rId2" Type="http://schemas.openxmlformats.org/officeDocument/2006/relationships/slide" Target="../slides/slide818.xml"/><Relationship Id="rId1" Type="http://schemas.openxmlformats.org/officeDocument/2006/relationships/notesMaster" Target="../notesMasters/notesMaster1.xml"/></Relationships>
</file>

<file path=ppt/notesSlides/_rels/notesSlide414.xml.rels><?xml version="1.0" encoding="UTF-8" standalone="yes"?>
<Relationships xmlns="http://schemas.openxmlformats.org/package/2006/relationships"><Relationship Id="rId2" Type="http://schemas.openxmlformats.org/officeDocument/2006/relationships/slide" Target="../slides/slide819.xml"/><Relationship Id="rId1" Type="http://schemas.openxmlformats.org/officeDocument/2006/relationships/notesMaster" Target="../notesMasters/notesMaster1.xml"/></Relationships>
</file>

<file path=ppt/notesSlides/_rels/notesSlide415.xml.rels><?xml version="1.0" encoding="UTF-8" standalone="yes"?>
<Relationships xmlns="http://schemas.openxmlformats.org/package/2006/relationships"><Relationship Id="rId2" Type="http://schemas.openxmlformats.org/officeDocument/2006/relationships/slide" Target="../slides/slide820.xml"/><Relationship Id="rId1" Type="http://schemas.openxmlformats.org/officeDocument/2006/relationships/notesMaster" Target="../notesMasters/notesMaster1.xml"/></Relationships>
</file>

<file path=ppt/notesSlides/_rels/notesSlide416.xml.rels><?xml version="1.0" encoding="UTF-8" standalone="yes"?>
<Relationships xmlns="http://schemas.openxmlformats.org/package/2006/relationships"><Relationship Id="rId2" Type="http://schemas.openxmlformats.org/officeDocument/2006/relationships/slide" Target="../slides/slide821.xml"/><Relationship Id="rId1" Type="http://schemas.openxmlformats.org/officeDocument/2006/relationships/notesMaster" Target="../notesMasters/notesMaster1.xml"/></Relationships>
</file>

<file path=ppt/notesSlides/_rels/notesSlide417.xml.rels><?xml version="1.0" encoding="UTF-8" standalone="yes"?>
<Relationships xmlns="http://schemas.openxmlformats.org/package/2006/relationships"><Relationship Id="rId2" Type="http://schemas.openxmlformats.org/officeDocument/2006/relationships/slide" Target="../slides/slide822.xml"/><Relationship Id="rId1" Type="http://schemas.openxmlformats.org/officeDocument/2006/relationships/notesMaster" Target="../notesMasters/notesMaster1.xml"/></Relationships>
</file>

<file path=ppt/notesSlides/_rels/notesSlide418.xml.rels><?xml version="1.0" encoding="UTF-8" standalone="yes"?>
<Relationships xmlns="http://schemas.openxmlformats.org/package/2006/relationships"><Relationship Id="rId2" Type="http://schemas.openxmlformats.org/officeDocument/2006/relationships/slide" Target="../slides/slide823.xml"/><Relationship Id="rId1" Type="http://schemas.openxmlformats.org/officeDocument/2006/relationships/notesMaster" Target="../notesMasters/notesMaster1.xml"/></Relationships>
</file>

<file path=ppt/notesSlides/_rels/notesSlide419.xml.rels><?xml version="1.0" encoding="UTF-8" standalone="yes"?>
<Relationships xmlns="http://schemas.openxmlformats.org/package/2006/relationships"><Relationship Id="rId2" Type="http://schemas.openxmlformats.org/officeDocument/2006/relationships/slide" Target="../slides/slide82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0.xml.rels><?xml version="1.0" encoding="UTF-8" standalone="yes"?>
<Relationships xmlns="http://schemas.openxmlformats.org/package/2006/relationships"><Relationship Id="rId2" Type="http://schemas.openxmlformats.org/officeDocument/2006/relationships/slide" Target="../slides/slide825.xml"/><Relationship Id="rId1" Type="http://schemas.openxmlformats.org/officeDocument/2006/relationships/notesMaster" Target="../notesMasters/notesMaster1.xml"/></Relationships>
</file>

<file path=ppt/notesSlides/_rels/notesSlide421.xml.rels><?xml version="1.0" encoding="UTF-8" standalone="yes"?>
<Relationships xmlns="http://schemas.openxmlformats.org/package/2006/relationships"><Relationship Id="rId2" Type="http://schemas.openxmlformats.org/officeDocument/2006/relationships/slide" Target="../slides/slide826.xml"/><Relationship Id="rId1" Type="http://schemas.openxmlformats.org/officeDocument/2006/relationships/notesMaster" Target="../notesMasters/notesMaster1.xml"/></Relationships>
</file>

<file path=ppt/notesSlides/_rels/notesSlide422.xml.rels><?xml version="1.0" encoding="UTF-8" standalone="yes"?>
<Relationships xmlns="http://schemas.openxmlformats.org/package/2006/relationships"><Relationship Id="rId2" Type="http://schemas.openxmlformats.org/officeDocument/2006/relationships/slide" Target="../slides/slide827.xml"/><Relationship Id="rId1" Type="http://schemas.openxmlformats.org/officeDocument/2006/relationships/notesMaster" Target="../notesMasters/notesMaster1.xml"/></Relationships>
</file>

<file path=ppt/notesSlides/_rels/notesSlide423.xml.rels><?xml version="1.0" encoding="UTF-8" standalone="yes"?>
<Relationships xmlns="http://schemas.openxmlformats.org/package/2006/relationships"><Relationship Id="rId2" Type="http://schemas.openxmlformats.org/officeDocument/2006/relationships/slide" Target="../slides/slide828.xml"/><Relationship Id="rId1" Type="http://schemas.openxmlformats.org/officeDocument/2006/relationships/notesMaster" Target="../notesMasters/notesMaster1.xml"/></Relationships>
</file>

<file path=ppt/notesSlides/_rels/notesSlide424.xml.rels><?xml version="1.0" encoding="UTF-8" standalone="yes"?>
<Relationships xmlns="http://schemas.openxmlformats.org/package/2006/relationships"><Relationship Id="rId2" Type="http://schemas.openxmlformats.org/officeDocument/2006/relationships/slide" Target="../slides/slide829.xml"/><Relationship Id="rId1" Type="http://schemas.openxmlformats.org/officeDocument/2006/relationships/notesMaster" Target="../notesMasters/notesMaster1.xml"/></Relationships>
</file>

<file path=ppt/notesSlides/_rels/notesSlide425.xml.rels><?xml version="1.0" encoding="UTF-8" standalone="yes"?>
<Relationships xmlns="http://schemas.openxmlformats.org/package/2006/relationships"><Relationship Id="rId2" Type="http://schemas.openxmlformats.org/officeDocument/2006/relationships/slide" Target="../slides/slide830.xml"/><Relationship Id="rId1" Type="http://schemas.openxmlformats.org/officeDocument/2006/relationships/notesMaster" Target="../notesMasters/notesMaster1.xml"/></Relationships>
</file>

<file path=ppt/notesSlides/_rels/notesSlide426.xml.rels><?xml version="1.0" encoding="UTF-8" standalone="yes"?>
<Relationships xmlns="http://schemas.openxmlformats.org/package/2006/relationships"><Relationship Id="rId2" Type="http://schemas.openxmlformats.org/officeDocument/2006/relationships/slide" Target="../slides/slide831.xml"/><Relationship Id="rId1" Type="http://schemas.openxmlformats.org/officeDocument/2006/relationships/notesMaster" Target="../notesMasters/notesMaster1.xml"/></Relationships>
</file>

<file path=ppt/notesSlides/_rels/notesSlide427.xml.rels><?xml version="1.0" encoding="UTF-8" standalone="yes"?>
<Relationships xmlns="http://schemas.openxmlformats.org/package/2006/relationships"><Relationship Id="rId2" Type="http://schemas.openxmlformats.org/officeDocument/2006/relationships/slide" Target="../slides/slide832.xml"/><Relationship Id="rId1" Type="http://schemas.openxmlformats.org/officeDocument/2006/relationships/notesMaster" Target="../notesMasters/notesMaster1.xml"/></Relationships>
</file>

<file path=ppt/notesSlides/_rels/notesSlide428.xml.rels><?xml version="1.0" encoding="UTF-8" standalone="yes"?>
<Relationships xmlns="http://schemas.openxmlformats.org/package/2006/relationships"><Relationship Id="rId2" Type="http://schemas.openxmlformats.org/officeDocument/2006/relationships/slide" Target="../slides/slide833.xml"/><Relationship Id="rId1" Type="http://schemas.openxmlformats.org/officeDocument/2006/relationships/notesMaster" Target="../notesMasters/notesMaster1.xml"/></Relationships>
</file>

<file path=ppt/notesSlides/_rels/notesSlide429.xml.rels><?xml version="1.0" encoding="UTF-8" standalone="yes"?>
<Relationships xmlns="http://schemas.openxmlformats.org/package/2006/relationships"><Relationship Id="rId2" Type="http://schemas.openxmlformats.org/officeDocument/2006/relationships/slide" Target="../slides/slide83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0.xml.rels><?xml version="1.0" encoding="UTF-8" standalone="yes"?>
<Relationships xmlns="http://schemas.openxmlformats.org/package/2006/relationships"><Relationship Id="rId2" Type="http://schemas.openxmlformats.org/officeDocument/2006/relationships/slide" Target="../slides/slide835.xml"/><Relationship Id="rId1" Type="http://schemas.openxmlformats.org/officeDocument/2006/relationships/notesMaster" Target="../notesMasters/notesMaster1.xml"/></Relationships>
</file>

<file path=ppt/notesSlides/_rels/notesSlide431.xml.rels><?xml version="1.0" encoding="UTF-8" standalone="yes"?>
<Relationships xmlns="http://schemas.openxmlformats.org/package/2006/relationships"><Relationship Id="rId2" Type="http://schemas.openxmlformats.org/officeDocument/2006/relationships/slide" Target="../slides/slide836.xml"/><Relationship Id="rId1" Type="http://schemas.openxmlformats.org/officeDocument/2006/relationships/notesMaster" Target="../notesMasters/notesMaster1.xml"/></Relationships>
</file>

<file path=ppt/notesSlides/_rels/notesSlide432.xml.rels><?xml version="1.0" encoding="UTF-8" standalone="yes"?>
<Relationships xmlns="http://schemas.openxmlformats.org/package/2006/relationships"><Relationship Id="rId2" Type="http://schemas.openxmlformats.org/officeDocument/2006/relationships/slide" Target="../slides/slide837.xml"/><Relationship Id="rId1" Type="http://schemas.openxmlformats.org/officeDocument/2006/relationships/notesMaster" Target="../notesMasters/notesMaster1.xml"/></Relationships>
</file>

<file path=ppt/notesSlides/_rels/notesSlide433.xml.rels><?xml version="1.0" encoding="UTF-8" standalone="yes"?>
<Relationships xmlns="http://schemas.openxmlformats.org/package/2006/relationships"><Relationship Id="rId2" Type="http://schemas.openxmlformats.org/officeDocument/2006/relationships/slide" Target="../slides/slide838.xml"/><Relationship Id="rId1" Type="http://schemas.openxmlformats.org/officeDocument/2006/relationships/notesMaster" Target="../notesMasters/notesMaster1.xml"/></Relationships>
</file>

<file path=ppt/notesSlides/_rels/notesSlide434.xml.rels><?xml version="1.0" encoding="UTF-8" standalone="yes"?>
<Relationships xmlns="http://schemas.openxmlformats.org/package/2006/relationships"><Relationship Id="rId2" Type="http://schemas.openxmlformats.org/officeDocument/2006/relationships/slide" Target="../slides/slide839.xml"/><Relationship Id="rId1" Type="http://schemas.openxmlformats.org/officeDocument/2006/relationships/notesMaster" Target="../notesMasters/notesMaster1.xml"/></Relationships>
</file>

<file path=ppt/notesSlides/_rels/notesSlide435.xml.rels><?xml version="1.0" encoding="UTF-8" standalone="yes"?>
<Relationships xmlns="http://schemas.openxmlformats.org/package/2006/relationships"><Relationship Id="rId2" Type="http://schemas.openxmlformats.org/officeDocument/2006/relationships/slide" Target="../slides/slide840.xml"/><Relationship Id="rId1" Type="http://schemas.openxmlformats.org/officeDocument/2006/relationships/notesMaster" Target="../notesMasters/notesMaster1.xml"/></Relationships>
</file>

<file path=ppt/notesSlides/_rels/notesSlide436.xml.rels><?xml version="1.0" encoding="UTF-8" standalone="yes"?>
<Relationships xmlns="http://schemas.openxmlformats.org/package/2006/relationships"><Relationship Id="rId2" Type="http://schemas.openxmlformats.org/officeDocument/2006/relationships/slide" Target="../slides/slide841.xml"/><Relationship Id="rId1" Type="http://schemas.openxmlformats.org/officeDocument/2006/relationships/notesMaster" Target="../notesMasters/notesMaster1.xml"/></Relationships>
</file>

<file path=ppt/notesSlides/_rels/notesSlide437.xml.rels><?xml version="1.0" encoding="UTF-8" standalone="yes"?>
<Relationships xmlns="http://schemas.openxmlformats.org/package/2006/relationships"><Relationship Id="rId2" Type="http://schemas.openxmlformats.org/officeDocument/2006/relationships/slide" Target="../slides/slide842.xml"/><Relationship Id="rId1" Type="http://schemas.openxmlformats.org/officeDocument/2006/relationships/notesMaster" Target="../notesMasters/notesMaster1.xml"/></Relationships>
</file>

<file path=ppt/notesSlides/_rels/notesSlide438.xml.rels><?xml version="1.0" encoding="UTF-8" standalone="yes"?>
<Relationships xmlns="http://schemas.openxmlformats.org/package/2006/relationships"><Relationship Id="rId2" Type="http://schemas.openxmlformats.org/officeDocument/2006/relationships/slide" Target="../slides/slide843.xml"/><Relationship Id="rId1" Type="http://schemas.openxmlformats.org/officeDocument/2006/relationships/notesMaster" Target="../notesMasters/notesMaster1.xml"/></Relationships>
</file>

<file path=ppt/notesSlides/_rels/notesSlide439.xml.rels><?xml version="1.0" encoding="UTF-8" standalone="yes"?>
<Relationships xmlns="http://schemas.openxmlformats.org/package/2006/relationships"><Relationship Id="rId2" Type="http://schemas.openxmlformats.org/officeDocument/2006/relationships/slide" Target="../slides/slide8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0.xml.rels><?xml version="1.0" encoding="UTF-8" standalone="yes"?>
<Relationships xmlns="http://schemas.openxmlformats.org/package/2006/relationships"><Relationship Id="rId2" Type="http://schemas.openxmlformats.org/officeDocument/2006/relationships/slide" Target="../slides/slide845.xml"/><Relationship Id="rId1" Type="http://schemas.openxmlformats.org/officeDocument/2006/relationships/notesMaster" Target="../notesMasters/notesMaster1.xml"/></Relationships>
</file>

<file path=ppt/notesSlides/_rels/notesSlide441.xml.rels><?xml version="1.0" encoding="UTF-8" standalone="yes"?>
<Relationships xmlns="http://schemas.openxmlformats.org/package/2006/relationships"><Relationship Id="rId2" Type="http://schemas.openxmlformats.org/officeDocument/2006/relationships/slide" Target="../slides/slide846.xml"/><Relationship Id="rId1" Type="http://schemas.openxmlformats.org/officeDocument/2006/relationships/notesMaster" Target="../notesMasters/notesMaster1.xml"/></Relationships>
</file>

<file path=ppt/notesSlides/_rels/notesSlide442.xml.rels><?xml version="1.0" encoding="UTF-8" standalone="yes"?>
<Relationships xmlns="http://schemas.openxmlformats.org/package/2006/relationships"><Relationship Id="rId2" Type="http://schemas.openxmlformats.org/officeDocument/2006/relationships/slide" Target="../slides/slide847.xml"/><Relationship Id="rId1" Type="http://schemas.openxmlformats.org/officeDocument/2006/relationships/notesMaster" Target="../notesMasters/notesMaster1.xml"/></Relationships>
</file>

<file path=ppt/notesSlides/_rels/notesSlide443.xml.rels><?xml version="1.0" encoding="UTF-8" standalone="yes"?>
<Relationships xmlns="http://schemas.openxmlformats.org/package/2006/relationships"><Relationship Id="rId2" Type="http://schemas.openxmlformats.org/officeDocument/2006/relationships/slide" Target="../slides/slide848.xml"/><Relationship Id="rId1" Type="http://schemas.openxmlformats.org/officeDocument/2006/relationships/notesMaster" Target="../notesMasters/notesMaster1.xml"/></Relationships>
</file>

<file path=ppt/notesSlides/_rels/notesSlide444.xml.rels><?xml version="1.0" encoding="UTF-8" standalone="yes"?>
<Relationships xmlns="http://schemas.openxmlformats.org/package/2006/relationships"><Relationship Id="rId2" Type="http://schemas.openxmlformats.org/officeDocument/2006/relationships/slide" Target="../slides/slide849.xml"/><Relationship Id="rId1" Type="http://schemas.openxmlformats.org/officeDocument/2006/relationships/notesMaster" Target="../notesMasters/notesMaster1.xml"/></Relationships>
</file>

<file path=ppt/notesSlides/_rels/notesSlide445.xml.rels><?xml version="1.0" encoding="UTF-8" standalone="yes"?>
<Relationships xmlns="http://schemas.openxmlformats.org/package/2006/relationships"><Relationship Id="rId2" Type="http://schemas.openxmlformats.org/officeDocument/2006/relationships/slide" Target="../slides/slide850.xml"/><Relationship Id="rId1" Type="http://schemas.openxmlformats.org/officeDocument/2006/relationships/notesMaster" Target="../notesMasters/notesMaster1.xml"/></Relationships>
</file>

<file path=ppt/notesSlides/_rels/notesSlide446.xml.rels><?xml version="1.0" encoding="UTF-8" standalone="yes"?>
<Relationships xmlns="http://schemas.openxmlformats.org/package/2006/relationships"><Relationship Id="rId2" Type="http://schemas.openxmlformats.org/officeDocument/2006/relationships/slide" Target="../slides/slide851.xml"/><Relationship Id="rId1" Type="http://schemas.openxmlformats.org/officeDocument/2006/relationships/notesMaster" Target="../notesMasters/notesMaster1.xml"/></Relationships>
</file>

<file path=ppt/notesSlides/_rels/notesSlide447.xml.rels><?xml version="1.0" encoding="UTF-8" standalone="yes"?>
<Relationships xmlns="http://schemas.openxmlformats.org/package/2006/relationships"><Relationship Id="rId2" Type="http://schemas.openxmlformats.org/officeDocument/2006/relationships/slide" Target="../slides/slide852.xml"/><Relationship Id="rId1" Type="http://schemas.openxmlformats.org/officeDocument/2006/relationships/notesMaster" Target="../notesMasters/notesMaster1.xml"/></Relationships>
</file>

<file path=ppt/notesSlides/_rels/notesSlide448.xml.rels><?xml version="1.0" encoding="UTF-8" standalone="yes"?>
<Relationships xmlns="http://schemas.openxmlformats.org/package/2006/relationships"><Relationship Id="rId2" Type="http://schemas.openxmlformats.org/officeDocument/2006/relationships/slide" Target="../slides/slide853.xml"/><Relationship Id="rId1" Type="http://schemas.openxmlformats.org/officeDocument/2006/relationships/notesMaster" Target="../notesMasters/notesMaster1.xml"/></Relationships>
</file>

<file path=ppt/notesSlides/_rels/notesSlide449.xml.rels><?xml version="1.0" encoding="UTF-8" standalone="yes"?>
<Relationships xmlns="http://schemas.openxmlformats.org/package/2006/relationships"><Relationship Id="rId2" Type="http://schemas.openxmlformats.org/officeDocument/2006/relationships/slide" Target="../slides/slide85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0.xml.rels><?xml version="1.0" encoding="UTF-8" standalone="yes"?>
<Relationships xmlns="http://schemas.openxmlformats.org/package/2006/relationships"><Relationship Id="rId2" Type="http://schemas.openxmlformats.org/officeDocument/2006/relationships/slide" Target="../slides/slide855.xml"/><Relationship Id="rId1" Type="http://schemas.openxmlformats.org/officeDocument/2006/relationships/notesMaster" Target="../notesMasters/notesMaster1.xml"/></Relationships>
</file>

<file path=ppt/notesSlides/_rels/notesSlide451.xml.rels><?xml version="1.0" encoding="UTF-8" standalone="yes"?>
<Relationships xmlns="http://schemas.openxmlformats.org/package/2006/relationships"><Relationship Id="rId2" Type="http://schemas.openxmlformats.org/officeDocument/2006/relationships/slide" Target="../slides/slide856.xml"/><Relationship Id="rId1" Type="http://schemas.openxmlformats.org/officeDocument/2006/relationships/notesMaster" Target="../notesMasters/notesMaster1.xml"/></Relationships>
</file>

<file path=ppt/notesSlides/_rels/notesSlide452.xml.rels><?xml version="1.0" encoding="UTF-8" standalone="yes"?>
<Relationships xmlns="http://schemas.openxmlformats.org/package/2006/relationships"><Relationship Id="rId2" Type="http://schemas.openxmlformats.org/officeDocument/2006/relationships/slide" Target="../slides/slide857.xml"/><Relationship Id="rId1" Type="http://schemas.openxmlformats.org/officeDocument/2006/relationships/notesMaster" Target="../notesMasters/notesMaster1.xml"/></Relationships>
</file>

<file path=ppt/notesSlides/_rels/notesSlide453.xml.rels><?xml version="1.0" encoding="UTF-8" standalone="yes"?>
<Relationships xmlns="http://schemas.openxmlformats.org/package/2006/relationships"><Relationship Id="rId2" Type="http://schemas.openxmlformats.org/officeDocument/2006/relationships/slide" Target="../slides/slide858.xml"/><Relationship Id="rId1" Type="http://schemas.openxmlformats.org/officeDocument/2006/relationships/notesMaster" Target="../notesMasters/notesMaster1.xml"/></Relationships>
</file>

<file path=ppt/notesSlides/_rels/notesSlide454.xml.rels><?xml version="1.0" encoding="UTF-8" standalone="yes"?>
<Relationships xmlns="http://schemas.openxmlformats.org/package/2006/relationships"><Relationship Id="rId2" Type="http://schemas.openxmlformats.org/officeDocument/2006/relationships/slide" Target="../slides/slide859.xml"/><Relationship Id="rId1" Type="http://schemas.openxmlformats.org/officeDocument/2006/relationships/notesMaster" Target="../notesMasters/notesMaster1.xml"/></Relationships>
</file>

<file path=ppt/notesSlides/_rels/notesSlide455.xml.rels><?xml version="1.0" encoding="UTF-8" standalone="yes"?>
<Relationships xmlns="http://schemas.openxmlformats.org/package/2006/relationships"><Relationship Id="rId2" Type="http://schemas.openxmlformats.org/officeDocument/2006/relationships/slide" Target="../slides/slide860.xml"/><Relationship Id="rId1" Type="http://schemas.openxmlformats.org/officeDocument/2006/relationships/notesMaster" Target="../notesMasters/notesMaster1.xml"/></Relationships>
</file>

<file path=ppt/notesSlides/_rels/notesSlide456.xml.rels><?xml version="1.0" encoding="UTF-8" standalone="yes"?>
<Relationships xmlns="http://schemas.openxmlformats.org/package/2006/relationships"><Relationship Id="rId2" Type="http://schemas.openxmlformats.org/officeDocument/2006/relationships/slide" Target="../slides/slide861.xml"/><Relationship Id="rId1" Type="http://schemas.openxmlformats.org/officeDocument/2006/relationships/notesMaster" Target="../notesMasters/notesMaster1.xml"/></Relationships>
</file>

<file path=ppt/notesSlides/_rels/notesSlide457.xml.rels><?xml version="1.0" encoding="UTF-8" standalone="yes"?>
<Relationships xmlns="http://schemas.openxmlformats.org/package/2006/relationships"><Relationship Id="rId2" Type="http://schemas.openxmlformats.org/officeDocument/2006/relationships/slide" Target="../slides/slide862.xml"/><Relationship Id="rId1" Type="http://schemas.openxmlformats.org/officeDocument/2006/relationships/notesMaster" Target="../notesMasters/notesMaster1.xml"/></Relationships>
</file>

<file path=ppt/notesSlides/_rels/notesSlide458.xml.rels><?xml version="1.0" encoding="UTF-8" standalone="yes"?>
<Relationships xmlns="http://schemas.openxmlformats.org/package/2006/relationships"><Relationship Id="rId2" Type="http://schemas.openxmlformats.org/officeDocument/2006/relationships/slide" Target="../slides/slide863.xml"/><Relationship Id="rId1" Type="http://schemas.openxmlformats.org/officeDocument/2006/relationships/notesMaster" Target="../notesMasters/notesMaster1.xml"/></Relationships>
</file>

<file path=ppt/notesSlides/_rels/notesSlide459.xml.rels><?xml version="1.0" encoding="UTF-8" standalone="yes"?>
<Relationships xmlns="http://schemas.openxmlformats.org/package/2006/relationships"><Relationship Id="rId2" Type="http://schemas.openxmlformats.org/officeDocument/2006/relationships/slide" Target="../slides/slide86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0.xml.rels><?xml version="1.0" encoding="UTF-8" standalone="yes"?>
<Relationships xmlns="http://schemas.openxmlformats.org/package/2006/relationships"><Relationship Id="rId2" Type="http://schemas.openxmlformats.org/officeDocument/2006/relationships/slide" Target="../slides/slide865.xml"/><Relationship Id="rId1" Type="http://schemas.openxmlformats.org/officeDocument/2006/relationships/notesMaster" Target="../notesMasters/notesMaster1.xml"/></Relationships>
</file>

<file path=ppt/notesSlides/_rels/notesSlide461.xml.rels><?xml version="1.0" encoding="UTF-8" standalone="yes"?>
<Relationships xmlns="http://schemas.openxmlformats.org/package/2006/relationships"><Relationship Id="rId2" Type="http://schemas.openxmlformats.org/officeDocument/2006/relationships/slide" Target="../slides/slide866.xml"/><Relationship Id="rId1" Type="http://schemas.openxmlformats.org/officeDocument/2006/relationships/notesMaster" Target="../notesMasters/notesMaster1.xml"/></Relationships>
</file>

<file path=ppt/notesSlides/_rels/notesSlide462.xml.rels><?xml version="1.0" encoding="UTF-8" standalone="yes"?>
<Relationships xmlns="http://schemas.openxmlformats.org/package/2006/relationships"><Relationship Id="rId2" Type="http://schemas.openxmlformats.org/officeDocument/2006/relationships/slide" Target="../slides/slide867.xml"/><Relationship Id="rId1" Type="http://schemas.openxmlformats.org/officeDocument/2006/relationships/notesMaster" Target="../notesMasters/notesMaster1.xml"/></Relationships>
</file>

<file path=ppt/notesSlides/_rels/notesSlide463.xml.rels><?xml version="1.0" encoding="UTF-8" standalone="yes"?>
<Relationships xmlns="http://schemas.openxmlformats.org/package/2006/relationships"><Relationship Id="rId2" Type="http://schemas.openxmlformats.org/officeDocument/2006/relationships/slide" Target="../slides/slide868.xml"/><Relationship Id="rId1" Type="http://schemas.openxmlformats.org/officeDocument/2006/relationships/notesMaster" Target="../notesMasters/notesMaster1.xml"/></Relationships>
</file>

<file path=ppt/notesSlides/_rels/notesSlide464.xml.rels><?xml version="1.0" encoding="UTF-8" standalone="yes"?>
<Relationships xmlns="http://schemas.openxmlformats.org/package/2006/relationships"><Relationship Id="rId2" Type="http://schemas.openxmlformats.org/officeDocument/2006/relationships/slide" Target="../slides/slide869.xml"/><Relationship Id="rId1" Type="http://schemas.openxmlformats.org/officeDocument/2006/relationships/notesMaster" Target="../notesMasters/notesMaster1.xml"/></Relationships>
</file>

<file path=ppt/notesSlides/_rels/notesSlide465.xml.rels><?xml version="1.0" encoding="UTF-8" standalone="yes"?>
<Relationships xmlns="http://schemas.openxmlformats.org/package/2006/relationships"><Relationship Id="rId2" Type="http://schemas.openxmlformats.org/officeDocument/2006/relationships/slide" Target="../slides/slide870.xml"/><Relationship Id="rId1" Type="http://schemas.openxmlformats.org/officeDocument/2006/relationships/notesMaster" Target="../notesMasters/notesMaster1.xml"/></Relationships>
</file>

<file path=ppt/notesSlides/_rels/notesSlide466.xml.rels><?xml version="1.0" encoding="UTF-8" standalone="yes"?>
<Relationships xmlns="http://schemas.openxmlformats.org/package/2006/relationships"><Relationship Id="rId2" Type="http://schemas.openxmlformats.org/officeDocument/2006/relationships/slide" Target="../slides/slide871.xml"/><Relationship Id="rId1" Type="http://schemas.openxmlformats.org/officeDocument/2006/relationships/notesMaster" Target="../notesMasters/notesMaster1.xml"/></Relationships>
</file>

<file path=ppt/notesSlides/_rels/notesSlide467.xml.rels><?xml version="1.0" encoding="UTF-8" standalone="yes"?>
<Relationships xmlns="http://schemas.openxmlformats.org/package/2006/relationships"><Relationship Id="rId2" Type="http://schemas.openxmlformats.org/officeDocument/2006/relationships/slide" Target="../slides/slide872.xml"/><Relationship Id="rId1" Type="http://schemas.openxmlformats.org/officeDocument/2006/relationships/notesMaster" Target="../notesMasters/notesMaster1.xml"/></Relationships>
</file>

<file path=ppt/notesSlides/_rels/notesSlide468.xml.rels><?xml version="1.0" encoding="UTF-8" standalone="yes"?>
<Relationships xmlns="http://schemas.openxmlformats.org/package/2006/relationships"><Relationship Id="rId2" Type="http://schemas.openxmlformats.org/officeDocument/2006/relationships/slide" Target="../slides/slide873.xml"/><Relationship Id="rId1" Type="http://schemas.openxmlformats.org/officeDocument/2006/relationships/notesMaster" Target="../notesMasters/notesMaster1.xml"/></Relationships>
</file>

<file path=ppt/notesSlides/_rels/notesSlide469.xml.rels><?xml version="1.0" encoding="UTF-8" standalone="yes"?>
<Relationships xmlns="http://schemas.openxmlformats.org/package/2006/relationships"><Relationship Id="rId2" Type="http://schemas.openxmlformats.org/officeDocument/2006/relationships/slide" Target="../slides/slide87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0.xml.rels><?xml version="1.0" encoding="UTF-8" standalone="yes"?>
<Relationships xmlns="http://schemas.openxmlformats.org/package/2006/relationships"><Relationship Id="rId2" Type="http://schemas.openxmlformats.org/officeDocument/2006/relationships/slide" Target="../slides/slide875.xml"/><Relationship Id="rId1" Type="http://schemas.openxmlformats.org/officeDocument/2006/relationships/notesMaster" Target="../notesMasters/notesMaster1.xml"/></Relationships>
</file>

<file path=ppt/notesSlides/_rels/notesSlide471.xml.rels><?xml version="1.0" encoding="UTF-8" standalone="yes"?>
<Relationships xmlns="http://schemas.openxmlformats.org/package/2006/relationships"><Relationship Id="rId2" Type="http://schemas.openxmlformats.org/officeDocument/2006/relationships/slide" Target="../slides/slide876.xml"/><Relationship Id="rId1" Type="http://schemas.openxmlformats.org/officeDocument/2006/relationships/notesMaster" Target="../notesMasters/notesMaster1.xml"/></Relationships>
</file>

<file path=ppt/notesSlides/_rels/notesSlide472.xml.rels><?xml version="1.0" encoding="UTF-8" standalone="yes"?>
<Relationships xmlns="http://schemas.openxmlformats.org/package/2006/relationships"><Relationship Id="rId2" Type="http://schemas.openxmlformats.org/officeDocument/2006/relationships/slide" Target="../slides/slide877.xml"/><Relationship Id="rId1" Type="http://schemas.openxmlformats.org/officeDocument/2006/relationships/notesMaster" Target="../notesMasters/notesMaster1.xml"/></Relationships>
</file>

<file path=ppt/notesSlides/_rels/notesSlide473.xml.rels><?xml version="1.0" encoding="UTF-8" standalone="yes"?>
<Relationships xmlns="http://schemas.openxmlformats.org/package/2006/relationships"><Relationship Id="rId2" Type="http://schemas.openxmlformats.org/officeDocument/2006/relationships/slide" Target="../slides/slide878.xml"/><Relationship Id="rId1" Type="http://schemas.openxmlformats.org/officeDocument/2006/relationships/notesMaster" Target="../notesMasters/notesMaster1.xml"/></Relationships>
</file>

<file path=ppt/notesSlides/_rels/notesSlide474.xml.rels><?xml version="1.0" encoding="UTF-8" standalone="yes"?>
<Relationships xmlns="http://schemas.openxmlformats.org/package/2006/relationships"><Relationship Id="rId2" Type="http://schemas.openxmlformats.org/officeDocument/2006/relationships/slide" Target="../slides/slide879.xml"/><Relationship Id="rId1" Type="http://schemas.openxmlformats.org/officeDocument/2006/relationships/notesMaster" Target="../notesMasters/notesMaster1.xml"/></Relationships>
</file>

<file path=ppt/notesSlides/_rels/notesSlide475.xml.rels><?xml version="1.0" encoding="UTF-8" standalone="yes"?>
<Relationships xmlns="http://schemas.openxmlformats.org/package/2006/relationships"><Relationship Id="rId2" Type="http://schemas.openxmlformats.org/officeDocument/2006/relationships/slide" Target="../slides/slide880.xml"/><Relationship Id="rId1" Type="http://schemas.openxmlformats.org/officeDocument/2006/relationships/notesMaster" Target="../notesMasters/notesMaster1.xml"/></Relationships>
</file>

<file path=ppt/notesSlides/_rels/notesSlide476.xml.rels><?xml version="1.0" encoding="UTF-8" standalone="yes"?>
<Relationships xmlns="http://schemas.openxmlformats.org/package/2006/relationships"><Relationship Id="rId2" Type="http://schemas.openxmlformats.org/officeDocument/2006/relationships/slide" Target="../slides/slide881.xml"/><Relationship Id="rId1" Type="http://schemas.openxmlformats.org/officeDocument/2006/relationships/notesMaster" Target="../notesMasters/notesMaster1.xml"/></Relationships>
</file>

<file path=ppt/notesSlides/_rels/notesSlide477.xml.rels><?xml version="1.0" encoding="UTF-8" standalone="yes"?>
<Relationships xmlns="http://schemas.openxmlformats.org/package/2006/relationships"><Relationship Id="rId2" Type="http://schemas.openxmlformats.org/officeDocument/2006/relationships/slide" Target="../slides/slide882.xml"/><Relationship Id="rId1" Type="http://schemas.openxmlformats.org/officeDocument/2006/relationships/notesMaster" Target="../notesMasters/notesMaster1.xml"/></Relationships>
</file>

<file path=ppt/notesSlides/_rels/notesSlide478.xml.rels><?xml version="1.0" encoding="UTF-8" standalone="yes"?>
<Relationships xmlns="http://schemas.openxmlformats.org/package/2006/relationships"><Relationship Id="rId2" Type="http://schemas.openxmlformats.org/officeDocument/2006/relationships/slide" Target="../slides/slide883.xml"/><Relationship Id="rId1" Type="http://schemas.openxmlformats.org/officeDocument/2006/relationships/notesMaster" Target="../notesMasters/notesMaster1.xml"/></Relationships>
</file>

<file path=ppt/notesSlides/_rels/notesSlide479.xml.rels><?xml version="1.0" encoding="UTF-8" standalone="yes"?>
<Relationships xmlns="http://schemas.openxmlformats.org/package/2006/relationships"><Relationship Id="rId2" Type="http://schemas.openxmlformats.org/officeDocument/2006/relationships/slide" Target="../slides/slide88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0.xml.rels><?xml version="1.0" encoding="UTF-8" standalone="yes"?>
<Relationships xmlns="http://schemas.openxmlformats.org/package/2006/relationships"><Relationship Id="rId2" Type="http://schemas.openxmlformats.org/officeDocument/2006/relationships/slide" Target="../slides/slide885.xml"/><Relationship Id="rId1" Type="http://schemas.openxmlformats.org/officeDocument/2006/relationships/notesMaster" Target="../notesMasters/notesMaster1.xml"/></Relationships>
</file>

<file path=ppt/notesSlides/_rels/notesSlide481.xml.rels><?xml version="1.0" encoding="UTF-8" standalone="yes"?>
<Relationships xmlns="http://schemas.openxmlformats.org/package/2006/relationships"><Relationship Id="rId2" Type="http://schemas.openxmlformats.org/officeDocument/2006/relationships/slide" Target="../slides/slide886.xml"/><Relationship Id="rId1" Type="http://schemas.openxmlformats.org/officeDocument/2006/relationships/notesMaster" Target="../notesMasters/notesMaster1.xml"/></Relationships>
</file>

<file path=ppt/notesSlides/_rels/notesSlide482.xml.rels><?xml version="1.0" encoding="UTF-8" standalone="yes"?>
<Relationships xmlns="http://schemas.openxmlformats.org/package/2006/relationships"><Relationship Id="rId2" Type="http://schemas.openxmlformats.org/officeDocument/2006/relationships/slide" Target="../slides/slide887.xml"/><Relationship Id="rId1" Type="http://schemas.openxmlformats.org/officeDocument/2006/relationships/notesMaster" Target="../notesMasters/notesMaster1.xml"/></Relationships>
</file>

<file path=ppt/notesSlides/_rels/notesSlide483.xml.rels><?xml version="1.0" encoding="UTF-8" standalone="yes"?>
<Relationships xmlns="http://schemas.openxmlformats.org/package/2006/relationships"><Relationship Id="rId2" Type="http://schemas.openxmlformats.org/officeDocument/2006/relationships/slide" Target="../slides/slide888.xml"/><Relationship Id="rId1" Type="http://schemas.openxmlformats.org/officeDocument/2006/relationships/notesMaster" Target="../notesMasters/notesMaster1.xml"/></Relationships>
</file>

<file path=ppt/notesSlides/_rels/notesSlide484.xml.rels><?xml version="1.0" encoding="UTF-8" standalone="yes"?>
<Relationships xmlns="http://schemas.openxmlformats.org/package/2006/relationships"><Relationship Id="rId2" Type="http://schemas.openxmlformats.org/officeDocument/2006/relationships/slide" Target="../slides/slide889.xml"/><Relationship Id="rId1" Type="http://schemas.openxmlformats.org/officeDocument/2006/relationships/notesMaster" Target="../notesMasters/notesMaster1.xml"/></Relationships>
</file>

<file path=ppt/notesSlides/_rels/notesSlide485.xml.rels><?xml version="1.0" encoding="UTF-8" standalone="yes"?>
<Relationships xmlns="http://schemas.openxmlformats.org/package/2006/relationships"><Relationship Id="rId2" Type="http://schemas.openxmlformats.org/officeDocument/2006/relationships/slide" Target="../slides/slide890.xml"/><Relationship Id="rId1" Type="http://schemas.openxmlformats.org/officeDocument/2006/relationships/notesMaster" Target="../notesMasters/notesMaster1.xml"/></Relationships>
</file>

<file path=ppt/notesSlides/_rels/notesSlide486.xml.rels><?xml version="1.0" encoding="UTF-8" standalone="yes"?>
<Relationships xmlns="http://schemas.openxmlformats.org/package/2006/relationships"><Relationship Id="rId2" Type="http://schemas.openxmlformats.org/officeDocument/2006/relationships/slide" Target="../slides/slide891.xml"/><Relationship Id="rId1" Type="http://schemas.openxmlformats.org/officeDocument/2006/relationships/notesMaster" Target="../notesMasters/notesMaster1.xml"/></Relationships>
</file>

<file path=ppt/notesSlides/_rels/notesSlide487.xml.rels><?xml version="1.0" encoding="UTF-8" standalone="yes"?>
<Relationships xmlns="http://schemas.openxmlformats.org/package/2006/relationships"><Relationship Id="rId2" Type="http://schemas.openxmlformats.org/officeDocument/2006/relationships/slide" Target="../slides/slide892.xml"/><Relationship Id="rId1" Type="http://schemas.openxmlformats.org/officeDocument/2006/relationships/notesMaster" Target="../notesMasters/notesMaster1.xml"/></Relationships>
</file>

<file path=ppt/notesSlides/_rels/notesSlide488.xml.rels><?xml version="1.0" encoding="UTF-8" standalone="yes"?>
<Relationships xmlns="http://schemas.openxmlformats.org/package/2006/relationships"><Relationship Id="rId2" Type="http://schemas.openxmlformats.org/officeDocument/2006/relationships/slide" Target="../slides/slide893.xml"/><Relationship Id="rId1" Type="http://schemas.openxmlformats.org/officeDocument/2006/relationships/notesMaster" Target="../notesMasters/notesMaster1.xml"/></Relationships>
</file>

<file path=ppt/notesSlides/_rels/notesSlide489.xml.rels><?xml version="1.0" encoding="UTF-8" standalone="yes"?>
<Relationships xmlns="http://schemas.openxmlformats.org/package/2006/relationships"><Relationship Id="rId2" Type="http://schemas.openxmlformats.org/officeDocument/2006/relationships/slide" Target="../slides/slide89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0.xml.rels><?xml version="1.0" encoding="UTF-8" standalone="yes"?>
<Relationships xmlns="http://schemas.openxmlformats.org/package/2006/relationships"><Relationship Id="rId2" Type="http://schemas.openxmlformats.org/officeDocument/2006/relationships/slide" Target="../slides/slide895.xml"/><Relationship Id="rId1" Type="http://schemas.openxmlformats.org/officeDocument/2006/relationships/notesMaster" Target="../notesMasters/notesMaster1.xml"/></Relationships>
</file>

<file path=ppt/notesSlides/_rels/notesSlide491.xml.rels><?xml version="1.0" encoding="UTF-8" standalone="yes"?>
<Relationships xmlns="http://schemas.openxmlformats.org/package/2006/relationships"><Relationship Id="rId2" Type="http://schemas.openxmlformats.org/officeDocument/2006/relationships/slide" Target="../slides/slide896.xml"/><Relationship Id="rId1" Type="http://schemas.openxmlformats.org/officeDocument/2006/relationships/notesMaster" Target="../notesMasters/notesMaster1.xml"/></Relationships>
</file>

<file path=ppt/notesSlides/_rels/notesSlide492.xml.rels><?xml version="1.0" encoding="UTF-8" standalone="yes"?>
<Relationships xmlns="http://schemas.openxmlformats.org/package/2006/relationships"><Relationship Id="rId2" Type="http://schemas.openxmlformats.org/officeDocument/2006/relationships/slide" Target="../slides/slide897.xml"/><Relationship Id="rId1" Type="http://schemas.openxmlformats.org/officeDocument/2006/relationships/notesMaster" Target="../notesMasters/notesMaster1.xml"/></Relationships>
</file>

<file path=ppt/notesSlides/_rels/notesSlide493.xml.rels><?xml version="1.0" encoding="UTF-8" standalone="yes"?>
<Relationships xmlns="http://schemas.openxmlformats.org/package/2006/relationships"><Relationship Id="rId2" Type="http://schemas.openxmlformats.org/officeDocument/2006/relationships/slide" Target="../slides/slide898.xml"/><Relationship Id="rId1" Type="http://schemas.openxmlformats.org/officeDocument/2006/relationships/notesMaster" Target="../notesMasters/notesMaster1.xml"/></Relationships>
</file>

<file path=ppt/notesSlides/_rels/notesSlide494.xml.rels><?xml version="1.0" encoding="UTF-8" standalone="yes"?>
<Relationships xmlns="http://schemas.openxmlformats.org/package/2006/relationships"><Relationship Id="rId2" Type="http://schemas.openxmlformats.org/officeDocument/2006/relationships/slide" Target="../slides/slide899.xml"/><Relationship Id="rId1" Type="http://schemas.openxmlformats.org/officeDocument/2006/relationships/notesMaster" Target="../notesMasters/notesMaster1.xml"/></Relationships>
</file>

<file path=ppt/notesSlides/_rels/notesSlide495.xml.rels><?xml version="1.0" encoding="UTF-8" standalone="yes"?>
<Relationships xmlns="http://schemas.openxmlformats.org/package/2006/relationships"><Relationship Id="rId2" Type="http://schemas.openxmlformats.org/officeDocument/2006/relationships/slide" Target="../slides/slide900.xml"/><Relationship Id="rId1" Type="http://schemas.openxmlformats.org/officeDocument/2006/relationships/notesMaster" Target="../notesMasters/notesMaster1.xml"/></Relationships>
</file>

<file path=ppt/notesSlides/_rels/notesSlide496.xml.rels><?xml version="1.0" encoding="UTF-8" standalone="yes"?>
<Relationships xmlns="http://schemas.openxmlformats.org/package/2006/relationships"><Relationship Id="rId2" Type="http://schemas.openxmlformats.org/officeDocument/2006/relationships/slide" Target="../slides/slide901.xml"/><Relationship Id="rId1" Type="http://schemas.openxmlformats.org/officeDocument/2006/relationships/notesMaster" Target="../notesMasters/notesMaster1.xml"/></Relationships>
</file>

<file path=ppt/notesSlides/_rels/notesSlide497.xml.rels><?xml version="1.0" encoding="UTF-8" standalone="yes"?>
<Relationships xmlns="http://schemas.openxmlformats.org/package/2006/relationships"><Relationship Id="rId2" Type="http://schemas.openxmlformats.org/officeDocument/2006/relationships/slide" Target="../slides/slide902.xml"/><Relationship Id="rId1" Type="http://schemas.openxmlformats.org/officeDocument/2006/relationships/notesMaster" Target="../notesMasters/notesMaster1.xml"/></Relationships>
</file>

<file path=ppt/notesSlides/_rels/notesSlide498.xml.rels><?xml version="1.0" encoding="UTF-8" standalone="yes"?>
<Relationships xmlns="http://schemas.openxmlformats.org/package/2006/relationships"><Relationship Id="rId2" Type="http://schemas.openxmlformats.org/officeDocument/2006/relationships/slide" Target="../slides/slide903.xml"/><Relationship Id="rId1" Type="http://schemas.openxmlformats.org/officeDocument/2006/relationships/notesMaster" Target="../notesMasters/notesMaster1.xml"/></Relationships>
</file>

<file path=ppt/notesSlides/_rels/notesSlide499.xml.rels><?xml version="1.0" encoding="UTF-8" standalone="yes"?>
<Relationships xmlns="http://schemas.openxmlformats.org/package/2006/relationships"><Relationship Id="rId2" Type="http://schemas.openxmlformats.org/officeDocument/2006/relationships/slide" Target="../slides/slide90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00.xml.rels><?xml version="1.0" encoding="UTF-8" standalone="yes"?>
<Relationships xmlns="http://schemas.openxmlformats.org/package/2006/relationships"><Relationship Id="rId2" Type="http://schemas.openxmlformats.org/officeDocument/2006/relationships/slide" Target="../slides/slide90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0941075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42771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56499719"/>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09817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688146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270945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837920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15296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03419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044431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130463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2898284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784137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163276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3117318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905287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077200" y="4972050"/>
            <a:ext cx="562799" cy="171450"/>
          </a:xfrm>
          <a:prstGeom prst="rect">
            <a:avLst/>
          </a:prstGeom>
        </p:spPr>
        <p:txBody>
          <a:bodyPr/>
          <a:lstStyle>
            <a:lvl1pPr>
              <a:defRPr/>
            </a:lvl1pPr>
          </a:lstStyle>
          <a:p>
            <a:r>
              <a:rPr lang="en-US" dirty="0"/>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0236445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r>
              <a:rPr lang="en-US"/>
              <a:t>14/01/2024</a:t>
            </a:r>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069114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24740038"/>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4066354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32520702"/>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3587202"/>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r>
              <a:rPr lang="en-US"/>
              <a:t>14/01/2024</a:t>
            </a:r>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4285317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5776292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spTree>
    <p:extLst>
      <p:ext uri="{BB962C8B-B14F-4D97-AF65-F5344CB8AC3E}">
        <p14:creationId xmlns:p14="http://schemas.microsoft.com/office/powerpoint/2010/main" val="4001983691"/>
      </p:ext>
    </p:extLst>
  </p:cSld>
  <p:clrMap bg1="lt1" tx1="dk1" bg2="lt2" tx2="dk2" accent1="accent1" accent2="accent2" accent3="accent3" accent4="accent4" accent5="accent5" accent6="accent6" hlink="hlink" folHlink="folHlink"/>
  <p:sldLayoutIdLst>
    <p:sldLayoutId id="2147483947"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 id="2147483961" r:id="rId12"/>
    <p:sldLayoutId id="2147483962" r:id="rId13"/>
    <p:sldLayoutId id="2147483963" r:id="rId14"/>
    <p:sldLayoutId id="2147483964" r:id="rId15"/>
    <p:sldLayoutId id="2147483965" r:id="rId16"/>
    <p:sldLayoutId id="2147483966" r:id="rId17"/>
    <p:sldLayoutId id="2147483967" r:id="rId18"/>
    <p:sldLayoutId id="2147483968" r:id="rId19"/>
    <p:sldLayoutId id="2147483969" r:id="rId20"/>
    <p:sldLayoutId id="2147483970" r:id="rId21"/>
    <p:sldLayoutId id="2147483971" r:id="rId22"/>
    <p:sldLayoutId id="2147484006" r:id="rId23"/>
    <p:sldLayoutId id="2147484007"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0.xml"/></Relationships>
</file>

<file path=ppt/slides/_rels/slide100.xml.rels><?xml version="1.0" encoding="UTF-8" standalone="yes"?>
<Relationships xmlns="http://schemas.openxmlformats.org/package/2006/relationships"><Relationship Id="rId8" Type="http://schemas.openxmlformats.org/officeDocument/2006/relationships/chart" Target="../charts/chart116.xml"/><Relationship Id="rId3" Type="http://schemas.openxmlformats.org/officeDocument/2006/relationships/notesSlide" Target="../notesSlides/notesSlide100.xml"/><Relationship Id="rId7" Type="http://schemas.openxmlformats.org/officeDocument/2006/relationships/chart" Target="../charts/chart115.xml"/><Relationship Id="rId2" Type="http://schemas.openxmlformats.org/officeDocument/2006/relationships/slideLayout" Target="../slideLayouts/slideLayout7.xml"/><Relationship Id="rId1" Type="http://schemas.openxmlformats.org/officeDocument/2006/relationships/tags" Target="../tags/tag127.xml"/><Relationship Id="rId6" Type="http://schemas.openxmlformats.org/officeDocument/2006/relationships/chart" Target="../charts/chart1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1.xml.rels><?xml version="1.0" encoding="UTF-8" standalone="yes"?>
<Relationships xmlns="http://schemas.openxmlformats.org/package/2006/relationships"><Relationship Id="rId8" Type="http://schemas.openxmlformats.org/officeDocument/2006/relationships/chart" Target="../charts/chart119.xml"/><Relationship Id="rId3" Type="http://schemas.openxmlformats.org/officeDocument/2006/relationships/notesSlide" Target="../notesSlides/notesSlide101.xml"/><Relationship Id="rId7" Type="http://schemas.openxmlformats.org/officeDocument/2006/relationships/chart" Target="../charts/chart118.xml"/><Relationship Id="rId2" Type="http://schemas.openxmlformats.org/officeDocument/2006/relationships/slideLayout" Target="../slideLayouts/slideLayout7.xml"/><Relationship Id="rId1" Type="http://schemas.openxmlformats.org/officeDocument/2006/relationships/tags" Target="../tags/tag128.xml"/><Relationship Id="rId6" Type="http://schemas.openxmlformats.org/officeDocument/2006/relationships/chart" Target="../charts/chart1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2.xml.rels><?xml version="1.0" encoding="UTF-8" standalone="yes"?>
<Relationships xmlns="http://schemas.openxmlformats.org/package/2006/relationships"><Relationship Id="rId8" Type="http://schemas.openxmlformats.org/officeDocument/2006/relationships/chart" Target="../charts/chart122.xml"/><Relationship Id="rId3" Type="http://schemas.openxmlformats.org/officeDocument/2006/relationships/notesSlide" Target="../notesSlides/notesSlide102.xml"/><Relationship Id="rId7" Type="http://schemas.openxmlformats.org/officeDocument/2006/relationships/chart" Target="../charts/chart121.xml"/><Relationship Id="rId2" Type="http://schemas.openxmlformats.org/officeDocument/2006/relationships/slideLayout" Target="../slideLayouts/slideLayout7.xml"/><Relationship Id="rId1" Type="http://schemas.openxmlformats.org/officeDocument/2006/relationships/tags" Target="../tags/tag129.xml"/><Relationship Id="rId6" Type="http://schemas.openxmlformats.org/officeDocument/2006/relationships/chart" Target="../charts/chart1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3.xml.rels><?xml version="1.0" encoding="UTF-8" standalone="yes"?>
<Relationships xmlns="http://schemas.openxmlformats.org/package/2006/relationships"><Relationship Id="rId8" Type="http://schemas.openxmlformats.org/officeDocument/2006/relationships/chart" Target="../charts/chart125.xml"/><Relationship Id="rId3" Type="http://schemas.openxmlformats.org/officeDocument/2006/relationships/notesSlide" Target="../notesSlides/notesSlide103.xml"/><Relationship Id="rId7" Type="http://schemas.openxmlformats.org/officeDocument/2006/relationships/chart" Target="../charts/chart124.xml"/><Relationship Id="rId2" Type="http://schemas.openxmlformats.org/officeDocument/2006/relationships/slideLayout" Target="../slideLayouts/slideLayout7.xml"/><Relationship Id="rId1" Type="http://schemas.openxmlformats.org/officeDocument/2006/relationships/tags" Target="../tags/tag130.xml"/><Relationship Id="rId6" Type="http://schemas.openxmlformats.org/officeDocument/2006/relationships/chart" Target="../charts/chart1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4.xml.rels><?xml version="1.0" encoding="UTF-8" standalone="yes"?>
<Relationships xmlns="http://schemas.openxmlformats.org/package/2006/relationships"><Relationship Id="rId8" Type="http://schemas.openxmlformats.org/officeDocument/2006/relationships/chart" Target="../charts/chart128.xml"/><Relationship Id="rId3" Type="http://schemas.openxmlformats.org/officeDocument/2006/relationships/notesSlide" Target="../notesSlides/notesSlide104.xml"/><Relationship Id="rId7" Type="http://schemas.openxmlformats.org/officeDocument/2006/relationships/chart" Target="../charts/chart127.xml"/><Relationship Id="rId2" Type="http://schemas.openxmlformats.org/officeDocument/2006/relationships/slideLayout" Target="../slideLayouts/slideLayout7.xml"/><Relationship Id="rId1" Type="http://schemas.openxmlformats.org/officeDocument/2006/relationships/tags" Target="../tags/tag131.xml"/><Relationship Id="rId6" Type="http://schemas.openxmlformats.org/officeDocument/2006/relationships/chart" Target="../charts/chart1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5.xml.rels><?xml version="1.0" encoding="UTF-8" standalone="yes"?>
<Relationships xmlns="http://schemas.openxmlformats.org/package/2006/relationships"><Relationship Id="rId8" Type="http://schemas.openxmlformats.org/officeDocument/2006/relationships/chart" Target="../charts/chart131.xml"/><Relationship Id="rId3" Type="http://schemas.openxmlformats.org/officeDocument/2006/relationships/notesSlide" Target="../notesSlides/notesSlide105.xml"/><Relationship Id="rId7" Type="http://schemas.openxmlformats.org/officeDocument/2006/relationships/chart" Target="../charts/chart130.xml"/><Relationship Id="rId2" Type="http://schemas.openxmlformats.org/officeDocument/2006/relationships/slideLayout" Target="../slideLayouts/slideLayout7.xml"/><Relationship Id="rId1" Type="http://schemas.openxmlformats.org/officeDocument/2006/relationships/tags" Target="../tags/tag132.xml"/><Relationship Id="rId6" Type="http://schemas.openxmlformats.org/officeDocument/2006/relationships/chart" Target="../charts/chart1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6.xml.rels><?xml version="1.0" encoding="UTF-8" standalone="yes"?>
<Relationships xmlns="http://schemas.openxmlformats.org/package/2006/relationships"><Relationship Id="rId8" Type="http://schemas.openxmlformats.org/officeDocument/2006/relationships/chart" Target="../charts/chart134.xml"/><Relationship Id="rId3" Type="http://schemas.openxmlformats.org/officeDocument/2006/relationships/notesSlide" Target="../notesSlides/notesSlide106.xml"/><Relationship Id="rId7" Type="http://schemas.openxmlformats.org/officeDocument/2006/relationships/chart" Target="../charts/chart133.xml"/><Relationship Id="rId2" Type="http://schemas.openxmlformats.org/officeDocument/2006/relationships/slideLayout" Target="../slideLayouts/slideLayout7.xml"/><Relationship Id="rId1" Type="http://schemas.openxmlformats.org/officeDocument/2006/relationships/tags" Target="../tags/tag133.xml"/><Relationship Id="rId6" Type="http://schemas.openxmlformats.org/officeDocument/2006/relationships/chart" Target="../charts/chart1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7.xml.rels><?xml version="1.0" encoding="UTF-8" standalone="yes"?>
<Relationships xmlns="http://schemas.openxmlformats.org/package/2006/relationships"><Relationship Id="rId8" Type="http://schemas.openxmlformats.org/officeDocument/2006/relationships/chart" Target="../charts/chart137.xml"/><Relationship Id="rId3" Type="http://schemas.openxmlformats.org/officeDocument/2006/relationships/notesSlide" Target="../notesSlides/notesSlide107.xml"/><Relationship Id="rId7" Type="http://schemas.openxmlformats.org/officeDocument/2006/relationships/chart" Target="../charts/chart136.xml"/><Relationship Id="rId2" Type="http://schemas.openxmlformats.org/officeDocument/2006/relationships/slideLayout" Target="../slideLayouts/slideLayout7.xml"/><Relationship Id="rId1" Type="http://schemas.openxmlformats.org/officeDocument/2006/relationships/tags" Target="../tags/tag134.xml"/><Relationship Id="rId6" Type="http://schemas.openxmlformats.org/officeDocument/2006/relationships/chart" Target="../charts/chart1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8.xml.rels><?xml version="1.0" encoding="UTF-8" standalone="yes"?>
<Relationships xmlns="http://schemas.openxmlformats.org/package/2006/relationships"><Relationship Id="rId8" Type="http://schemas.openxmlformats.org/officeDocument/2006/relationships/chart" Target="../charts/chart140.xml"/><Relationship Id="rId3" Type="http://schemas.openxmlformats.org/officeDocument/2006/relationships/notesSlide" Target="../notesSlides/notesSlide108.xml"/><Relationship Id="rId7" Type="http://schemas.openxmlformats.org/officeDocument/2006/relationships/chart" Target="../charts/chart139.xml"/><Relationship Id="rId2" Type="http://schemas.openxmlformats.org/officeDocument/2006/relationships/slideLayout" Target="../slideLayouts/slideLayout7.xml"/><Relationship Id="rId1" Type="http://schemas.openxmlformats.org/officeDocument/2006/relationships/tags" Target="../tags/tag135.xml"/><Relationship Id="rId6" Type="http://schemas.openxmlformats.org/officeDocument/2006/relationships/chart" Target="../charts/chart13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9.xml.rels><?xml version="1.0" encoding="UTF-8" standalone="yes"?>
<Relationships xmlns="http://schemas.openxmlformats.org/package/2006/relationships"><Relationship Id="rId8" Type="http://schemas.openxmlformats.org/officeDocument/2006/relationships/chart" Target="../charts/chart143.xml"/><Relationship Id="rId3" Type="http://schemas.openxmlformats.org/officeDocument/2006/relationships/notesSlide" Target="../notesSlides/notesSlide109.xml"/><Relationship Id="rId7" Type="http://schemas.openxmlformats.org/officeDocument/2006/relationships/chart" Target="../charts/chart142.xml"/><Relationship Id="rId2" Type="http://schemas.openxmlformats.org/officeDocument/2006/relationships/slideLayout" Target="../slideLayouts/slideLayout7.xml"/><Relationship Id="rId1" Type="http://schemas.openxmlformats.org/officeDocument/2006/relationships/tags" Target="../tags/tag136.xml"/><Relationship Id="rId6" Type="http://schemas.openxmlformats.org/officeDocument/2006/relationships/chart" Target="../charts/chart1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1.xml"/></Relationships>
</file>

<file path=ppt/slides/_rels/slide110.xml.rels><?xml version="1.0" encoding="UTF-8" standalone="yes"?>
<Relationships xmlns="http://schemas.openxmlformats.org/package/2006/relationships"><Relationship Id="rId8" Type="http://schemas.openxmlformats.org/officeDocument/2006/relationships/chart" Target="../charts/chart146.xml"/><Relationship Id="rId3" Type="http://schemas.openxmlformats.org/officeDocument/2006/relationships/notesSlide" Target="../notesSlides/notesSlide110.xml"/><Relationship Id="rId7" Type="http://schemas.openxmlformats.org/officeDocument/2006/relationships/chart" Target="../charts/chart145.xml"/><Relationship Id="rId2" Type="http://schemas.openxmlformats.org/officeDocument/2006/relationships/slideLayout" Target="../slideLayouts/slideLayout7.xml"/><Relationship Id="rId1" Type="http://schemas.openxmlformats.org/officeDocument/2006/relationships/tags" Target="../tags/tag137.xml"/><Relationship Id="rId6" Type="http://schemas.openxmlformats.org/officeDocument/2006/relationships/chart" Target="../charts/chart14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1.xml.rels><?xml version="1.0" encoding="UTF-8" standalone="yes"?>
<Relationships xmlns="http://schemas.openxmlformats.org/package/2006/relationships"><Relationship Id="rId8" Type="http://schemas.openxmlformats.org/officeDocument/2006/relationships/chart" Target="../charts/chart149.xml"/><Relationship Id="rId3" Type="http://schemas.openxmlformats.org/officeDocument/2006/relationships/notesSlide" Target="../notesSlides/notesSlide111.xml"/><Relationship Id="rId7" Type="http://schemas.openxmlformats.org/officeDocument/2006/relationships/chart" Target="../charts/chart148.xml"/><Relationship Id="rId2" Type="http://schemas.openxmlformats.org/officeDocument/2006/relationships/slideLayout" Target="../slideLayouts/slideLayout7.xml"/><Relationship Id="rId1" Type="http://schemas.openxmlformats.org/officeDocument/2006/relationships/tags" Target="../tags/tag138.xml"/><Relationship Id="rId6" Type="http://schemas.openxmlformats.org/officeDocument/2006/relationships/chart" Target="../charts/chart1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2.xml.rels><?xml version="1.0" encoding="UTF-8" standalone="yes"?>
<Relationships xmlns="http://schemas.openxmlformats.org/package/2006/relationships"><Relationship Id="rId8" Type="http://schemas.openxmlformats.org/officeDocument/2006/relationships/chart" Target="../charts/chart152.xml"/><Relationship Id="rId3" Type="http://schemas.openxmlformats.org/officeDocument/2006/relationships/notesSlide" Target="../notesSlides/notesSlide112.xml"/><Relationship Id="rId7" Type="http://schemas.openxmlformats.org/officeDocument/2006/relationships/chart" Target="../charts/chart151.xml"/><Relationship Id="rId2" Type="http://schemas.openxmlformats.org/officeDocument/2006/relationships/slideLayout" Target="../slideLayouts/slideLayout7.xml"/><Relationship Id="rId1" Type="http://schemas.openxmlformats.org/officeDocument/2006/relationships/tags" Target="../tags/tag139.xml"/><Relationship Id="rId6" Type="http://schemas.openxmlformats.org/officeDocument/2006/relationships/chart" Target="../charts/chart15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3.xml.rels><?xml version="1.0" encoding="UTF-8" standalone="yes"?>
<Relationships xmlns="http://schemas.openxmlformats.org/package/2006/relationships"><Relationship Id="rId8" Type="http://schemas.openxmlformats.org/officeDocument/2006/relationships/chart" Target="../charts/chart155.xml"/><Relationship Id="rId3" Type="http://schemas.openxmlformats.org/officeDocument/2006/relationships/notesSlide" Target="../notesSlides/notesSlide113.xml"/><Relationship Id="rId7" Type="http://schemas.openxmlformats.org/officeDocument/2006/relationships/chart" Target="../charts/chart154.xml"/><Relationship Id="rId2" Type="http://schemas.openxmlformats.org/officeDocument/2006/relationships/slideLayout" Target="../slideLayouts/slideLayout7.xml"/><Relationship Id="rId1" Type="http://schemas.openxmlformats.org/officeDocument/2006/relationships/tags" Target="../tags/tag140.xml"/><Relationship Id="rId6" Type="http://schemas.openxmlformats.org/officeDocument/2006/relationships/chart" Target="../charts/chart1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4.xml.rels><?xml version="1.0" encoding="UTF-8" standalone="yes"?>
<Relationships xmlns="http://schemas.openxmlformats.org/package/2006/relationships"><Relationship Id="rId8" Type="http://schemas.openxmlformats.org/officeDocument/2006/relationships/chart" Target="../charts/chart158.xml"/><Relationship Id="rId3" Type="http://schemas.openxmlformats.org/officeDocument/2006/relationships/notesSlide" Target="../notesSlides/notesSlide114.xml"/><Relationship Id="rId7" Type="http://schemas.openxmlformats.org/officeDocument/2006/relationships/chart" Target="../charts/chart157.xml"/><Relationship Id="rId2" Type="http://schemas.openxmlformats.org/officeDocument/2006/relationships/slideLayout" Target="../slideLayouts/slideLayout7.xml"/><Relationship Id="rId1" Type="http://schemas.openxmlformats.org/officeDocument/2006/relationships/tags" Target="../tags/tag141.xml"/><Relationship Id="rId6" Type="http://schemas.openxmlformats.org/officeDocument/2006/relationships/chart" Target="../charts/chart15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5.xml.rels><?xml version="1.0" encoding="UTF-8" standalone="yes"?>
<Relationships xmlns="http://schemas.openxmlformats.org/package/2006/relationships"><Relationship Id="rId8" Type="http://schemas.openxmlformats.org/officeDocument/2006/relationships/chart" Target="../charts/chart161.xml"/><Relationship Id="rId3" Type="http://schemas.openxmlformats.org/officeDocument/2006/relationships/notesSlide" Target="../notesSlides/notesSlide115.xml"/><Relationship Id="rId7" Type="http://schemas.openxmlformats.org/officeDocument/2006/relationships/chart" Target="../charts/chart160.xml"/><Relationship Id="rId2" Type="http://schemas.openxmlformats.org/officeDocument/2006/relationships/slideLayout" Target="../slideLayouts/slideLayout7.xml"/><Relationship Id="rId1" Type="http://schemas.openxmlformats.org/officeDocument/2006/relationships/tags" Target="../tags/tag142.xml"/><Relationship Id="rId6" Type="http://schemas.openxmlformats.org/officeDocument/2006/relationships/chart" Target="../charts/chart1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6.xml.rels><?xml version="1.0" encoding="UTF-8" standalone="yes"?>
<Relationships xmlns="http://schemas.openxmlformats.org/package/2006/relationships"><Relationship Id="rId8" Type="http://schemas.openxmlformats.org/officeDocument/2006/relationships/chart" Target="../charts/chart164.xml"/><Relationship Id="rId3" Type="http://schemas.openxmlformats.org/officeDocument/2006/relationships/notesSlide" Target="../notesSlides/notesSlide116.xml"/><Relationship Id="rId7" Type="http://schemas.openxmlformats.org/officeDocument/2006/relationships/chart" Target="../charts/chart163.xml"/><Relationship Id="rId2" Type="http://schemas.openxmlformats.org/officeDocument/2006/relationships/slideLayout" Target="../slideLayouts/slideLayout7.xml"/><Relationship Id="rId1" Type="http://schemas.openxmlformats.org/officeDocument/2006/relationships/tags" Target="../tags/tag143.xml"/><Relationship Id="rId6" Type="http://schemas.openxmlformats.org/officeDocument/2006/relationships/chart" Target="../charts/chart16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7.xml.rels><?xml version="1.0" encoding="UTF-8" standalone="yes"?>
<Relationships xmlns="http://schemas.openxmlformats.org/package/2006/relationships"><Relationship Id="rId8" Type="http://schemas.openxmlformats.org/officeDocument/2006/relationships/chart" Target="../charts/chart167.xml"/><Relationship Id="rId3" Type="http://schemas.openxmlformats.org/officeDocument/2006/relationships/notesSlide" Target="../notesSlides/notesSlide117.xml"/><Relationship Id="rId7" Type="http://schemas.openxmlformats.org/officeDocument/2006/relationships/chart" Target="../charts/chart166.xml"/><Relationship Id="rId2" Type="http://schemas.openxmlformats.org/officeDocument/2006/relationships/slideLayout" Target="../slideLayouts/slideLayout7.xml"/><Relationship Id="rId1" Type="http://schemas.openxmlformats.org/officeDocument/2006/relationships/tags" Target="../tags/tag144.xml"/><Relationship Id="rId6" Type="http://schemas.openxmlformats.org/officeDocument/2006/relationships/chart" Target="../charts/chart1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8.xml.rels><?xml version="1.0" encoding="UTF-8" standalone="yes"?>
<Relationships xmlns="http://schemas.openxmlformats.org/package/2006/relationships"><Relationship Id="rId8" Type="http://schemas.openxmlformats.org/officeDocument/2006/relationships/chart" Target="../charts/chart170.xml"/><Relationship Id="rId3" Type="http://schemas.openxmlformats.org/officeDocument/2006/relationships/notesSlide" Target="../notesSlides/notesSlide118.xml"/><Relationship Id="rId7" Type="http://schemas.openxmlformats.org/officeDocument/2006/relationships/chart" Target="../charts/chart169.xml"/><Relationship Id="rId2" Type="http://schemas.openxmlformats.org/officeDocument/2006/relationships/slideLayout" Target="../slideLayouts/slideLayout7.xml"/><Relationship Id="rId1" Type="http://schemas.openxmlformats.org/officeDocument/2006/relationships/tags" Target="../tags/tag145.xml"/><Relationship Id="rId6" Type="http://schemas.openxmlformats.org/officeDocument/2006/relationships/chart" Target="../charts/chart16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9.xml.rels><?xml version="1.0" encoding="UTF-8" standalone="yes"?>
<Relationships xmlns="http://schemas.openxmlformats.org/package/2006/relationships"><Relationship Id="rId8" Type="http://schemas.openxmlformats.org/officeDocument/2006/relationships/chart" Target="../charts/chart173.xml"/><Relationship Id="rId3" Type="http://schemas.openxmlformats.org/officeDocument/2006/relationships/notesSlide" Target="../notesSlides/notesSlide119.xml"/><Relationship Id="rId7" Type="http://schemas.openxmlformats.org/officeDocument/2006/relationships/chart" Target="../charts/chart172.xml"/><Relationship Id="rId2" Type="http://schemas.openxmlformats.org/officeDocument/2006/relationships/slideLayout" Target="../slideLayouts/slideLayout7.xml"/><Relationship Id="rId1" Type="http://schemas.openxmlformats.org/officeDocument/2006/relationships/tags" Target="../tags/tag146.xml"/><Relationship Id="rId6" Type="http://schemas.openxmlformats.org/officeDocument/2006/relationships/chart" Target="../charts/chart1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2.xml"/></Relationships>
</file>

<file path=ppt/slides/_rels/slide120.xml.rels><?xml version="1.0" encoding="UTF-8" standalone="yes"?>
<Relationships xmlns="http://schemas.openxmlformats.org/package/2006/relationships"><Relationship Id="rId8" Type="http://schemas.openxmlformats.org/officeDocument/2006/relationships/chart" Target="../charts/chart176.xml"/><Relationship Id="rId3" Type="http://schemas.openxmlformats.org/officeDocument/2006/relationships/notesSlide" Target="../notesSlides/notesSlide120.xml"/><Relationship Id="rId7" Type="http://schemas.openxmlformats.org/officeDocument/2006/relationships/chart" Target="../charts/chart175.xml"/><Relationship Id="rId2" Type="http://schemas.openxmlformats.org/officeDocument/2006/relationships/slideLayout" Target="../slideLayouts/slideLayout7.xml"/><Relationship Id="rId1" Type="http://schemas.openxmlformats.org/officeDocument/2006/relationships/tags" Target="../tags/tag147.xml"/><Relationship Id="rId6" Type="http://schemas.openxmlformats.org/officeDocument/2006/relationships/chart" Target="../charts/chart17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1.xml.rels><?xml version="1.0" encoding="UTF-8" standalone="yes"?>
<Relationships xmlns="http://schemas.openxmlformats.org/package/2006/relationships"><Relationship Id="rId8" Type="http://schemas.openxmlformats.org/officeDocument/2006/relationships/chart" Target="../charts/chart179.xml"/><Relationship Id="rId3" Type="http://schemas.openxmlformats.org/officeDocument/2006/relationships/notesSlide" Target="../notesSlides/notesSlide121.xml"/><Relationship Id="rId7" Type="http://schemas.openxmlformats.org/officeDocument/2006/relationships/chart" Target="../charts/chart178.xml"/><Relationship Id="rId2" Type="http://schemas.openxmlformats.org/officeDocument/2006/relationships/slideLayout" Target="../slideLayouts/slideLayout7.xml"/><Relationship Id="rId1" Type="http://schemas.openxmlformats.org/officeDocument/2006/relationships/tags" Target="../tags/tag148.xml"/><Relationship Id="rId6" Type="http://schemas.openxmlformats.org/officeDocument/2006/relationships/chart" Target="../charts/chart1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2.xml.rels><?xml version="1.0" encoding="UTF-8" standalone="yes"?>
<Relationships xmlns="http://schemas.openxmlformats.org/package/2006/relationships"><Relationship Id="rId8" Type="http://schemas.openxmlformats.org/officeDocument/2006/relationships/chart" Target="../charts/chart182.xml"/><Relationship Id="rId3" Type="http://schemas.openxmlformats.org/officeDocument/2006/relationships/notesSlide" Target="../notesSlides/notesSlide122.xml"/><Relationship Id="rId7" Type="http://schemas.openxmlformats.org/officeDocument/2006/relationships/chart" Target="../charts/chart181.xml"/><Relationship Id="rId2" Type="http://schemas.openxmlformats.org/officeDocument/2006/relationships/slideLayout" Target="../slideLayouts/slideLayout7.xml"/><Relationship Id="rId1" Type="http://schemas.openxmlformats.org/officeDocument/2006/relationships/tags" Target="../tags/tag149.xml"/><Relationship Id="rId6" Type="http://schemas.openxmlformats.org/officeDocument/2006/relationships/chart" Target="../charts/chart18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3.xml.rels><?xml version="1.0" encoding="UTF-8" standalone="yes"?>
<Relationships xmlns="http://schemas.openxmlformats.org/package/2006/relationships"><Relationship Id="rId8" Type="http://schemas.openxmlformats.org/officeDocument/2006/relationships/chart" Target="../charts/chart185.xml"/><Relationship Id="rId3" Type="http://schemas.openxmlformats.org/officeDocument/2006/relationships/notesSlide" Target="../notesSlides/notesSlide123.xml"/><Relationship Id="rId7" Type="http://schemas.openxmlformats.org/officeDocument/2006/relationships/chart" Target="../charts/chart184.xml"/><Relationship Id="rId2" Type="http://schemas.openxmlformats.org/officeDocument/2006/relationships/slideLayout" Target="../slideLayouts/slideLayout7.xml"/><Relationship Id="rId1" Type="http://schemas.openxmlformats.org/officeDocument/2006/relationships/tags" Target="../tags/tag150.xml"/><Relationship Id="rId6" Type="http://schemas.openxmlformats.org/officeDocument/2006/relationships/chart" Target="../charts/chart1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4.xml.rels><?xml version="1.0" encoding="UTF-8" standalone="yes"?>
<Relationships xmlns="http://schemas.openxmlformats.org/package/2006/relationships"><Relationship Id="rId8" Type="http://schemas.openxmlformats.org/officeDocument/2006/relationships/chart" Target="../charts/chart188.xml"/><Relationship Id="rId3" Type="http://schemas.openxmlformats.org/officeDocument/2006/relationships/notesSlide" Target="../notesSlides/notesSlide124.xml"/><Relationship Id="rId7" Type="http://schemas.openxmlformats.org/officeDocument/2006/relationships/chart" Target="../charts/chart187.xml"/><Relationship Id="rId2" Type="http://schemas.openxmlformats.org/officeDocument/2006/relationships/slideLayout" Target="../slideLayouts/slideLayout7.xml"/><Relationship Id="rId1" Type="http://schemas.openxmlformats.org/officeDocument/2006/relationships/tags" Target="../tags/tag151.xml"/><Relationship Id="rId6" Type="http://schemas.openxmlformats.org/officeDocument/2006/relationships/chart" Target="../charts/chart18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5.xml.rels><?xml version="1.0" encoding="UTF-8" standalone="yes"?>
<Relationships xmlns="http://schemas.openxmlformats.org/package/2006/relationships"><Relationship Id="rId3" Type="http://schemas.openxmlformats.org/officeDocument/2006/relationships/notesSlide" Target="../notesSlides/notesSlide125.xml"/><Relationship Id="rId2" Type="http://schemas.openxmlformats.org/officeDocument/2006/relationships/slideLayout" Target="../slideLayouts/slideLayout7.xml"/><Relationship Id="rId1" Type="http://schemas.openxmlformats.org/officeDocument/2006/relationships/tags" Target="../tags/tag15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6.xml.rels><?xml version="1.0" encoding="UTF-8" standalone="yes"?>
<Relationships xmlns="http://schemas.openxmlformats.org/package/2006/relationships"><Relationship Id="rId3" Type="http://schemas.openxmlformats.org/officeDocument/2006/relationships/notesSlide" Target="../notesSlides/notesSlide126.xml"/><Relationship Id="rId2" Type="http://schemas.openxmlformats.org/officeDocument/2006/relationships/slideLayout" Target="../slideLayouts/slideLayout7.xml"/><Relationship Id="rId1" Type="http://schemas.openxmlformats.org/officeDocument/2006/relationships/tags" Target="../tags/tag1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7.xml.rels><?xml version="1.0" encoding="UTF-8" standalone="yes"?>
<Relationships xmlns="http://schemas.openxmlformats.org/package/2006/relationships"><Relationship Id="rId3" Type="http://schemas.openxmlformats.org/officeDocument/2006/relationships/notesSlide" Target="../notesSlides/notesSlide127.xml"/><Relationship Id="rId2" Type="http://schemas.openxmlformats.org/officeDocument/2006/relationships/slideLayout" Target="../slideLayouts/slideLayout7.xml"/><Relationship Id="rId1" Type="http://schemas.openxmlformats.org/officeDocument/2006/relationships/tags" Target="../tags/tag15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8.xml.rels><?xml version="1.0" encoding="UTF-8" standalone="yes"?>
<Relationships xmlns="http://schemas.openxmlformats.org/package/2006/relationships"><Relationship Id="rId3" Type="http://schemas.openxmlformats.org/officeDocument/2006/relationships/notesSlide" Target="../notesSlides/notesSlide128.xml"/><Relationship Id="rId2" Type="http://schemas.openxmlformats.org/officeDocument/2006/relationships/slideLayout" Target="../slideLayouts/slideLayout7.xml"/><Relationship Id="rId1" Type="http://schemas.openxmlformats.org/officeDocument/2006/relationships/tags" Target="../tags/tag1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9.xml.rels><?xml version="1.0" encoding="UTF-8" standalone="yes"?>
<Relationships xmlns="http://schemas.openxmlformats.org/package/2006/relationships"><Relationship Id="rId3" Type="http://schemas.openxmlformats.org/officeDocument/2006/relationships/notesSlide" Target="../notesSlides/notesSlide129.xml"/><Relationship Id="rId2" Type="http://schemas.openxmlformats.org/officeDocument/2006/relationships/slideLayout" Target="../slideLayouts/slideLayout7.xml"/><Relationship Id="rId1" Type="http://schemas.openxmlformats.org/officeDocument/2006/relationships/tags" Target="../tags/tag15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3.xml"/></Relationships>
</file>

<file path=ppt/slides/_rels/slide130.xml.rels><?xml version="1.0" encoding="UTF-8" standalone="yes"?>
<Relationships xmlns="http://schemas.openxmlformats.org/package/2006/relationships"><Relationship Id="rId3" Type="http://schemas.openxmlformats.org/officeDocument/2006/relationships/notesSlide" Target="../notesSlides/notesSlide130.xml"/><Relationship Id="rId2" Type="http://schemas.openxmlformats.org/officeDocument/2006/relationships/slideLayout" Target="../slideLayouts/slideLayout7.xml"/><Relationship Id="rId1" Type="http://schemas.openxmlformats.org/officeDocument/2006/relationships/tags" Target="../tags/tag1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1.xml.rels><?xml version="1.0" encoding="UTF-8" standalone="yes"?>
<Relationships xmlns="http://schemas.openxmlformats.org/package/2006/relationships"><Relationship Id="rId3" Type="http://schemas.openxmlformats.org/officeDocument/2006/relationships/notesSlide" Target="../notesSlides/notesSlide131.xml"/><Relationship Id="rId2" Type="http://schemas.openxmlformats.org/officeDocument/2006/relationships/slideLayout" Target="../slideLayouts/slideLayout7.xml"/><Relationship Id="rId1" Type="http://schemas.openxmlformats.org/officeDocument/2006/relationships/tags" Target="../tags/tag15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2.xml.rels><?xml version="1.0" encoding="UTF-8" standalone="yes"?>
<Relationships xmlns="http://schemas.openxmlformats.org/package/2006/relationships"><Relationship Id="rId3" Type="http://schemas.openxmlformats.org/officeDocument/2006/relationships/notesSlide" Target="../notesSlides/notesSlide132.xml"/><Relationship Id="rId2" Type="http://schemas.openxmlformats.org/officeDocument/2006/relationships/slideLayout" Target="../slideLayouts/slideLayout7.xml"/><Relationship Id="rId1" Type="http://schemas.openxmlformats.org/officeDocument/2006/relationships/tags" Target="../tags/tag1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3.xml.rels><?xml version="1.0" encoding="UTF-8" standalone="yes"?>
<Relationships xmlns="http://schemas.openxmlformats.org/package/2006/relationships"><Relationship Id="rId3" Type="http://schemas.openxmlformats.org/officeDocument/2006/relationships/notesSlide" Target="../notesSlides/notesSlide133.xml"/><Relationship Id="rId2" Type="http://schemas.openxmlformats.org/officeDocument/2006/relationships/slideLayout" Target="../slideLayouts/slideLayout7.xml"/><Relationship Id="rId1" Type="http://schemas.openxmlformats.org/officeDocument/2006/relationships/tags" Target="../tags/tag16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4.xml.rels><?xml version="1.0" encoding="UTF-8" standalone="yes"?>
<Relationships xmlns="http://schemas.openxmlformats.org/package/2006/relationships"><Relationship Id="rId3" Type="http://schemas.openxmlformats.org/officeDocument/2006/relationships/notesSlide" Target="../notesSlides/notesSlide134.xml"/><Relationship Id="rId2" Type="http://schemas.openxmlformats.org/officeDocument/2006/relationships/slideLayout" Target="../slideLayouts/slideLayout7.xml"/><Relationship Id="rId1" Type="http://schemas.openxmlformats.org/officeDocument/2006/relationships/tags" Target="../tags/tag1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5.xml.rels><?xml version="1.0" encoding="UTF-8" standalone="yes"?>
<Relationships xmlns="http://schemas.openxmlformats.org/package/2006/relationships"><Relationship Id="rId3" Type="http://schemas.openxmlformats.org/officeDocument/2006/relationships/notesSlide" Target="../notesSlides/notesSlide135.xml"/><Relationship Id="rId2" Type="http://schemas.openxmlformats.org/officeDocument/2006/relationships/slideLayout" Target="../slideLayouts/slideLayout7.xml"/><Relationship Id="rId1" Type="http://schemas.openxmlformats.org/officeDocument/2006/relationships/tags" Target="../tags/tag16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6.xml.rels><?xml version="1.0" encoding="UTF-8" standalone="yes"?>
<Relationships xmlns="http://schemas.openxmlformats.org/package/2006/relationships"><Relationship Id="rId3" Type="http://schemas.openxmlformats.org/officeDocument/2006/relationships/notesSlide" Target="../notesSlides/notesSlide136.xml"/><Relationship Id="rId2" Type="http://schemas.openxmlformats.org/officeDocument/2006/relationships/slideLayout" Target="../slideLayouts/slideLayout7.xml"/><Relationship Id="rId1" Type="http://schemas.openxmlformats.org/officeDocument/2006/relationships/tags" Target="../tags/tag1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7.xml.rels><?xml version="1.0" encoding="UTF-8" standalone="yes"?>
<Relationships xmlns="http://schemas.openxmlformats.org/package/2006/relationships"><Relationship Id="rId3" Type="http://schemas.openxmlformats.org/officeDocument/2006/relationships/notesSlide" Target="../notesSlides/notesSlide137.xml"/><Relationship Id="rId2" Type="http://schemas.openxmlformats.org/officeDocument/2006/relationships/slideLayout" Target="../slideLayouts/slideLayout7.xml"/><Relationship Id="rId1" Type="http://schemas.openxmlformats.org/officeDocument/2006/relationships/tags" Target="../tags/tag16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8.xml.rels><?xml version="1.0" encoding="UTF-8" standalone="yes"?>
<Relationships xmlns="http://schemas.openxmlformats.org/package/2006/relationships"><Relationship Id="rId3" Type="http://schemas.openxmlformats.org/officeDocument/2006/relationships/notesSlide" Target="../notesSlides/notesSlide138.xml"/><Relationship Id="rId2" Type="http://schemas.openxmlformats.org/officeDocument/2006/relationships/slideLayout" Target="../slideLayouts/slideLayout7.xml"/><Relationship Id="rId1" Type="http://schemas.openxmlformats.org/officeDocument/2006/relationships/tags" Target="../tags/tag1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9.xml.rels><?xml version="1.0" encoding="UTF-8" standalone="yes"?>
<Relationships xmlns="http://schemas.openxmlformats.org/package/2006/relationships"><Relationship Id="rId3" Type="http://schemas.openxmlformats.org/officeDocument/2006/relationships/notesSlide" Target="../notesSlides/notesSlide139.xml"/><Relationship Id="rId2" Type="http://schemas.openxmlformats.org/officeDocument/2006/relationships/slideLayout" Target="../slideLayouts/slideLayout7.xml"/><Relationship Id="rId1" Type="http://schemas.openxmlformats.org/officeDocument/2006/relationships/tags" Target="../tags/tag16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4.xml"/></Relationships>
</file>

<file path=ppt/slides/_rels/slide140.xml.rels><?xml version="1.0" encoding="UTF-8" standalone="yes"?>
<Relationships xmlns="http://schemas.openxmlformats.org/package/2006/relationships"><Relationship Id="rId3" Type="http://schemas.openxmlformats.org/officeDocument/2006/relationships/notesSlide" Target="../notesSlides/notesSlide140.xml"/><Relationship Id="rId2" Type="http://schemas.openxmlformats.org/officeDocument/2006/relationships/slideLayout" Target="../slideLayouts/slideLayout7.xml"/><Relationship Id="rId1" Type="http://schemas.openxmlformats.org/officeDocument/2006/relationships/tags" Target="../tags/tag1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1.xml.rels><?xml version="1.0" encoding="UTF-8" standalone="yes"?>
<Relationships xmlns="http://schemas.openxmlformats.org/package/2006/relationships"><Relationship Id="rId3" Type="http://schemas.openxmlformats.org/officeDocument/2006/relationships/notesSlide" Target="../notesSlides/notesSlide141.xml"/><Relationship Id="rId2" Type="http://schemas.openxmlformats.org/officeDocument/2006/relationships/slideLayout" Target="../slideLayouts/slideLayout7.xml"/><Relationship Id="rId1" Type="http://schemas.openxmlformats.org/officeDocument/2006/relationships/tags" Target="../tags/tag16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2.xml.rels><?xml version="1.0" encoding="UTF-8" standalone="yes"?>
<Relationships xmlns="http://schemas.openxmlformats.org/package/2006/relationships"><Relationship Id="rId3" Type="http://schemas.openxmlformats.org/officeDocument/2006/relationships/notesSlide" Target="../notesSlides/notesSlide142.xml"/><Relationship Id="rId2" Type="http://schemas.openxmlformats.org/officeDocument/2006/relationships/slideLayout" Target="../slideLayouts/slideLayout7.xml"/><Relationship Id="rId1" Type="http://schemas.openxmlformats.org/officeDocument/2006/relationships/tags" Target="../tags/tag1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3.xml.rels><?xml version="1.0" encoding="UTF-8" standalone="yes"?>
<Relationships xmlns="http://schemas.openxmlformats.org/package/2006/relationships"><Relationship Id="rId3" Type="http://schemas.openxmlformats.org/officeDocument/2006/relationships/notesSlide" Target="../notesSlides/notesSlide143.xml"/><Relationship Id="rId2" Type="http://schemas.openxmlformats.org/officeDocument/2006/relationships/slideLayout" Target="../slideLayouts/slideLayout7.xml"/><Relationship Id="rId1" Type="http://schemas.openxmlformats.org/officeDocument/2006/relationships/tags" Target="../tags/tag17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4.xml.rels><?xml version="1.0" encoding="UTF-8" standalone="yes"?>
<Relationships xmlns="http://schemas.openxmlformats.org/package/2006/relationships"><Relationship Id="rId3" Type="http://schemas.openxmlformats.org/officeDocument/2006/relationships/notesSlide" Target="../notesSlides/notesSlide144.xml"/><Relationship Id="rId2" Type="http://schemas.openxmlformats.org/officeDocument/2006/relationships/slideLayout" Target="../slideLayouts/slideLayout7.xml"/><Relationship Id="rId1" Type="http://schemas.openxmlformats.org/officeDocument/2006/relationships/tags" Target="../tags/tag1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5.xml.rels><?xml version="1.0" encoding="UTF-8" standalone="yes"?>
<Relationships xmlns="http://schemas.openxmlformats.org/package/2006/relationships"><Relationship Id="rId3" Type="http://schemas.openxmlformats.org/officeDocument/2006/relationships/notesSlide" Target="../notesSlides/notesSlide145.xml"/><Relationship Id="rId2" Type="http://schemas.openxmlformats.org/officeDocument/2006/relationships/slideLayout" Target="../slideLayouts/slideLayout7.xml"/><Relationship Id="rId1" Type="http://schemas.openxmlformats.org/officeDocument/2006/relationships/tags" Target="../tags/tag17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6.xml.rels><?xml version="1.0" encoding="UTF-8" standalone="yes"?>
<Relationships xmlns="http://schemas.openxmlformats.org/package/2006/relationships"><Relationship Id="rId3" Type="http://schemas.openxmlformats.org/officeDocument/2006/relationships/notesSlide" Target="../notesSlides/notesSlide146.xml"/><Relationship Id="rId2" Type="http://schemas.openxmlformats.org/officeDocument/2006/relationships/slideLayout" Target="../slideLayouts/slideLayout7.xml"/><Relationship Id="rId1" Type="http://schemas.openxmlformats.org/officeDocument/2006/relationships/tags" Target="../tags/tag1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7.xml.rels><?xml version="1.0" encoding="UTF-8" standalone="yes"?>
<Relationships xmlns="http://schemas.openxmlformats.org/package/2006/relationships"><Relationship Id="rId3" Type="http://schemas.openxmlformats.org/officeDocument/2006/relationships/notesSlide" Target="../notesSlides/notesSlide147.xml"/><Relationship Id="rId2" Type="http://schemas.openxmlformats.org/officeDocument/2006/relationships/slideLayout" Target="../slideLayouts/slideLayout7.xml"/><Relationship Id="rId1" Type="http://schemas.openxmlformats.org/officeDocument/2006/relationships/tags" Target="../tags/tag17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8.xml.rels><?xml version="1.0" encoding="UTF-8" standalone="yes"?>
<Relationships xmlns="http://schemas.openxmlformats.org/package/2006/relationships"><Relationship Id="rId3" Type="http://schemas.openxmlformats.org/officeDocument/2006/relationships/notesSlide" Target="../notesSlides/notesSlide148.xml"/><Relationship Id="rId2" Type="http://schemas.openxmlformats.org/officeDocument/2006/relationships/slideLayout" Target="../slideLayouts/slideLayout7.xml"/><Relationship Id="rId1" Type="http://schemas.openxmlformats.org/officeDocument/2006/relationships/tags" Target="../tags/tag1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9.xml.rels><?xml version="1.0" encoding="UTF-8" standalone="yes"?>
<Relationships xmlns="http://schemas.openxmlformats.org/package/2006/relationships"><Relationship Id="rId3" Type="http://schemas.openxmlformats.org/officeDocument/2006/relationships/notesSlide" Target="../notesSlides/notesSlide149.xml"/><Relationship Id="rId2" Type="http://schemas.openxmlformats.org/officeDocument/2006/relationships/slideLayout" Target="../slideLayouts/slideLayout7.xml"/><Relationship Id="rId1" Type="http://schemas.openxmlformats.org/officeDocument/2006/relationships/tags" Target="../tags/tag17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5.xml"/></Relationships>
</file>

<file path=ppt/slides/_rels/slide150.xml.rels><?xml version="1.0" encoding="UTF-8" standalone="yes"?>
<Relationships xmlns="http://schemas.openxmlformats.org/package/2006/relationships"><Relationship Id="rId3" Type="http://schemas.openxmlformats.org/officeDocument/2006/relationships/notesSlide" Target="../notesSlides/notesSlide150.xml"/><Relationship Id="rId2" Type="http://schemas.openxmlformats.org/officeDocument/2006/relationships/slideLayout" Target="../slideLayouts/slideLayout7.xml"/><Relationship Id="rId1" Type="http://schemas.openxmlformats.org/officeDocument/2006/relationships/tags" Target="../tags/tag1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1.xml.rels><?xml version="1.0" encoding="UTF-8" standalone="yes"?>
<Relationships xmlns="http://schemas.openxmlformats.org/package/2006/relationships"><Relationship Id="rId3" Type="http://schemas.openxmlformats.org/officeDocument/2006/relationships/notesSlide" Target="../notesSlides/notesSlide151.xml"/><Relationship Id="rId2" Type="http://schemas.openxmlformats.org/officeDocument/2006/relationships/slideLayout" Target="../slideLayouts/slideLayout7.xml"/><Relationship Id="rId1" Type="http://schemas.openxmlformats.org/officeDocument/2006/relationships/tags" Target="../tags/tag17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2.xml.rels><?xml version="1.0" encoding="UTF-8" standalone="yes"?>
<Relationships xmlns="http://schemas.openxmlformats.org/package/2006/relationships"><Relationship Id="rId3" Type="http://schemas.openxmlformats.org/officeDocument/2006/relationships/notesSlide" Target="../notesSlides/notesSlide152.xml"/><Relationship Id="rId2" Type="http://schemas.openxmlformats.org/officeDocument/2006/relationships/slideLayout" Target="../slideLayouts/slideLayout7.xml"/><Relationship Id="rId1" Type="http://schemas.openxmlformats.org/officeDocument/2006/relationships/tags" Target="../tags/tag1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3.xml.rels><?xml version="1.0" encoding="UTF-8" standalone="yes"?>
<Relationships xmlns="http://schemas.openxmlformats.org/package/2006/relationships"><Relationship Id="rId3" Type="http://schemas.openxmlformats.org/officeDocument/2006/relationships/notesSlide" Target="../notesSlides/notesSlide153.xml"/><Relationship Id="rId2" Type="http://schemas.openxmlformats.org/officeDocument/2006/relationships/slideLayout" Target="../slideLayouts/slideLayout7.xml"/><Relationship Id="rId1" Type="http://schemas.openxmlformats.org/officeDocument/2006/relationships/tags" Target="../tags/tag18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4.xml.rels><?xml version="1.0" encoding="UTF-8" standalone="yes"?>
<Relationships xmlns="http://schemas.openxmlformats.org/package/2006/relationships"><Relationship Id="rId3" Type="http://schemas.openxmlformats.org/officeDocument/2006/relationships/notesSlide" Target="../notesSlides/notesSlide154.xml"/><Relationship Id="rId2" Type="http://schemas.openxmlformats.org/officeDocument/2006/relationships/slideLayout" Target="../slideLayouts/slideLayout7.xml"/><Relationship Id="rId1" Type="http://schemas.openxmlformats.org/officeDocument/2006/relationships/tags" Target="../tags/tag1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5.xml.rels><?xml version="1.0" encoding="UTF-8" standalone="yes"?>
<Relationships xmlns="http://schemas.openxmlformats.org/package/2006/relationships"><Relationship Id="rId3" Type="http://schemas.openxmlformats.org/officeDocument/2006/relationships/notesSlide" Target="../notesSlides/notesSlide155.xml"/><Relationship Id="rId2" Type="http://schemas.openxmlformats.org/officeDocument/2006/relationships/slideLayout" Target="../slideLayouts/slideLayout7.xml"/><Relationship Id="rId1" Type="http://schemas.openxmlformats.org/officeDocument/2006/relationships/tags" Target="../tags/tag18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6.xml.rels><?xml version="1.0" encoding="UTF-8" standalone="yes"?>
<Relationships xmlns="http://schemas.openxmlformats.org/package/2006/relationships"><Relationship Id="rId3" Type="http://schemas.openxmlformats.org/officeDocument/2006/relationships/notesSlide" Target="../notesSlides/notesSlide156.xml"/><Relationship Id="rId2" Type="http://schemas.openxmlformats.org/officeDocument/2006/relationships/slideLayout" Target="../slideLayouts/slideLayout7.xml"/><Relationship Id="rId1" Type="http://schemas.openxmlformats.org/officeDocument/2006/relationships/tags" Target="../tags/tag1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7.xml.rels><?xml version="1.0" encoding="UTF-8" standalone="yes"?>
<Relationships xmlns="http://schemas.openxmlformats.org/package/2006/relationships"><Relationship Id="rId3" Type="http://schemas.openxmlformats.org/officeDocument/2006/relationships/notesSlide" Target="../notesSlides/notesSlide157.xml"/><Relationship Id="rId2" Type="http://schemas.openxmlformats.org/officeDocument/2006/relationships/slideLayout" Target="../slideLayouts/slideLayout7.xml"/><Relationship Id="rId1" Type="http://schemas.openxmlformats.org/officeDocument/2006/relationships/tags" Target="../tags/tag18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8.xml.rels><?xml version="1.0" encoding="UTF-8" standalone="yes"?>
<Relationships xmlns="http://schemas.openxmlformats.org/package/2006/relationships"><Relationship Id="rId3" Type="http://schemas.openxmlformats.org/officeDocument/2006/relationships/notesSlide" Target="../notesSlides/notesSlide158.xml"/><Relationship Id="rId2" Type="http://schemas.openxmlformats.org/officeDocument/2006/relationships/slideLayout" Target="../slideLayouts/slideLayout7.xml"/><Relationship Id="rId1" Type="http://schemas.openxmlformats.org/officeDocument/2006/relationships/tags" Target="../tags/tag1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9.xml.rels><?xml version="1.0" encoding="UTF-8" standalone="yes"?>
<Relationships xmlns="http://schemas.openxmlformats.org/package/2006/relationships"><Relationship Id="rId3" Type="http://schemas.openxmlformats.org/officeDocument/2006/relationships/notesSlide" Target="../notesSlides/notesSlide159.xml"/><Relationship Id="rId2" Type="http://schemas.openxmlformats.org/officeDocument/2006/relationships/slideLayout" Target="../slideLayouts/slideLayout7.xml"/><Relationship Id="rId1" Type="http://schemas.openxmlformats.org/officeDocument/2006/relationships/tags" Target="../tags/tag18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6.xml"/></Relationships>
</file>

<file path=ppt/slides/_rels/slide160.xml.rels><?xml version="1.0" encoding="UTF-8" standalone="yes"?>
<Relationships xmlns="http://schemas.openxmlformats.org/package/2006/relationships"><Relationship Id="rId3" Type="http://schemas.openxmlformats.org/officeDocument/2006/relationships/notesSlide" Target="../notesSlides/notesSlide160.xml"/><Relationship Id="rId2" Type="http://schemas.openxmlformats.org/officeDocument/2006/relationships/slideLayout" Target="../slideLayouts/slideLayout7.xml"/><Relationship Id="rId1" Type="http://schemas.openxmlformats.org/officeDocument/2006/relationships/tags" Target="../tags/tag1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1.xml.rels><?xml version="1.0" encoding="UTF-8" standalone="yes"?>
<Relationships xmlns="http://schemas.openxmlformats.org/package/2006/relationships"><Relationship Id="rId3" Type="http://schemas.openxmlformats.org/officeDocument/2006/relationships/notesSlide" Target="../notesSlides/notesSlide161.xml"/><Relationship Id="rId2" Type="http://schemas.openxmlformats.org/officeDocument/2006/relationships/slideLayout" Target="../slideLayouts/slideLayout7.xml"/><Relationship Id="rId1" Type="http://schemas.openxmlformats.org/officeDocument/2006/relationships/tags" Target="../tags/tag18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2.xml.rels><?xml version="1.0" encoding="UTF-8" standalone="yes"?>
<Relationships xmlns="http://schemas.openxmlformats.org/package/2006/relationships"><Relationship Id="rId3" Type="http://schemas.openxmlformats.org/officeDocument/2006/relationships/notesSlide" Target="../notesSlides/notesSlide162.xml"/><Relationship Id="rId2" Type="http://schemas.openxmlformats.org/officeDocument/2006/relationships/slideLayout" Target="../slideLayouts/slideLayout7.xml"/><Relationship Id="rId1" Type="http://schemas.openxmlformats.org/officeDocument/2006/relationships/tags" Target="../tags/tag1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3.xml.rels><?xml version="1.0" encoding="UTF-8" standalone="yes"?>
<Relationships xmlns="http://schemas.openxmlformats.org/package/2006/relationships"><Relationship Id="rId3" Type="http://schemas.openxmlformats.org/officeDocument/2006/relationships/notesSlide" Target="../notesSlides/notesSlide163.xml"/><Relationship Id="rId2" Type="http://schemas.openxmlformats.org/officeDocument/2006/relationships/slideLayout" Target="../slideLayouts/slideLayout7.xml"/><Relationship Id="rId1" Type="http://schemas.openxmlformats.org/officeDocument/2006/relationships/tags" Target="../tags/tag19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4.xml.rels><?xml version="1.0" encoding="UTF-8" standalone="yes"?>
<Relationships xmlns="http://schemas.openxmlformats.org/package/2006/relationships"><Relationship Id="rId3" Type="http://schemas.openxmlformats.org/officeDocument/2006/relationships/notesSlide" Target="../notesSlides/notesSlide164.xml"/><Relationship Id="rId2" Type="http://schemas.openxmlformats.org/officeDocument/2006/relationships/slideLayout" Target="../slideLayouts/slideLayout7.xml"/><Relationship Id="rId1" Type="http://schemas.openxmlformats.org/officeDocument/2006/relationships/tags" Target="../tags/tag1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5.xml.rels><?xml version="1.0" encoding="UTF-8" standalone="yes"?>
<Relationships xmlns="http://schemas.openxmlformats.org/package/2006/relationships"><Relationship Id="rId3" Type="http://schemas.openxmlformats.org/officeDocument/2006/relationships/notesSlide" Target="../notesSlides/notesSlide165.xml"/><Relationship Id="rId2" Type="http://schemas.openxmlformats.org/officeDocument/2006/relationships/slideLayout" Target="../slideLayouts/slideLayout7.xml"/><Relationship Id="rId1" Type="http://schemas.openxmlformats.org/officeDocument/2006/relationships/tags" Target="../tags/tag19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6.xml.rels><?xml version="1.0" encoding="UTF-8" standalone="yes"?>
<Relationships xmlns="http://schemas.openxmlformats.org/package/2006/relationships"><Relationship Id="rId3" Type="http://schemas.openxmlformats.org/officeDocument/2006/relationships/notesSlide" Target="../notesSlides/notesSlide166.xml"/><Relationship Id="rId2" Type="http://schemas.openxmlformats.org/officeDocument/2006/relationships/slideLayout" Target="../slideLayouts/slideLayout7.xml"/><Relationship Id="rId1" Type="http://schemas.openxmlformats.org/officeDocument/2006/relationships/tags" Target="../tags/tag1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7.xml.rels><?xml version="1.0" encoding="UTF-8" standalone="yes"?>
<Relationships xmlns="http://schemas.openxmlformats.org/package/2006/relationships"><Relationship Id="rId3" Type="http://schemas.openxmlformats.org/officeDocument/2006/relationships/notesSlide" Target="../notesSlides/notesSlide167.xml"/><Relationship Id="rId2" Type="http://schemas.openxmlformats.org/officeDocument/2006/relationships/slideLayout" Target="../slideLayouts/slideLayout7.xml"/><Relationship Id="rId1" Type="http://schemas.openxmlformats.org/officeDocument/2006/relationships/tags" Target="../tags/tag19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8.xml.rels><?xml version="1.0" encoding="UTF-8" standalone="yes"?>
<Relationships xmlns="http://schemas.openxmlformats.org/package/2006/relationships"><Relationship Id="rId3" Type="http://schemas.openxmlformats.org/officeDocument/2006/relationships/notesSlide" Target="../notesSlides/notesSlide168.xml"/><Relationship Id="rId2" Type="http://schemas.openxmlformats.org/officeDocument/2006/relationships/slideLayout" Target="../slideLayouts/slideLayout7.xml"/><Relationship Id="rId1" Type="http://schemas.openxmlformats.org/officeDocument/2006/relationships/tags" Target="../tags/tag1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9.xml.rels><?xml version="1.0" encoding="UTF-8" standalone="yes"?>
<Relationships xmlns="http://schemas.openxmlformats.org/package/2006/relationships"><Relationship Id="rId3" Type="http://schemas.openxmlformats.org/officeDocument/2006/relationships/notesSlide" Target="../notesSlides/notesSlide169.xml"/><Relationship Id="rId2" Type="http://schemas.openxmlformats.org/officeDocument/2006/relationships/slideLayout" Target="../slideLayouts/slideLayout7.xml"/><Relationship Id="rId1" Type="http://schemas.openxmlformats.org/officeDocument/2006/relationships/tags" Target="../tags/tag19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7.xml"/></Relationships>
</file>

<file path=ppt/slides/_rels/slide170.xml.rels><?xml version="1.0" encoding="UTF-8" standalone="yes"?>
<Relationships xmlns="http://schemas.openxmlformats.org/package/2006/relationships"><Relationship Id="rId3" Type="http://schemas.openxmlformats.org/officeDocument/2006/relationships/notesSlide" Target="../notesSlides/notesSlide170.xml"/><Relationship Id="rId2" Type="http://schemas.openxmlformats.org/officeDocument/2006/relationships/slideLayout" Target="../slideLayouts/slideLayout7.xml"/><Relationship Id="rId1" Type="http://schemas.openxmlformats.org/officeDocument/2006/relationships/tags" Target="../tags/tag1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1.xml.rels><?xml version="1.0" encoding="UTF-8" standalone="yes"?>
<Relationships xmlns="http://schemas.openxmlformats.org/package/2006/relationships"><Relationship Id="rId3" Type="http://schemas.openxmlformats.org/officeDocument/2006/relationships/notesSlide" Target="../notesSlides/notesSlide171.xml"/><Relationship Id="rId2" Type="http://schemas.openxmlformats.org/officeDocument/2006/relationships/slideLayout" Target="../slideLayouts/slideLayout7.xml"/><Relationship Id="rId1" Type="http://schemas.openxmlformats.org/officeDocument/2006/relationships/tags" Target="../tags/tag19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2.xml.rels><?xml version="1.0" encoding="UTF-8" standalone="yes"?>
<Relationships xmlns="http://schemas.openxmlformats.org/package/2006/relationships"><Relationship Id="rId3" Type="http://schemas.openxmlformats.org/officeDocument/2006/relationships/notesSlide" Target="../notesSlides/notesSlide172.xml"/><Relationship Id="rId2" Type="http://schemas.openxmlformats.org/officeDocument/2006/relationships/slideLayout" Target="../slideLayouts/slideLayout7.xml"/><Relationship Id="rId1" Type="http://schemas.openxmlformats.org/officeDocument/2006/relationships/tags" Target="../tags/tag1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3.xml.rels><?xml version="1.0" encoding="UTF-8" standalone="yes"?>
<Relationships xmlns="http://schemas.openxmlformats.org/package/2006/relationships"><Relationship Id="rId3" Type="http://schemas.openxmlformats.org/officeDocument/2006/relationships/notesSlide" Target="../notesSlides/notesSlide173.xml"/><Relationship Id="rId2" Type="http://schemas.openxmlformats.org/officeDocument/2006/relationships/slideLayout" Target="../slideLayouts/slideLayout7.xml"/><Relationship Id="rId1" Type="http://schemas.openxmlformats.org/officeDocument/2006/relationships/tags" Target="../tags/tag20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4.xml.rels><?xml version="1.0" encoding="UTF-8" standalone="yes"?>
<Relationships xmlns="http://schemas.openxmlformats.org/package/2006/relationships"><Relationship Id="rId3" Type="http://schemas.openxmlformats.org/officeDocument/2006/relationships/notesSlide" Target="../notesSlides/notesSlide174.xml"/><Relationship Id="rId2" Type="http://schemas.openxmlformats.org/officeDocument/2006/relationships/slideLayout" Target="../slideLayouts/slideLayout7.xml"/><Relationship Id="rId1" Type="http://schemas.openxmlformats.org/officeDocument/2006/relationships/tags" Target="../tags/tag2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5.xml.rels><?xml version="1.0" encoding="UTF-8" standalone="yes"?>
<Relationships xmlns="http://schemas.openxmlformats.org/package/2006/relationships"><Relationship Id="rId3" Type="http://schemas.openxmlformats.org/officeDocument/2006/relationships/notesSlide" Target="../notesSlides/notesSlide175.xml"/><Relationship Id="rId2" Type="http://schemas.openxmlformats.org/officeDocument/2006/relationships/slideLayout" Target="../slideLayouts/slideLayout7.xml"/><Relationship Id="rId1" Type="http://schemas.openxmlformats.org/officeDocument/2006/relationships/tags" Target="../tags/tag20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6.xml.rels><?xml version="1.0" encoding="UTF-8" standalone="yes"?>
<Relationships xmlns="http://schemas.openxmlformats.org/package/2006/relationships"><Relationship Id="rId3" Type="http://schemas.openxmlformats.org/officeDocument/2006/relationships/notesSlide" Target="../notesSlides/notesSlide176.xml"/><Relationship Id="rId2" Type="http://schemas.openxmlformats.org/officeDocument/2006/relationships/slideLayout" Target="../slideLayouts/slideLayout7.xml"/><Relationship Id="rId1" Type="http://schemas.openxmlformats.org/officeDocument/2006/relationships/tags" Target="../tags/tag2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7.xml.rels><?xml version="1.0" encoding="UTF-8" standalone="yes"?>
<Relationships xmlns="http://schemas.openxmlformats.org/package/2006/relationships"><Relationship Id="rId3" Type="http://schemas.openxmlformats.org/officeDocument/2006/relationships/notesSlide" Target="../notesSlides/notesSlide177.xml"/><Relationship Id="rId2" Type="http://schemas.openxmlformats.org/officeDocument/2006/relationships/slideLayout" Target="../slideLayouts/slideLayout7.xml"/><Relationship Id="rId1" Type="http://schemas.openxmlformats.org/officeDocument/2006/relationships/tags" Target="../tags/tag20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8.xml.rels><?xml version="1.0" encoding="UTF-8" standalone="yes"?>
<Relationships xmlns="http://schemas.openxmlformats.org/package/2006/relationships"><Relationship Id="rId3" Type="http://schemas.openxmlformats.org/officeDocument/2006/relationships/notesSlide" Target="../notesSlides/notesSlide178.xml"/><Relationship Id="rId2" Type="http://schemas.openxmlformats.org/officeDocument/2006/relationships/slideLayout" Target="../slideLayouts/slideLayout7.xml"/><Relationship Id="rId1" Type="http://schemas.openxmlformats.org/officeDocument/2006/relationships/tags" Target="../tags/tag2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9.xml.rels><?xml version="1.0" encoding="UTF-8" standalone="yes"?>
<Relationships xmlns="http://schemas.openxmlformats.org/package/2006/relationships"><Relationship Id="rId3" Type="http://schemas.openxmlformats.org/officeDocument/2006/relationships/notesSlide" Target="../notesSlides/notesSlide179.xml"/><Relationship Id="rId2" Type="http://schemas.openxmlformats.org/officeDocument/2006/relationships/slideLayout" Target="../slideLayouts/slideLayout7.xml"/><Relationship Id="rId1" Type="http://schemas.openxmlformats.org/officeDocument/2006/relationships/tags" Target="../tags/tag20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8.xml"/></Relationships>
</file>

<file path=ppt/slides/_rels/slide180.xml.rels><?xml version="1.0" encoding="UTF-8" standalone="yes"?>
<Relationships xmlns="http://schemas.openxmlformats.org/package/2006/relationships"><Relationship Id="rId3" Type="http://schemas.openxmlformats.org/officeDocument/2006/relationships/notesSlide" Target="../notesSlides/notesSlide180.xml"/><Relationship Id="rId2" Type="http://schemas.openxmlformats.org/officeDocument/2006/relationships/slideLayout" Target="../slideLayouts/slideLayout7.xml"/><Relationship Id="rId1" Type="http://schemas.openxmlformats.org/officeDocument/2006/relationships/tags" Target="../tags/tag2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1.xml.rels><?xml version="1.0" encoding="UTF-8" standalone="yes"?>
<Relationships xmlns="http://schemas.openxmlformats.org/package/2006/relationships"><Relationship Id="rId3" Type="http://schemas.openxmlformats.org/officeDocument/2006/relationships/notesSlide" Target="../notesSlides/notesSlide181.xml"/><Relationship Id="rId2" Type="http://schemas.openxmlformats.org/officeDocument/2006/relationships/slideLayout" Target="../slideLayouts/slideLayout7.xml"/><Relationship Id="rId1" Type="http://schemas.openxmlformats.org/officeDocument/2006/relationships/tags" Target="../tags/tag2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2.xml.rels><?xml version="1.0" encoding="UTF-8" standalone="yes"?>
<Relationships xmlns="http://schemas.openxmlformats.org/package/2006/relationships"><Relationship Id="rId3" Type="http://schemas.openxmlformats.org/officeDocument/2006/relationships/notesSlide" Target="../notesSlides/notesSlide182.xml"/><Relationship Id="rId2" Type="http://schemas.openxmlformats.org/officeDocument/2006/relationships/slideLayout" Target="../slideLayouts/slideLayout7.xml"/><Relationship Id="rId1" Type="http://schemas.openxmlformats.org/officeDocument/2006/relationships/tags" Target="../tags/tag2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3.xml.rels><?xml version="1.0" encoding="UTF-8" standalone="yes"?>
<Relationships xmlns="http://schemas.openxmlformats.org/package/2006/relationships"><Relationship Id="rId3" Type="http://schemas.openxmlformats.org/officeDocument/2006/relationships/notesSlide" Target="../notesSlides/notesSlide183.xml"/><Relationship Id="rId2" Type="http://schemas.openxmlformats.org/officeDocument/2006/relationships/slideLayout" Target="../slideLayouts/slideLayout7.xml"/><Relationship Id="rId1" Type="http://schemas.openxmlformats.org/officeDocument/2006/relationships/tags" Target="../tags/tag2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4.xml.rels><?xml version="1.0" encoding="UTF-8" standalone="yes"?>
<Relationships xmlns="http://schemas.openxmlformats.org/package/2006/relationships"><Relationship Id="rId3" Type="http://schemas.openxmlformats.org/officeDocument/2006/relationships/notesSlide" Target="../notesSlides/notesSlide184.xml"/><Relationship Id="rId2" Type="http://schemas.openxmlformats.org/officeDocument/2006/relationships/slideLayout" Target="../slideLayouts/slideLayout7.xml"/><Relationship Id="rId1" Type="http://schemas.openxmlformats.org/officeDocument/2006/relationships/tags" Target="../tags/tag2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5.xml.rels><?xml version="1.0" encoding="UTF-8" standalone="yes"?>
<Relationships xmlns="http://schemas.openxmlformats.org/package/2006/relationships"><Relationship Id="rId3" Type="http://schemas.openxmlformats.org/officeDocument/2006/relationships/notesSlide" Target="../notesSlides/notesSlide185.xml"/><Relationship Id="rId2" Type="http://schemas.openxmlformats.org/officeDocument/2006/relationships/slideLayout" Target="../slideLayouts/slideLayout7.xml"/><Relationship Id="rId1" Type="http://schemas.openxmlformats.org/officeDocument/2006/relationships/tags" Target="../tags/tag2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6.xml.rels><?xml version="1.0" encoding="UTF-8" standalone="yes"?>
<Relationships xmlns="http://schemas.openxmlformats.org/package/2006/relationships"><Relationship Id="rId3" Type="http://schemas.openxmlformats.org/officeDocument/2006/relationships/notesSlide" Target="../notesSlides/notesSlide186.xml"/><Relationship Id="rId2" Type="http://schemas.openxmlformats.org/officeDocument/2006/relationships/slideLayout" Target="../slideLayouts/slideLayout7.xml"/><Relationship Id="rId1" Type="http://schemas.openxmlformats.org/officeDocument/2006/relationships/tags" Target="../tags/tag2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7.xml.rels><?xml version="1.0" encoding="UTF-8" standalone="yes"?>
<Relationships xmlns="http://schemas.openxmlformats.org/package/2006/relationships"><Relationship Id="rId3" Type="http://schemas.openxmlformats.org/officeDocument/2006/relationships/notesSlide" Target="../notesSlides/notesSlide187.xml"/><Relationship Id="rId2" Type="http://schemas.openxmlformats.org/officeDocument/2006/relationships/slideLayout" Target="../slideLayouts/slideLayout7.xml"/><Relationship Id="rId1" Type="http://schemas.openxmlformats.org/officeDocument/2006/relationships/tags" Target="../tags/tag2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8.xml.rels><?xml version="1.0" encoding="UTF-8" standalone="yes"?>
<Relationships xmlns="http://schemas.openxmlformats.org/package/2006/relationships"><Relationship Id="rId3" Type="http://schemas.openxmlformats.org/officeDocument/2006/relationships/notesSlide" Target="../notesSlides/notesSlide188.xml"/><Relationship Id="rId2" Type="http://schemas.openxmlformats.org/officeDocument/2006/relationships/slideLayout" Target="../slideLayouts/slideLayout7.xml"/><Relationship Id="rId1" Type="http://schemas.openxmlformats.org/officeDocument/2006/relationships/tags" Target="../tags/tag2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9.xml.rels><?xml version="1.0" encoding="UTF-8" standalone="yes"?>
<Relationships xmlns="http://schemas.openxmlformats.org/package/2006/relationships"><Relationship Id="rId3" Type="http://schemas.openxmlformats.org/officeDocument/2006/relationships/notesSlide" Target="../notesSlides/notesSlide189.xml"/><Relationship Id="rId2" Type="http://schemas.openxmlformats.org/officeDocument/2006/relationships/slideLayout" Target="../slideLayouts/slideLayout7.xml"/><Relationship Id="rId1" Type="http://schemas.openxmlformats.org/officeDocument/2006/relationships/tags" Target="../tags/tag2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9.xml"/></Relationships>
</file>

<file path=ppt/slides/_rels/slide190.xml.rels><?xml version="1.0" encoding="UTF-8" standalone="yes"?>
<Relationships xmlns="http://schemas.openxmlformats.org/package/2006/relationships"><Relationship Id="rId3" Type="http://schemas.openxmlformats.org/officeDocument/2006/relationships/notesSlide" Target="../notesSlides/notesSlide190.xml"/><Relationship Id="rId2" Type="http://schemas.openxmlformats.org/officeDocument/2006/relationships/slideLayout" Target="../slideLayouts/slideLayout7.xml"/><Relationship Id="rId1" Type="http://schemas.openxmlformats.org/officeDocument/2006/relationships/tags" Target="../tags/tag2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1.xml.rels><?xml version="1.0" encoding="UTF-8" standalone="yes"?>
<Relationships xmlns="http://schemas.openxmlformats.org/package/2006/relationships"><Relationship Id="rId3" Type="http://schemas.openxmlformats.org/officeDocument/2006/relationships/notesSlide" Target="../notesSlides/notesSlide191.xml"/><Relationship Id="rId2" Type="http://schemas.openxmlformats.org/officeDocument/2006/relationships/slideLayout" Target="../slideLayouts/slideLayout7.xml"/><Relationship Id="rId1" Type="http://schemas.openxmlformats.org/officeDocument/2006/relationships/tags" Target="../tags/tag2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2.xml.rels><?xml version="1.0" encoding="UTF-8" standalone="yes"?>
<Relationships xmlns="http://schemas.openxmlformats.org/package/2006/relationships"><Relationship Id="rId3" Type="http://schemas.openxmlformats.org/officeDocument/2006/relationships/notesSlide" Target="../notesSlides/notesSlide192.xml"/><Relationship Id="rId2" Type="http://schemas.openxmlformats.org/officeDocument/2006/relationships/slideLayout" Target="../slideLayouts/slideLayout7.xml"/><Relationship Id="rId1" Type="http://schemas.openxmlformats.org/officeDocument/2006/relationships/tags" Target="../tags/tag2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3.xml.rels><?xml version="1.0" encoding="UTF-8" standalone="yes"?>
<Relationships xmlns="http://schemas.openxmlformats.org/package/2006/relationships"><Relationship Id="rId3" Type="http://schemas.openxmlformats.org/officeDocument/2006/relationships/notesSlide" Target="../notesSlides/notesSlide193.xml"/><Relationship Id="rId2" Type="http://schemas.openxmlformats.org/officeDocument/2006/relationships/slideLayout" Target="../slideLayouts/slideLayout7.xml"/><Relationship Id="rId1" Type="http://schemas.openxmlformats.org/officeDocument/2006/relationships/tags" Target="../tags/tag2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4.xml.rels><?xml version="1.0" encoding="UTF-8" standalone="yes"?>
<Relationships xmlns="http://schemas.openxmlformats.org/package/2006/relationships"><Relationship Id="rId3" Type="http://schemas.openxmlformats.org/officeDocument/2006/relationships/notesSlide" Target="../notesSlides/notesSlide194.xml"/><Relationship Id="rId2" Type="http://schemas.openxmlformats.org/officeDocument/2006/relationships/slideLayout" Target="../slideLayouts/slideLayout7.xml"/><Relationship Id="rId1" Type="http://schemas.openxmlformats.org/officeDocument/2006/relationships/tags" Target="../tags/tag2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5.xml.rels><?xml version="1.0" encoding="UTF-8" standalone="yes"?>
<Relationships xmlns="http://schemas.openxmlformats.org/package/2006/relationships"><Relationship Id="rId3" Type="http://schemas.openxmlformats.org/officeDocument/2006/relationships/notesSlide" Target="../notesSlides/notesSlide195.xml"/><Relationship Id="rId2" Type="http://schemas.openxmlformats.org/officeDocument/2006/relationships/slideLayout" Target="../slideLayouts/slideLayout7.xml"/><Relationship Id="rId1" Type="http://schemas.openxmlformats.org/officeDocument/2006/relationships/tags" Target="../tags/tag2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6.xml.rels><?xml version="1.0" encoding="UTF-8" standalone="yes"?>
<Relationships xmlns="http://schemas.openxmlformats.org/package/2006/relationships"><Relationship Id="rId3" Type="http://schemas.openxmlformats.org/officeDocument/2006/relationships/notesSlide" Target="../notesSlides/notesSlide196.xml"/><Relationship Id="rId2" Type="http://schemas.openxmlformats.org/officeDocument/2006/relationships/slideLayout" Target="../slideLayouts/slideLayout7.xml"/><Relationship Id="rId1" Type="http://schemas.openxmlformats.org/officeDocument/2006/relationships/tags" Target="../tags/tag2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7.xml.rels><?xml version="1.0" encoding="UTF-8" standalone="yes"?>
<Relationships xmlns="http://schemas.openxmlformats.org/package/2006/relationships"><Relationship Id="rId3" Type="http://schemas.openxmlformats.org/officeDocument/2006/relationships/notesSlide" Target="../notesSlides/notesSlide197.xml"/><Relationship Id="rId2" Type="http://schemas.openxmlformats.org/officeDocument/2006/relationships/slideLayout" Target="../slideLayouts/slideLayout7.xml"/><Relationship Id="rId1" Type="http://schemas.openxmlformats.org/officeDocument/2006/relationships/tags" Target="../tags/tag2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8.xml.rels><?xml version="1.0" encoding="UTF-8" standalone="yes"?>
<Relationships xmlns="http://schemas.openxmlformats.org/package/2006/relationships"><Relationship Id="rId3" Type="http://schemas.openxmlformats.org/officeDocument/2006/relationships/notesSlide" Target="../notesSlides/notesSlide198.xml"/><Relationship Id="rId2" Type="http://schemas.openxmlformats.org/officeDocument/2006/relationships/slideLayout" Target="../slideLayouts/slideLayout7.xml"/><Relationship Id="rId1" Type="http://schemas.openxmlformats.org/officeDocument/2006/relationships/tags" Target="../tags/tag2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9.xml.rels><?xml version="1.0" encoding="UTF-8" standalone="yes"?>
<Relationships xmlns="http://schemas.openxmlformats.org/package/2006/relationships"><Relationship Id="rId3" Type="http://schemas.openxmlformats.org/officeDocument/2006/relationships/notesSlide" Target="../notesSlides/notesSlide199.xml"/><Relationship Id="rId2" Type="http://schemas.openxmlformats.org/officeDocument/2006/relationships/slideLayout" Target="../slideLayouts/slideLayout7.xml"/><Relationship Id="rId1" Type="http://schemas.openxmlformats.org/officeDocument/2006/relationships/tags" Target="../tags/tag2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0.xml"/></Relationships>
</file>

<file path=ppt/slides/_rels/slide200.xml.rels><?xml version="1.0" encoding="UTF-8" standalone="yes"?>
<Relationships xmlns="http://schemas.openxmlformats.org/package/2006/relationships"><Relationship Id="rId3" Type="http://schemas.openxmlformats.org/officeDocument/2006/relationships/notesSlide" Target="../notesSlides/notesSlide200.xml"/><Relationship Id="rId2" Type="http://schemas.openxmlformats.org/officeDocument/2006/relationships/slideLayout" Target="../slideLayouts/slideLayout7.xml"/><Relationship Id="rId1" Type="http://schemas.openxmlformats.org/officeDocument/2006/relationships/tags" Target="../tags/tag2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1.xml.rels><?xml version="1.0" encoding="UTF-8" standalone="yes"?>
<Relationships xmlns="http://schemas.openxmlformats.org/package/2006/relationships"><Relationship Id="rId3" Type="http://schemas.openxmlformats.org/officeDocument/2006/relationships/notesSlide" Target="../notesSlides/notesSlide201.xml"/><Relationship Id="rId2" Type="http://schemas.openxmlformats.org/officeDocument/2006/relationships/slideLayout" Target="../slideLayouts/slideLayout7.xml"/><Relationship Id="rId1" Type="http://schemas.openxmlformats.org/officeDocument/2006/relationships/tags" Target="../tags/tag2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2.xml.rels><?xml version="1.0" encoding="UTF-8" standalone="yes"?>
<Relationships xmlns="http://schemas.openxmlformats.org/package/2006/relationships"><Relationship Id="rId3" Type="http://schemas.openxmlformats.org/officeDocument/2006/relationships/notesSlide" Target="../notesSlides/notesSlide202.xml"/><Relationship Id="rId2" Type="http://schemas.openxmlformats.org/officeDocument/2006/relationships/slideLayout" Target="../slideLayouts/slideLayout7.xml"/><Relationship Id="rId1" Type="http://schemas.openxmlformats.org/officeDocument/2006/relationships/tags" Target="../tags/tag2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3.xml.rels><?xml version="1.0" encoding="UTF-8" standalone="yes"?>
<Relationships xmlns="http://schemas.openxmlformats.org/package/2006/relationships"><Relationship Id="rId3" Type="http://schemas.openxmlformats.org/officeDocument/2006/relationships/notesSlide" Target="../notesSlides/notesSlide203.xml"/><Relationship Id="rId2" Type="http://schemas.openxmlformats.org/officeDocument/2006/relationships/slideLayout" Target="../slideLayouts/slideLayout7.xml"/><Relationship Id="rId1" Type="http://schemas.openxmlformats.org/officeDocument/2006/relationships/tags" Target="../tags/tag2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4.xml.rels><?xml version="1.0" encoding="UTF-8" standalone="yes"?>
<Relationships xmlns="http://schemas.openxmlformats.org/package/2006/relationships"><Relationship Id="rId3" Type="http://schemas.openxmlformats.org/officeDocument/2006/relationships/notesSlide" Target="../notesSlides/notesSlide204.xml"/><Relationship Id="rId2" Type="http://schemas.openxmlformats.org/officeDocument/2006/relationships/slideLayout" Target="../slideLayouts/slideLayout7.xml"/><Relationship Id="rId1" Type="http://schemas.openxmlformats.org/officeDocument/2006/relationships/tags" Target="../tags/tag2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5.xml.rels><?xml version="1.0" encoding="UTF-8" standalone="yes"?>
<Relationships xmlns="http://schemas.openxmlformats.org/package/2006/relationships"><Relationship Id="rId3" Type="http://schemas.openxmlformats.org/officeDocument/2006/relationships/notesSlide" Target="../notesSlides/notesSlide205.xml"/><Relationship Id="rId2" Type="http://schemas.openxmlformats.org/officeDocument/2006/relationships/slideLayout" Target="../slideLayouts/slideLayout7.xml"/><Relationship Id="rId1" Type="http://schemas.openxmlformats.org/officeDocument/2006/relationships/tags" Target="../tags/tag2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6.xml.rels><?xml version="1.0" encoding="UTF-8" standalone="yes"?>
<Relationships xmlns="http://schemas.openxmlformats.org/package/2006/relationships"><Relationship Id="rId3" Type="http://schemas.openxmlformats.org/officeDocument/2006/relationships/notesSlide" Target="../notesSlides/notesSlide206.xml"/><Relationship Id="rId2" Type="http://schemas.openxmlformats.org/officeDocument/2006/relationships/slideLayout" Target="../slideLayouts/slideLayout7.xml"/><Relationship Id="rId1" Type="http://schemas.openxmlformats.org/officeDocument/2006/relationships/tags" Target="../tags/tag2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7.xml.rels><?xml version="1.0" encoding="UTF-8" standalone="yes"?>
<Relationships xmlns="http://schemas.openxmlformats.org/package/2006/relationships"><Relationship Id="rId3" Type="http://schemas.openxmlformats.org/officeDocument/2006/relationships/notesSlide" Target="../notesSlides/notesSlide207.xml"/><Relationship Id="rId2" Type="http://schemas.openxmlformats.org/officeDocument/2006/relationships/slideLayout" Target="../slideLayouts/slideLayout7.xml"/><Relationship Id="rId1" Type="http://schemas.openxmlformats.org/officeDocument/2006/relationships/tags" Target="../tags/tag23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8.xml.rels><?xml version="1.0" encoding="UTF-8" standalone="yes"?>
<Relationships xmlns="http://schemas.openxmlformats.org/package/2006/relationships"><Relationship Id="rId3" Type="http://schemas.openxmlformats.org/officeDocument/2006/relationships/notesSlide" Target="../notesSlides/notesSlide208.xml"/><Relationship Id="rId2" Type="http://schemas.openxmlformats.org/officeDocument/2006/relationships/slideLayout" Target="../slideLayouts/slideLayout7.xml"/><Relationship Id="rId1" Type="http://schemas.openxmlformats.org/officeDocument/2006/relationships/tags" Target="../tags/tag2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9.xml.rels><?xml version="1.0" encoding="UTF-8" standalone="yes"?>
<Relationships xmlns="http://schemas.openxmlformats.org/package/2006/relationships"><Relationship Id="rId3" Type="http://schemas.openxmlformats.org/officeDocument/2006/relationships/notesSlide" Target="../notesSlides/notesSlide209.xml"/><Relationship Id="rId2" Type="http://schemas.openxmlformats.org/officeDocument/2006/relationships/slideLayout" Target="../slideLayouts/slideLayout7.xml"/><Relationship Id="rId1" Type="http://schemas.openxmlformats.org/officeDocument/2006/relationships/tags" Target="../tags/tag23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1.xml"/></Relationships>
</file>

<file path=ppt/slides/_rels/slide210.xml.rels><?xml version="1.0" encoding="UTF-8" standalone="yes"?>
<Relationships xmlns="http://schemas.openxmlformats.org/package/2006/relationships"><Relationship Id="rId3" Type="http://schemas.openxmlformats.org/officeDocument/2006/relationships/notesSlide" Target="../notesSlides/notesSlide210.xml"/><Relationship Id="rId2" Type="http://schemas.openxmlformats.org/officeDocument/2006/relationships/slideLayout" Target="../slideLayouts/slideLayout7.xml"/><Relationship Id="rId1" Type="http://schemas.openxmlformats.org/officeDocument/2006/relationships/tags" Target="../tags/tag2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1.xml.rels><?xml version="1.0" encoding="UTF-8" standalone="yes"?>
<Relationships xmlns="http://schemas.openxmlformats.org/package/2006/relationships"><Relationship Id="rId3" Type="http://schemas.openxmlformats.org/officeDocument/2006/relationships/notesSlide" Target="../notesSlides/notesSlide211.xml"/><Relationship Id="rId2" Type="http://schemas.openxmlformats.org/officeDocument/2006/relationships/slideLayout" Target="../slideLayouts/slideLayout7.xml"/><Relationship Id="rId1" Type="http://schemas.openxmlformats.org/officeDocument/2006/relationships/tags" Target="../tags/tag23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2.xml.rels><?xml version="1.0" encoding="UTF-8" standalone="yes"?>
<Relationships xmlns="http://schemas.openxmlformats.org/package/2006/relationships"><Relationship Id="rId3" Type="http://schemas.openxmlformats.org/officeDocument/2006/relationships/notesSlide" Target="../notesSlides/notesSlide212.xml"/><Relationship Id="rId2" Type="http://schemas.openxmlformats.org/officeDocument/2006/relationships/slideLayout" Target="../slideLayouts/slideLayout7.xml"/><Relationship Id="rId1" Type="http://schemas.openxmlformats.org/officeDocument/2006/relationships/tags" Target="../tags/tag2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3.xml.rels><?xml version="1.0" encoding="UTF-8" standalone="yes"?>
<Relationships xmlns="http://schemas.openxmlformats.org/package/2006/relationships"><Relationship Id="rId3" Type="http://schemas.openxmlformats.org/officeDocument/2006/relationships/notesSlide" Target="../notesSlides/notesSlide213.xml"/><Relationship Id="rId2" Type="http://schemas.openxmlformats.org/officeDocument/2006/relationships/slideLayout" Target="../slideLayouts/slideLayout7.xml"/><Relationship Id="rId1" Type="http://schemas.openxmlformats.org/officeDocument/2006/relationships/tags" Target="../tags/tag24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4.xml.rels><?xml version="1.0" encoding="UTF-8" standalone="yes"?>
<Relationships xmlns="http://schemas.openxmlformats.org/package/2006/relationships"><Relationship Id="rId3" Type="http://schemas.openxmlformats.org/officeDocument/2006/relationships/notesSlide" Target="../notesSlides/notesSlide214.xml"/><Relationship Id="rId2" Type="http://schemas.openxmlformats.org/officeDocument/2006/relationships/slideLayout" Target="../slideLayouts/slideLayout7.xml"/><Relationship Id="rId1" Type="http://schemas.openxmlformats.org/officeDocument/2006/relationships/tags" Target="../tags/tag2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5.xml.rels><?xml version="1.0" encoding="UTF-8" standalone="yes"?>
<Relationships xmlns="http://schemas.openxmlformats.org/package/2006/relationships"><Relationship Id="rId3" Type="http://schemas.openxmlformats.org/officeDocument/2006/relationships/notesSlide" Target="../notesSlides/notesSlide215.xml"/><Relationship Id="rId2" Type="http://schemas.openxmlformats.org/officeDocument/2006/relationships/slideLayout" Target="../slideLayouts/slideLayout7.xml"/><Relationship Id="rId1" Type="http://schemas.openxmlformats.org/officeDocument/2006/relationships/tags" Target="../tags/tag24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6.xml.rels><?xml version="1.0" encoding="UTF-8" standalone="yes"?>
<Relationships xmlns="http://schemas.openxmlformats.org/package/2006/relationships"><Relationship Id="rId3" Type="http://schemas.openxmlformats.org/officeDocument/2006/relationships/notesSlide" Target="../notesSlides/notesSlide216.xml"/><Relationship Id="rId2" Type="http://schemas.openxmlformats.org/officeDocument/2006/relationships/slideLayout" Target="../slideLayouts/slideLayout7.xml"/><Relationship Id="rId1" Type="http://schemas.openxmlformats.org/officeDocument/2006/relationships/tags" Target="../tags/tag2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7.xml.rels><?xml version="1.0" encoding="UTF-8" standalone="yes"?>
<Relationships xmlns="http://schemas.openxmlformats.org/package/2006/relationships"><Relationship Id="rId3" Type="http://schemas.openxmlformats.org/officeDocument/2006/relationships/notesSlide" Target="../notesSlides/notesSlide217.xml"/><Relationship Id="rId2" Type="http://schemas.openxmlformats.org/officeDocument/2006/relationships/slideLayout" Target="../slideLayouts/slideLayout7.xml"/><Relationship Id="rId1" Type="http://schemas.openxmlformats.org/officeDocument/2006/relationships/tags" Target="../tags/tag24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8.xml.rels><?xml version="1.0" encoding="UTF-8" standalone="yes"?>
<Relationships xmlns="http://schemas.openxmlformats.org/package/2006/relationships"><Relationship Id="rId3" Type="http://schemas.openxmlformats.org/officeDocument/2006/relationships/notesSlide" Target="../notesSlides/notesSlide218.xml"/><Relationship Id="rId2" Type="http://schemas.openxmlformats.org/officeDocument/2006/relationships/slideLayout" Target="../slideLayouts/slideLayout7.xml"/><Relationship Id="rId1" Type="http://schemas.openxmlformats.org/officeDocument/2006/relationships/tags" Target="../tags/tag2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9.xml.rels><?xml version="1.0" encoding="UTF-8" standalone="yes"?>
<Relationships xmlns="http://schemas.openxmlformats.org/package/2006/relationships"><Relationship Id="rId3" Type="http://schemas.openxmlformats.org/officeDocument/2006/relationships/notesSlide" Target="../notesSlides/notesSlide219.xml"/><Relationship Id="rId2" Type="http://schemas.openxmlformats.org/officeDocument/2006/relationships/slideLayout" Target="../slideLayouts/slideLayout7.xml"/><Relationship Id="rId1" Type="http://schemas.openxmlformats.org/officeDocument/2006/relationships/tags" Target="../tags/tag24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2.xml"/></Relationships>
</file>

<file path=ppt/slides/_rels/slide220.xml.rels><?xml version="1.0" encoding="UTF-8" standalone="yes"?>
<Relationships xmlns="http://schemas.openxmlformats.org/package/2006/relationships"><Relationship Id="rId3" Type="http://schemas.openxmlformats.org/officeDocument/2006/relationships/notesSlide" Target="../notesSlides/notesSlide220.xml"/><Relationship Id="rId2" Type="http://schemas.openxmlformats.org/officeDocument/2006/relationships/slideLayout" Target="../slideLayouts/slideLayout7.xml"/><Relationship Id="rId1" Type="http://schemas.openxmlformats.org/officeDocument/2006/relationships/tags" Target="../tags/tag2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1.xml.rels><?xml version="1.0" encoding="UTF-8" standalone="yes"?>
<Relationships xmlns="http://schemas.openxmlformats.org/package/2006/relationships"><Relationship Id="rId3" Type="http://schemas.openxmlformats.org/officeDocument/2006/relationships/notesSlide" Target="../notesSlides/notesSlide221.xml"/><Relationship Id="rId2" Type="http://schemas.openxmlformats.org/officeDocument/2006/relationships/slideLayout" Target="../slideLayouts/slideLayout7.xml"/><Relationship Id="rId1" Type="http://schemas.openxmlformats.org/officeDocument/2006/relationships/tags" Target="../tags/tag24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2.xml.rels><?xml version="1.0" encoding="UTF-8" standalone="yes"?>
<Relationships xmlns="http://schemas.openxmlformats.org/package/2006/relationships"><Relationship Id="rId3" Type="http://schemas.openxmlformats.org/officeDocument/2006/relationships/notesSlide" Target="../notesSlides/notesSlide222.xml"/><Relationship Id="rId2" Type="http://schemas.openxmlformats.org/officeDocument/2006/relationships/slideLayout" Target="../slideLayouts/slideLayout7.xml"/><Relationship Id="rId1" Type="http://schemas.openxmlformats.org/officeDocument/2006/relationships/tags" Target="../tags/tag2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3.xml.rels><?xml version="1.0" encoding="UTF-8" standalone="yes"?>
<Relationships xmlns="http://schemas.openxmlformats.org/package/2006/relationships"><Relationship Id="rId3" Type="http://schemas.openxmlformats.org/officeDocument/2006/relationships/notesSlide" Target="../notesSlides/notesSlide223.xml"/><Relationship Id="rId2" Type="http://schemas.openxmlformats.org/officeDocument/2006/relationships/slideLayout" Target="../slideLayouts/slideLayout7.xml"/><Relationship Id="rId1" Type="http://schemas.openxmlformats.org/officeDocument/2006/relationships/tags" Target="../tags/tag25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4.xml.rels><?xml version="1.0" encoding="UTF-8" standalone="yes"?>
<Relationships xmlns="http://schemas.openxmlformats.org/package/2006/relationships"><Relationship Id="rId3" Type="http://schemas.openxmlformats.org/officeDocument/2006/relationships/notesSlide" Target="../notesSlides/notesSlide224.xml"/><Relationship Id="rId2" Type="http://schemas.openxmlformats.org/officeDocument/2006/relationships/slideLayout" Target="../slideLayouts/slideLayout7.xml"/><Relationship Id="rId1" Type="http://schemas.openxmlformats.org/officeDocument/2006/relationships/tags" Target="../tags/tag2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5.xml.rels><?xml version="1.0" encoding="UTF-8" standalone="yes"?>
<Relationships xmlns="http://schemas.openxmlformats.org/package/2006/relationships"><Relationship Id="rId3" Type="http://schemas.openxmlformats.org/officeDocument/2006/relationships/notesSlide" Target="../notesSlides/notesSlide225.xml"/><Relationship Id="rId2" Type="http://schemas.openxmlformats.org/officeDocument/2006/relationships/slideLayout" Target="../slideLayouts/slideLayout7.xml"/><Relationship Id="rId1" Type="http://schemas.openxmlformats.org/officeDocument/2006/relationships/tags" Target="../tags/tag25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6.xml.rels><?xml version="1.0" encoding="UTF-8" standalone="yes"?>
<Relationships xmlns="http://schemas.openxmlformats.org/package/2006/relationships"><Relationship Id="rId3" Type="http://schemas.openxmlformats.org/officeDocument/2006/relationships/notesSlide" Target="../notesSlides/notesSlide226.xml"/><Relationship Id="rId2" Type="http://schemas.openxmlformats.org/officeDocument/2006/relationships/slideLayout" Target="../slideLayouts/slideLayout7.xml"/><Relationship Id="rId1" Type="http://schemas.openxmlformats.org/officeDocument/2006/relationships/tags" Target="../tags/tag2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7.xml.rels><?xml version="1.0" encoding="UTF-8" standalone="yes"?>
<Relationships xmlns="http://schemas.openxmlformats.org/package/2006/relationships"><Relationship Id="rId3" Type="http://schemas.openxmlformats.org/officeDocument/2006/relationships/notesSlide" Target="../notesSlides/notesSlide227.xml"/><Relationship Id="rId2" Type="http://schemas.openxmlformats.org/officeDocument/2006/relationships/slideLayout" Target="../slideLayouts/slideLayout7.xml"/><Relationship Id="rId1" Type="http://schemas.openxmlformats.org/officeDocument/2006/relationships/tags" Target="../tags/tag25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8.xml.rels><?xml version="1.0" encoding="UTF-8" standalone="yes"?>
<Relationships xmlns="http://schemas.openxmlformats.org/package/2006/relationships"><Relationship Id="rId3" Type="http://schemas.openxmlformats.org/officeDocument/2006/relationships/notesSlide" Target="../notesSlides/notesSlide228.xml"/><Relationship Id="rId2" Type="http://schemas.openxmlformats.org/officeDocument/2006/relationships/slideLayout" Target="../slideLayouts/slideLayout7.xml"/><Relationship Id="rId1" Type="http://schemas.openxmlformats.org/officeDocument/2006/relationships/tags" Target="../tags/tag2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9.xml.rels><?xml version="1.0" encoding="UTF-8" standalone="yes"?>
<Relationships xmlns="http://schemas.openxmlformats.org/package/2006/relationships"><Relationship Id="rId3" Type="http://schemas.openxmlformats.org/officeDocument/2006/relationships/notesSlide" Target="../notesSlides/notesSlide229.xml"/><Relationship Id="rId2" Type="http://schemas.openxmlformats.org/officeDocument/2006/relationships/slideLayout" Target="../slideLayouts/slideLayout7.xml"/><Relationship Id="rId1" Type="http://schemas.openxmlformats.org/officeDocument/2006/relationships/tags" Target="../tags/tag25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3.xml"/></Relationships>
</file>

<file path=ppt/slides/_rels/slide230.xml.rels><?xml version="1.0" encoding="UTF-8" standalone="yes"?>
<Relationships xmlns="http://schemas.openxmlformats.org/package/2006/relationships"><Relationship Id="rId3" Type="http://schemas.openxmlformats.org/officeDocument/2006/relationships/notesSlide" Target="../notesSlides/notesSlide230.xml"/><Relationship Id="rId2" Type="http://schemas.openxmlformats.org/officeDocument/2006/relationships/slideLayout" Target="../slideLayouts/slideLayout7.xml"/><Relationship Id="rId1" Type="http://schemas.openxmlformats.org/officeDocument/2006/relationships/tags" Target="../tags/tag2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1.xml.rels><?xml version="1.0" encoding="UTF-8" standalone="yes"?>
<Relationships xmlns="http://schemas.openxmlformats.org/package/2006/relationships"><Relationship Id="rId3" Type="http://schemas.openxmlformats.org/officeDocument/2006/relationships/notesSlide" Target="../notesSlides/notesSlide231.xml"/><Relationship Id="rId2" Type="http://schemas.openxmlformats.org/officeDocument/2006/relationships/slideLayout" Target="../slideLayouts/slideLayout7.xml"/><Relationship Id="rId1" Type="http://schemas.openxmlformats.org/officeDocument/2006/relationships/tags" Target="../tags/tag25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2.xml.rels><?xml version="1.0" encoding="UTF-8" standalone="yes"?>
<Relationships xmlns="http://schemas.openxmlformats.org/package/2006/relationships"><Relationship Id="rId3" Type="http://schemas.openxmlformats.org/officeDocument/2006/relationships/notesSlide" Target="../notesSlides/notesSlide232.xml"/><Relationship Id="rId2" Type="http://schemas.openxmlformats.org/officeDocument/2006/relationships/slideLayout" Target="../slideLayouts/slideLayout7.xml"/><Relationship Id="rId1" Type="http://schemas.openxmlformats.org/officeDocument/2006/relationships/tags" Target="../tags/tag2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3.xml.rels><?xml version="1.0" encoding="UTF-8" standalone="yes"?>
<Relationships xmlns="http://schemas.openxmlformats.org/package/2006/relationships"><Relationship Id="rId3" Type="http://schemas.openxmlformats.org/officeDocument/2006/relationships/notesSlide" Target="../notesSlides/notesSlide233.xml"/><Relationship Id="rId2" Type="http://schemas.openxmlformats.org/officeDocument/2006/relationships/slideLayout" Target="../slideLayouts/slideLayout7.xml"/><Relationship Id="rId1" Type="http://schemas.openxmlformats.org/officeDocument/2006/relationships/tags" Target="../tags/tag26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4.xml.rels><?xml version="1.0" encoding="UTF-8" standalone="yes"?>
<Relationships xmlns="http://schemas.openxmlformats.org/package/2006/relationships"><Relationship Id="rId3" Type="http://schemas.openxmlformats.org/officeDocument/2006/relationships/notesSlide" Target="../notesSlides/notesSlide234.xml"/><Relationship Id="rId2" Type="http://schemas.openxmlformats.org/officeDocument/2006/relationships/slideLayout" Target="../slideLayouts/slideLayout7.xml"/><Relationship Id="rId1" Type="http://schemas.openxmlformats.org/officeDocument/2006/relationships/tags" Target="../tags/tag2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5.xml.rels><?xml version="1.0" encoding="UTF-8" standalone="yes"?>
<Relationships xmlns="http://schemas.openxmlformats.org/package/2006/relationships"><Relationship Id="rId3" Type="http://schemas.openxmlformats.org/officeDocument/2006/relationships/notesSlide" Target="../notesSlides/notesSlide235.xml"/><Relationship Id="rId2" Type="http://schemas.openxmlformats.org/officeDocument/2006/relationships/slideLayout" Target="../slideLayouts/slideLayout7.xml"/><Relationship Id="rId1" Type="http://schemas.openxmlformats.org/officeDocument/2006/relationships/tags" Target="../tags/tag26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6.xml.rels><?xml version="1.0" encoding="UTF-8" standalone="yes"?>
<Relationships xmlns="http://schemas.openxmlformats.org/package/2006/relationships"><Relationship Id="rId3" Type="http://schemas.openxmlformats.org/officeDocument/2006/relationships/notesSlide" Target="../notesSlides/notesSlide236.xml"/><Relationship Id="rId2" Type="http://schemas.openxmlformats.org/officeDocument/2006/relationships/slideLayout" Target="../slideLayouts/slideLayout7.xml"/><Relationship Id="rId1" Type="http://schemas.openxmlformats.org/officeDocument/2006/relationships/tags" Target="../tags/tag2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7.xml.rels><?xml version="1.0" encoding="UTF-8" standalone="yes"?>
<Relationships xmlns="http://schemas.openxmlformats.org/package/2006/relationships"><Relationship Id="rId3" Type="http://schemas.openxmlformats.org/officeDocument/2006/relationships/notesSlide" Target="../notesSlides/notesSlide237.xml"/><Relationship Id="rId2" Type="http://schemas.openxmlformats.org/officeDocument/2006/relationships/slideLayout" Target="../slideLayouts/slideLayout7.xml"/><Relationship Id="rId1" Type="http://schemas.openxmlformats.org/officeDocument/2006/relationships/tags" Target="../tags/tag26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8.xml.rels><?xml version="1.0" encoding="UTF-8" standalone="yes"?>
<Relationships xmlns="http://schemas.openxmlformats.org/package/2006/relationships"><Relationship Id="rId3" Type="http://schemas.openxmlformats.org/officeDocument/2006/relationships/notesSlide" Target="../notesSlides/notesSlide238.xml"/><Relationship Id="rId2" Type="http://schemas.openxmlformats.org/officeDocument/2006/relationships/slideLayout" Target="../slideLayouts/slideLayout7.xml"/><Relationship Id="rId1" Type="http://schemas.openxmlformats.org/officeDocument/2006/relationships/tags" Target="../tags/tag2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9.xml.rels><?xml version="1.0" encoding="UTF-8" standalone="yes"?>
<Relationships xmlns="http://schemas.openxmlformats.org/package/2006/relationships"><Relationship Id="rId3" Type="http://schemas.openxmlformats.org/officeDocument/2006/relationships/notesSlide" Target="../notesSlides/notesSlide239.xml"/><Relationship Id="rId2" Type="http://schemas.openxmlformats.org/officeDocument/2006/relationships/slideLayout" Target="../slideLayouts/slideLayout7.xml"/><Relationship Id="rId1" Type="http://schemas.openxmlformats.org/officeDocument/2006/relationships/tags" Target="../tags/tag26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4.xml"/></Relationships>
</file>

<file path=ppt/slides/_rels/slide240.xml.rels><?xml version="1.0" encoding="UTF-8" standalone="yes"?>
<Relationships xmlns="http://schemas.openxmlformats.org/package/2006/relationships"><Relationship Id="rId3" Type="http://schemas.openxmlformats.org/officeDocument/2006/relationships/notesSlide" Target="../notesSlides/notesSlide240.xml"/><Relationship Id="rId2" Type="http://schemas.openxmlformats.org/officeDocument/2006/relationships/slideLayout" Target="../slideLayouts/slideLayout7.xml"/><Relationship Id="rId1" Type="http://schemas.openxmlformats.org/officeDocument/2006/relationships/tags" Target="../tags/tag2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1.xml.rels><?xml version="1.0" encoding="UTF-8" standalone="yes"?>
<Relationships xmlns="http://schemas.openxmlformats.org/package/2006/relationships"><Relationship Id="rId3" Type="http://schemas.openxmlformats.org/officeDocument/2006/relationships/notesSlide" Target="../notesSlides/notesSlide241.xml"/><Relationship Id="rId2" Type="http://schemas.openxmlformats.org/officeDocument/2006/relationships/slideLayout" Target="../slideLayouts/slideLayout7.xml"/><Relationship Id="rId1" Type="http://schemas.openxmlformats.org/officeDocument/2006/relationships/tags" Target="../tags/tag26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2.xml.rels><?xml version="1.0" encoding="UTF-8" standalone="yes"?>
<Relationships xmlns="http://schemas.openxmlformats.org/package/2006/relationships"><Relationship Id="rId3" Type="http://schemas.openxmlformats.org/officeDocument/2006/relationships/notesSlide" Target="../notesSlides/notesSlide242.xml"/><Relationship Id="rId2" Type="http://schemas.openxmlformats.org/officeDocument/2006/relationships/slideLayout" Target="../slideLayouts/slideLayout7.xml"/><Relationship Id="rId1" Type="http://schemas.openxmlformats.org/officeDocument/2006/relationships/tags" Target="../tags/tag2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3.xml.rels><?xml version="1.0" encoding="UTF-8" standalone="yes"?>
<Relationships xmlns="http://schemas.openxmlformats.org/package/2006/relationships"><Relationship Id="rId3" Type="http://schemas.openxmlformats.org/officeDocument/2006/relationships/notesSlide" Target="../notesSlides/notesSlide243.xml"/><Relationship Id="rId2" Type="http://schemas.openxmlformats.org/officeDocument/2006/relationships/slideLayout" Target="../slideLayouts/slideLayout7.xml"/><Relationship Id="rId1" Type="http://schemas.openxmlformats.org/officeDocument/2006/relationships/tags" Target="../tags/tag27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4.xml.rels><?xml version="1.0" encoding="UTF-8" standalone="yes"?>
<Relationships xmlns="http://schemas.openxmlformats.org/package/2006/relationships"><Relationship Id="rId3" Type="http://schemas.openxmlformats.org/officeDocument/2006/relationships/notesSlide" Target="../notesSlides/notesSlide244.xml"/><Relationship Id="rId2" Type="http://schemas.openxmlformats.org/officeDocument/2006/relationships/slideLayout" Target="../slideLayouts/slideLayout7.xml"/><Relationship Id="rId1" Type="http://schemas.openxmlformats.org/officeDocument/2006/relationships/tags" Target="../tags/tag2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5.xml.rels><?xml version="1.0" encoding="UTF-8" standalone="yes"?>
<Relationships xmlns="http://schemas.openxmlformats.org/package/2006/relationships"><Relationship Id="rId3" Type="http://schemas.openxmlformats.org/officeDocument/2006/relationships/notesSlide" Target="../notesSlides/notesSlide245.xml"/><Relationship Id="rId2" Type="http://schemas.openxmlformats.org/officeDocument/2006/relationships/slideLayout" Target="../slideLayouts/slideLayout7.xml"/><Relationship Id="rId1" Type="http://schemas.openxmlformats.org/officeDocument/2006/relationships/tags" Target="../tags/tag27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6.xml.rels><?xml version="1.0" encoding="UTF-8" standalone="yes"?>
<Relationships xmlns="http://schemas.openxmlformats.org/package/2006/relationships"><Relationship Id="rId3" Type="http://schemas.openxmlformats.org/officeDocument/2006/relationships/notesSlide" Target="../notesSlides/notesSlide246.xml"/><Relationship Id="rId2" Type="http://schemas.openxmlformats.org/officeDocument/2006/relationships/slideLayout" Target="../slideLayouts/slideLayout7.xml"/><Relationship Id="rId1" Type="http://schemas.openxmlformats.org/officeDocument/2006/relationships/tags" Target="../tags/tag2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7.xml.rels><?xml version="1.0" encoding="UTF-8" standalone="yes"?>
<Relationships xmlns="http://schemas.openxmlformats.org/package/2006/relationships"><Relationship Id="rId3" Type="http://schemas.openxmlformats.org/officeDocument/2006/relationships/notesSlide" Target="../notesSlides/notesSlide247.xml"/><Relationship Id="rId2" Type="http://schemas.openxmlformats.org/officeDocument/2006/relationships/slideLayout" Target="../slideLayouts/slideLayout7.xml"/><Relationship Id="rId1" Type="http://schemas.openxmlformats.org/officeDocument/2006/relationships/tags" Target="../tags/tag27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8.xml.rels><?xml version="1.0" encoding="UTF-8" standalone="yes"?>
<Relationships xmlns="http://schemas.openxmlformats.org/package/2006/relationships"><Relationship Id="rId3" Type="http://schemas.openxmlformats.org/officeDocument/2006/relationships/notesSlide" Target="../notesSlides/notesSlide248.xml"/><Relationship Id="rId2" Type="http://schemas.openxmlformats.org/officeDocument/2006/relationships/slideLayout" Target="../slideLayouts/slideLayout7.xml"/><Relationship Id="rId1" Type="http://schemas.openxmlformats.org/officeDocument/2006/relationships/tags" Target="../tags/tag2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9.xml.rels><?xml version="1.0" encoding="UTF-8" standalone="yes"?>
<Relationships xmlns="http://schemas.openxmlformats.org/package/2006/relationships"><Relationship Id="rId3" Type="http://schemas.openxmlformats.org/officeDocument/2006/relationships/notesSlide" Target="../notesSlides/notesSlide249.xml"/><Relationship Id="rId2" Type="http://schemas.openxmlformats.org/officeDocument/2006/relationships/slideLayout" Target="../slideLayouts/slideLayout7.xml"/><Relationship Id="rId1" Type="http://schemas.openxmlformats.org/officeDocument/2006/relationships/tags" Target="../tags/tag27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5.xml"/></Relationships>
</file>

<file path=ppt/slides/_rels/slide250.xml.rels><?xml version="1.0" encoding="UTF-8" standalone="yes"?>
<Relationships xmlns="http://schemas.openxmlformats.org/package/2006/relationships"><Relationship Id="rId3" Type="http://schemas.openxmlformats.org/officeDocument/2006/relationships/notesSlide" Target="../notesSlides/notesSlide250.xml"/><Relationship Id="rId2" Type="http://schemas.openxmlformats.org/officeDocument/2006/relationships/slideLayout" Target="../slideLayouts/slideLayout7.xml"/><Relationship Id="rId1" Type="http://schemas.openxmlformats.org/officeDocument/2006/relationships/tags" Target="../tags/tag2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1.xml.rels><?xml version="1.0" encoding="UTF-8" standalone="yes"?>
<Relationships xmlns="http://schemas.openxmlformats.org/package/2006/relationships"><Relationship Id="rId3" Type="http://schemas.openxmlformats.org/officeDocument/2006/relationships/notesSlide" Target="../notesSlides/notesSlide251.xml"/><Relationship Id="rId2" Type="http://schemas.openxmlformats.org/officeDocument/2006/relationships/slideLayout" Target="../slideLayouts/slideLayout7.xml"/><Relationship Id="rId1" Type="http://schemas.openxmlformats.org/officeDocument/2006/relationships/tags" Target="../tags/tag27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2.xml.rels><?xml version="1.0" encoding="UTF-8" standalone="yes"?>
<Relationships xmlns="http://schemas.openxmlformats.org/package/2006/relationships"><Relationship Id="rId3" Type="http://schemas.openxmlformats.org/officeDocument/2006/relationships/notesSlide" Target="../notesSlides/notesSlide252.xml"/><Relationship Id="rId2" Type="http://schemas.openxmlformats.org/officeDocument/2006/relationships/slideLayout" Target="../slideLayouts/slideLayout7.xml"/><Relationship Id="rId1" Type="http://schemas.openxmlformats.org/officeDocument/2006/relationships/tags" Target="../tags/tag2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3.xml.rels><?xml version="1.0" encoding="UTF-8" standalone="yes"?>
<Relationships xmlns="http://schemas.openxmlformats.org/package/2006/relationships"><Relationship Id="rId3" Type="http://schemas.openxmlformats.org/officeDocument/2006/relationships/notesSlide" Target="../notesSlides/notesSlide253.xml"/><Relationship Id="rId2" Type="http://schemas.openxmlformats.org/officeDocument/2006/relationships/slideLayout" Target="../slideLayouts/slideLayout7.xml"/><Relationship Id="rId1" Type="http://schemas.openxmlformats.org/officeDocument/2006/relationships/tags" Target="../tags/tag28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4.xml.rels><?xml version="1.0" encoding="UTF-8" standalone="yes"?>
<Relationships xmlns="http://schemas.openxmlformats.org/package/2006/relationships"><Relationship Id="rId3" Type="http://schemas.openxmlformats.org/officeDocument/2006/relationships/notesSlide" Target="../notesSlides/notesSlide254.xml"/><Relationship Id="rId2" Type="http://schemas.openxmlformats.org/officeDocument/2006/relationships/slideLayout" Target="../slideLayouts/slideLayout7.xml"/><Relationship Id="rId1" Type="http://schemas.openxmlformats.org/officeDocument/2006/relationships/tags" Target="../tags/tag2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5.xml.rels><?xml version="1.0" encoding="UTF-8" standalone="yes"?>
<Relationships xmlns="http://schemas.openxmlformats.org/package/2006/relationships"><Relationship Id="rId3" Type="http://schemas.openxmlformats.org/officeDocument/2006/relationships/notesSlide" Target="../notesSlides/notesSlide255.xml"/><Relationship Id="rId2" Type="http://schemas.openxmlformats.org/officeDocument/2006/relationships/slideLayout" Target="../slideLayouts/slideLayout7.xml"/><Relationship Id="rId1" Type="http://schemas.openxmlformats.org/officeDocument/2006/relationships/tags" Target="../tags/tag28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6.xml.rels><?xml version="1.0" encoding="UTF-8" standalone="yes"?>
<Relationships xmlns="http://schemas.openxmlformats.org/package/2006/relationships"><Relationship Id="rId3" Type="http://schemas.openxmlformats.org/officeDocument/2006/relationships/notesSlide" Target="../notesSlides/notesSlide256.xml"/><Relationship Id="rId2" Type="http://schemas.openxmlformats.org/officeDocument/2006/relationships/slideLayout" Target="../slideLayouts/slideLayout7.xml"/><Relationship Id="rId1" Type="http://schemas.openxmlformats.org/officeDocument/2006/relationships/tags" Target="../tags/tag2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7.xml.rels><?xml version="1.0" encoding="UTF-8" standalone="yes"?>
<Relationships xmlns="http://schemas.openxmlformats.org/package/2006/relationships"><Relationship Id="rId3" Type="http://schemas.openxmlformats.org/officeDocument/2006/relationships/notesSlide" Target="../notesSlides/notesSlide257.xml"/><Relationship Id="rId2" Type="http://schemas.openxmlformats.org/officeDocument/2006/relationships/slideLayout" Target="../slideLayouts/slideLayout7.xml"/><Relationship Id="rId1" Type="http://schemas.openxmlformats.org/officeDocument/2006/relationships/tags" Target="../tags/tag28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8.xml.rels><?xml version="1.0" encoding="UTF-8" standalone="yes"?>
<Relationships xmlns="http://schemas.openxmlformats.org/package/2006/relationships"><Relationship Id="rId3" Type="http://schemas.openxmlformats.org/officeDocument/2006/relationships/notesSlide" Target="../notesSlides/notesSlide258.xml"/><Relationship Id="rId2" Type="http://schemas.openxmlformats.org/officeDocument/2006/relationships/slideLayout" Target="../slideLayouts/slideLayout7.xml"/><Relationship Id="rId1" Type="http://schemas.openxmlformats.org/officeDocument/2006/relationships/tags" Target="../tags/tag2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9.xml.rels><?xml version="1.0" encoding="UTF-8" standalone="yes"?>
<Relationships xmlns="http://schemas.openxmlformats.org/package/2006/relationships"><Relationship Id="rId3" Type="http://schemas.openxmlformats.org/officeDocument/2006/relationships/notesSlide" Target="../notesSlides/notesSlide259.xml"/><Relationship Id="rId2" Type="http://schemas.openxmlformats.org/officeDocument/2006/relationships/slideLayout" Target="../slideLayouts/slideLayout7.xml"/><Relationship Id="rId1" Type="http://schemas.openxmlformats.org/officeDocument/2006/relationships/tags" Target="../tags/tag28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6.xml"/></Relationships>
</file>

<file path=ppt/slides/_rels/slide260.xml.rels><?xml version="1.0" encoding="UTF-8" standalone="yes"?>
<Relationships xmlns="http://schemas.openxmlformats.org/package/2006/relationships"><Relationship Id="rId3" Type="http://schemas.openxmlformats.org/officeDocument/2006/relationships/notesSlide" Target="../notesSlides/notesSlide260.xml"/><Relationship Id="rId2" Type="http://schemas.openxmlformats.org/officeDocument/2006/relationships/slideLayout" Target="../slideLayouts/slideLayout7.xml"/><Relationship Id="rId1" Type="http://schemas.openxmlformats.org/officeDocument/2006/relationships/tags" Target="../tags/tag2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1.xml.rels><?xml version="1.0" encoding="UTF-8" standalone="yes"?>
<Relationships xmlns="http://schemas.openxmlformats.org/package/2006/relationships"><Relationship Id="rId3" Type="http://schemas.openxmlformats.org/officeDocument/2006/relationships/notesSlide" Target="../notesSlides/notesSlide261.xml"/><Relationship Id="rId2" Type="http://schemas.openxmlformats.org/officeDocument/2006/relationships/slideLayout" Target="../slideLayouts/slideLayout7.xml"/><Relationship Id="rId1" Type="http://schemas.openxmlformats.org/officeDocument/2006/relationships/tags" Target="../tags/tag28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2.xml.rels><?xml version="1.0" encoding="UTF-8" standalone="yes"?>
<Relationships xmlns="http://schemas.openxmlformats.org/package/2006/relationships"><Relationship Id="rId3" Type="http://schemas.openxmlformats.org/officeDocument/2006/relationships/notesSlide" Target="../notesSlides/notesSlide262.xml"/><Relationship Id="rId2" Type="http://schemas.openxmlformats.org/officeDocument/2006/relationships/slideLayout" Target="../slideLayouts/slideLayout7.xml"/><Relationship Id="rId1" Type="http://schemas.openxmlformats.org/officeDocument/2006/relationships/tags" Target="../tags/tag2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3.xml.rels><?xml version="1.0" encoding="UTF-8" standalone="yes"?>
<Relationships xmlns="http://schemas.openxmlformats.org/package/2006/relationships"><Relationship Id="rId3" Type="http://schemas.openxmlformats.org/officeDocument/2006/relationships/notesSlide" Target="../notesSlides/notesSlide263.xml"/><Relationship Id="rId2" Type="http://schemas.openxmlformats.org/officeDocument/2006/relationships/slideLayout" Target="../slideLayouts/slideLayout7.xml"/><Relationship Id="rId1" Type="http://schemas.openxmlformats.org/officeDocument/2006/relationships/tags" Target="../tags/tag29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4.xml.rels><?xml version="1.0" encoding="UTF-8" standalone="yes"?>
<Relationships xmlns="http://schemas.openxmlformats.org/package/2006/relationships"><Relationship Id="rId3" Type="http://schemas.openxmlformats.org/officeDocument/2006/relationships/notesSlide" Target="../notesSlides/notesSlide264.xml"/><Relationship Id="rId2" Type="http://schemas.openxmlformats.org/officeDocument/2006/relationships/slideLayout" Target="../slideLayouts/slideLayout7.xml"/><Relationship Id="rId1" Type="http://schemas.openxmlformats.org/officeDocument/2006/relationships/tags" Target="../tags/tag2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5.xml.rels><?xml version="1.0" encoding="UTF-8" standalone="yes"?>
<Relationships xmlns="http://schemas.openxmlformats.org/package/2006/relationships"><Relationship Id="rId3" Type="http://schemas.openxmlformats.org/officeDocument/2006/relationships/notesSlide" Target="../notesSlides/notesSlide265.xml"/><Relationship Id="rId2" Type="http://schemas.openxmlformats.org/officeDocument/2006/relationships/slideLayout" Target="../slideLayouts/slideLayout7.xml"/><Relationship Id="rId1" Type="http://schemas.openxmlformats.org/officeDocument/2006/relationships/tags" Target="../tags/tag29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6.xml.rels><?xml version="1.0" encoding="UTF-8" standalone="yes"?>
<Relationships xmlns="http://schemas.openxmlformats.org/package/2006/relationships"><Relationship Id="rId3" Type="http://schemas.openxmlformats.org/officeDocument/2006/relationships/notesSlide" Target="../notesSlides/notesSlide266.xml"/><Relationship Id="rId2" Type="http://schemas.openxmlformats.org/officeDocument/2006/relationships/slideLayout" Target="../slideLayouts/slideLayout7.xml"/><Relationship Id="rId1" Type="http://schemas.openxmlformats.org/officeDocument/2006/relationships/tags" Target="../tags/tag2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7.xml.rels><?xml version="1.0" encoding="UTF-8" standalone="yes"?>
<Relationships xmlns="http://schemas.openxmlformats.org/package/2006/relationships"><Relationship Id="rId3" Type="http://schemas.openxmlformats.org/officeDocument/2006/relationships/notesSlide" Target="../notesSlides/notesSlide267.xml"/><Relationship Id="rId2" Type="http://schemas.openxmlformats.org/officeDocument/2006/relationships/slideLayout" Target="../slideLayouts/slideLayout7.xml"/><Relationship Id="rId1" Type="http://schemas.openxmlformats.org/officeDocument/2006/relationships/tags" Target="../tags/tag29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8.xml.rels><?xml version="1.0" encoding="UTF-8" standalone="yes"?>
<Relationships xmlns="http://schemas.openxmlformats.org/package/2006/relationships"><Relationship Id="rId3" Type="http://schemas.openxmlformats.org/officeDocument/2006/relationships/notesSlide" Target="../notesSlides/notesSlide268.xml"/><Relationship Id="rId2" Type="http://schemas.openxmlformats.org/officeDocument/2006/relationships/slideLayout" Target="../slideLayouts/slideLayout7.xml"/><Relationship Id="rId1" Type="http://schemas.openxmlformats.org/officeDocument/2006/relationships/tags" Target="../tags/tag2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9.xml.rels><?xml version="1.0" encoding="UTF-8" standalone="yes"?>
<Relationships xmlns="http://schemas.openxmlformats.org/package/2006/relationships"><Relationship Id="rId3" Type="http://schemas.openxmlformats.org/officeDocument/2006/relationships/notesSlide" Target="../notesSlides/notesSlide269.xml"/><Relationship Id="rId2" Type="http://schemas.openxmlformats.org/officeDocument/2006/relationships/slideLayout" Target="../slideLayouts/slideLayout7.xml"/><Relationship Id="rId1" Type="http://schemas.openxmlformats.org/officeDocument/2006/relationships/tags" Target="../tags/tag29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7.xml"/></Relationships>
</file>

<file path=ppt/slides/_rels/slide270.xml.rels><?xml version="1.0" encoding="UTF-8" standalone="yes"?>
<Relationships xmlns="http://schemas.openxmlformats.org/package/2006/relationships"><Relationship Id="rId3" Type="http://schemas.openxmlformats.org/officeDocument/2006/relationships/notesSlide" Target="../notesSlides/notesSlide270.xml"/><Relationship Id="rId2" Type="http://schemas.openxmlformats.org/officeDocument/2006/relationships/slideLayout" Target="../slideLayouts/slideLayout7.xml"/><Relationship Id="rId1" Type="http://schemas.openxmlformats.org/officeDocument/2006/relationships/tags" Target="../tags/tag2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1.xml.rels><?xml version="1.0" encoding="UTF-8" standalone="yes"?>
<Relationships xmlns="http://schemas.openxmlformats.org/package/2006/relationships"><Relationship Id="rId3" Type="http://schemas.openxmlformats.org/officeDocument/2006/relationships/notesSlide" Target="../notesSlides/notesSlide271.xml"/><Relationship Id="rId2" Type="http://schemas.openxmlformats.org/officeDocument/2006/relationships/slideLayout" Target="../slideLayouts/slideLayout7.xml"/><Relationship Id="rId1" Type="http://schemas.openxmlformats.org/officeDocument/2006/relationships/tags" Target="../tags/tag29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2.xml.rels><?xml version="1.0" encoding="UTF-8" standalone="yes"?>
<Relationships xmlns="http://schemas.openxmlformats.org/package/2006/relationships"><Relationship Id="rId3" Type="http://schemas.openxmlformats.org/officeDocument/2006/relationships/notesSlide" Target="../notesSlides/notesSlide272.xml"/><Relationship Id="rId2" Type="http://schemas.openxmlformats.org/officeDocument/2006/relationships/slideLayout" Target="../slideLayouts/slideLayout7.xml"/><Relationship Id="rId1" Type="http://schemas.openxmlformats.org/officeDocument/2006/relationships/tags" Target="../tags/tag2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3.xml.rels><?xml version="1.0" encoding="UTF-8" standalone="yes"?>
<Relationships xmlns="http://schemas.openxmlformats.org/package/2006/relationships"><Relationship Id="rId3" Type="http://schemas.openxmlformats.org/officeDocument/2006/relationships/notesSlide" Target="../notesSlides/notesSlide273.xml"/><Relationship Id="rId2" Type="http://schemas.openxmlformats.org/officeDocument/2006/relationships/slideLayout" Target="../slideLayouts/slideLayout7.xml"/><Relationship Id="rId1" Type="http://schemas.openxmlformats.org/officeDocument/2006/relationships/tags" Target="../tags/tag30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4.xml.rels><?xml version="1.0" encoding="UTF-8" standalone="yes"?>
<Relationships xmlns="http://schemas.openxmlformats.org/package/2006/relationships"><Relationship Id="rId3" Type="http://schemas.openxmlformats.org/officeDocument/2006/relationships/notesSlide" Target="../notesSlides/notesSlide274.xml"/><Relationship Id="rId2" Type="http://schemas.openxmlformats.org/officeDocument/2006/relationships/slideLayout" Target="../slideLayouts/slideLayout7.xml"/><Relationship Id="rId1" Type="http://schemas.openxmlformats.org/officeDocument/2006/relationships/tags" Target="../tags/tag3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5.xml.rels><?xml version="1.0" encoding="UTF-8" standalone="yes"?>
<Relationships xmlns="http://schemas.openxmlformats.org/package/2006/relationships"><Relationship Id="rId3" Type="http://schemas.openxmlformats.org/officeDocument/2006/relationships/notesSlide" Target="../notesSlides/notesSlide275.xml"/><Relationship Id="rId2" Type="http://schemas.openxmlformats.org/officeDocument/2006/relationships/slideLayout" Target="../slideLayouts/slideLayout7.xml"/><Relationship Id="rId1" Type="http://schemas.openxmlformats.org/officeDocument/2006/relationships/tags" Target="../tags/tag30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6.xml.rels><?xml version="1.0" encoding="UTF-8" standalone="yes"?>
<Relationships xmlns="http://schemas.openxmlformats.org/package/2006/relationships"><Relationship Id="rId3" Type="http://schemas.openxmlformats.org/officeDocument/2006/relationships/notesSlide" Target="../notesSlides/notesSlide276.xml"/><Relationship Id="rId2" Type="http://schemas.openxmlformats.org/officeDocument/2006/relationships/slideLayout" Target="../slideLayouts/slideLayout7.xml"/><Relationship Id="rId1" Type="http://schemas.openxmlformats.org/officeDocument/2006/relationships/tags" Target="../tags/tag3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7.xml.rels><?xml version="1.0" encoding="UTF-8" standalone="yes"?>
<Relationships xmlns="http://schemas.openxmlformats.org/package/2006/relationships"><Relationship Id="rId3" Type="http://schemas.openxmlformats.org/officeDocument/2006/relationships/notesSlide" Target="../notesSlides/notesSlide277.xml"/><Relationship Id="rId2" Type="http://schemas.openxmlformats.org/officeDocument/2006/relationships/slideLayout" Target="../slideLayouts/slideLayout7.xml"/><Relationship Id="rId1" Type="http://schemas.openxmlformats.org/officeDocument/2006/relationships/tags" Target="../tags/tag30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8.xml.rels><?xml version="1.0" encoding="UTF-8" standalone="yes"?>
<Relationships xmlns="http://schemas.openxmlformats.org/package/2006/relationships"><Relationship Id="rId3" Type="http://schemas.openxmlformats.org/officeDocument/2006/relationships/notesSlide" Target="../notesSlides/notesSlide278.xml"/><Relationship Id="rId2" Type="http://schemas.openxmlformats.org/officeDocument/2006/relationships/slideLayout" Target="../slideLayouts/slideLayout7.xml"/><Relationship Id="rId1" Type="http://schemas.openxmlformats.org/officeDocument/2006/relationships/tags" Target="../tags/tag3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9.xml.rels><?xml version="1.0" encoding="UTF-8" standalone="yes"?>
<Relationships xmlns="http://schemas.openxmlformats.org/package/2006/relationships"><Relationship Id="rId3" Type="http://schemas.openxmlformats.org/officeDocument/2006/relationships/notesSlide" Target="../notesSlides/notesSlide279.xml"/><Relationship Id="rId2" Type="http://schemas.openxmlformats.org/officeDocument/2006/relationships/slideLayout" Target="../slideLayouts/slideLayout7.xml"/><Relationship Id="rId1" Type="http://schemas.openxmlformats.org/officeDocument/2006/relationships/tags" Target="../tags/tag30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8.xml"/></Relationships>
</file>

<file path=ppt/slides/_rels/slide280.xml.rels><?xml version="1.0" encoding="UTF-8" standalone="yes"?>
<Relationships xmlns="http://schemas.openxmlformats.org/package/2006/relationships"><Relationship Id="rId3" Type="http://schemas.openxmlformats.org/officeDocument/2006/relationships/notesSlide" Target="../notesSlides/notesSlide280.xml"/><Relationship Id="rId2" Type="http://schemas.openxmlformats.org/officeDocument/2006/relationships/slideLayout" Target="../slideLayouts/slideLayout7.xml"/><Relationship Id="rId1" Type="http://schemas.openxmlformats.org/officeDocument/2006/relationships/tags" Target="../tags/tag3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1.xml.rels><?xml version="1.0" encoding="UTF-8" standalone="yes"?>
<Relationships xmlns="http://schemas.openxmlformats.org/package/2006/relationships"><Relationship Id="rId3" Type="http://schemas.openxmlformats.org/officeDocument/2006/relationships/notesSlide" Target="../notesSlides/notesSlide281.xml"/><Relationship Id="rId2" Type="http://schemas.openxmlformats.org/officeDocument/2006/relationships/slideLayout" Target="../slideLayouts/slideLayout7.xml"/><Relationship Id="rId1" Type="http://schemas.openxmlformats.org/officeDocument/2006/relationships/tags" Target="../tags/tag3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2.xml.rels><?xml version="1.0" encoding="UTF-8" standalone="yes"?>
<Relationships xmlns="http://schemas.openxmlformats.org/package/2006/relationships"><Relationship Id="rId3" Type="http://schemas.openxmlformats.org/officeDocument/2006/relationships/notesSlide" Target="../notesSlides/notesSlide282.xml"/><Relationship Id="rId2" Type="http://schemas.openxmlformats.org/officeDocument/2006/relationships/slideLayout" Target="../slideLayouts/slideLayout7.xml"/><Relationship Id="rId1" Type="http://schemas.openxmlformats.org/officeDocument/2006/relationships/tags" Target="../tags/tag3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3.xml.rels><?xml version="1.0" encoding="UTF-8" standalone="yes"?>
<Relationships xmlns="http://schemas.openxmlformats.org/package/2006/relationships"><Relationship Id="rId3" Type="http://schemas.openxmlformats.org/officeDocument/2006/relationships/notesSlide" Target="../notesSlides/notesSlide283.xml"/><Relationship Id="rId2" Type="http://schemas.openxmlformats.org/officeDocument/2006/relationships/slideLayout" Target="../slideLayouts/slideLayout7.xml"/><Relationship Id="rId1" Type="http://schemas.openxmlformats.org/officeDocument/2006/relationships/tags" Target="../tags/tag3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4.xml.rels><?xml version="1.0" encoding="UTF-8" standalone="yes"?>
<Relationships xmlns="http://schemas.openxmlformats.org/package/2006/relationships"><Relationship Id="rId3" Type="http://schemas.openxmlformats.org/officeDocument/2006/relationships/notesSlide" Target="../notesSlides/notesSlide284.xml"/><Relationship Id="rId2" Type="http://schemas.openxmlformats.org/officeDocument/2006/relationships/slideLayout" Target="../slideLayouts/slideLayout7.xml"/><Relationship Id="rId1" Type="http://schemas.openxmlformats.org/officeDocument/2006/relationships/tags" Target="../tags/tag3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5.xml.rels><?xml version="1.0" encoding="UTF-8" standalone="yes"?>
<Relationships xmlns="http://schemas.openxmlformats.org/package/2006/relationships"><Relationship Id="rId3" Type="http://schemas.openxmlformats.org/officeDocument/2006/relationships/notesSlide" Target="../notesSlides/notesSlide285.xml"/><Relationship Id="rId2" Type="http://schemas.openxmlformats.org/officeDocument/2006/relationships/slideLayout" Target="../slideLayouts/slideLayout7.xml"/><Relationship Id="rId1" Type="http://schemas.openxmlformats.org/officeDocument/2006/relationships/tags" Target="../tags/tag3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6.xml.rels><?xml version="1.0" encoding="UTF-8" standalone="yes"?>
<Relationships xmlns="http://schemas.openxmlformats.org/package/2006/relationships"><Relationship Id="rId3" Type="http://schemas.openxmlformats.org/officeDocument/2006/relationships/notesSlide" Target="../notesSlides/notesSlide286.xml"/><Relationship Id="rId2" Type="http://schemas.openxmlformats.org/officeDocument/2006/relationships/slideLayout" Target="../slideLayouts/slideLayout7.xml"/><Relationship Id="rId1" Type="http://schemas.openxmlformats.org/officeDocument/2006/relationships/tags" Target="../tags/tag3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7.xml.rels><?xml version="1.0" encoding="UTF-8" standalone="yes"?>
<Relationships xmlns="http://schemas.openxmlformats.org/package/2006/relationships"><Relationship Id="rId3" Type="http://schemas.openxmlformats.org/officeDocument/2006/relationships/notesSlide" Target="../notesSlides/notesSlide287.xml"/><Relationship Id="rId2" Type="http://schemas.openxmlformats.org/officeDocument/2006/relationships/slideLayout" Target="../slideLayouts/slideLayout7.xml"/><Relationship Id="rId1" Type="http://schemas.openxmlformats.org/officeDocument/2006/relationships/tags" Target="../tags/tag3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8.xml.rels><?xml version="1.0" encoding="UTF-8" standalone="yes"?>
<Relationships xmlns="http://schemas.openxmlformats.org/package/2006/relationships"><Relationship Id="rId3" Type="http://schemas.openxmlformats.org/officeDocument/2006/relationships/notesSlide" Target="../notesSlides/notesSlide288.xml"/><Relationship Id="rId2" Type="http://schemas.openxmlformats.org/officeDocument/2006/relationships/slideLayout" Target="../slideLayouts/slideLayout7.xml"/><Relationship Id="rId1" Type="http://schemas.openxmlformats.org/officeDocument/2006/relationships/tags" Target="../tags/tag3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9.xml.rels><?xml version="1.0" encoding="UTF-8" standalone="yes"?>
<Relationships xmlns="http://schemas.openxmlformats.org/package/2006/relationships"><Relationship Id="rId3" Type="http://schemas.openxmlformats.org/officeDocument/2006/relationships/notesSlide" Target="../notesSlides/notesSlide289.xml"/><Relationship Id="rId2" Type="http://schemas.openxmlformats.org/officeDocument/2006/relationships/slideLayout" Target="../slideLayouts/slideLayout7.xml"/><Relationship Id="rId1" Type="http://schemas.openxmlformats.org/officeDocument/2006/relationships/tags" Target="../tags/tag3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9.xml"/></Relationships>
</file>

<file path=ppt/slides/_rels/slide290.xml.rels><?xml version="1.0" encoding="UTF-8" standalone="yes"?>
<Relationships xmlns="http://schemas.openxmlformats.org/package/2006/relationships"><Relationship Id="rId3" Type="http://schemas.openxmlformats.org/officeDocument/2006/relationships/notesSlide" Target="../notesSlides/notesSlide290.xml"/><Relationship Id="rId2" Type="http://schemas.openxmlformats.org/officeDocument/2006/relationships/slideLayout" Target="../slideLayouts/slideLayout7.xml"/><Relationship Id="rId1" Type="http://schemas.openxmlformats.org/officeDocument/2006/relationships/tags" Target="../tags/tag3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1.xml.rels><?xml version="1.0" encoding="UTF-8" standalone="yes"?>
<Relationships xmlns="http://schemas.openxmlformats.org/package/2006/relationships"><Relationship Id="rId3" Type="http://schemas.openxmlformats.org/officeDocument/2006/relationships/notesSlide" Target="../notesSlides/notesSlide291.xml"/><Relationship Id="rId2" Type="http://schemas.openxmlformats.org/officeDocument/2006/relationships/slideLayout" Target="../slideLayouts/slideLayout7.xml"/><Relationship Id="rId1" Type="http://schemas.openxmlformats.org/officeDocument/2006/relationships/tags" Target="../tags/tag3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2.xml.rels><?xml version="1.0" encoding="UTF-8" standalone="yes"?>
<Relationships xmlns="http://schemas.openxmlformats.org/package/2006/relationships"><Relationship Id="rId3" Type="http://schemas.openxmlformats.org/officeDocument/2006/relationships/notesSlide" Target="../notesSlides/notesSlide292.xml"/><Relationship Id="rId2" Type="http://schemas.openxmlformats.org/officeDocument/2006/relationships/slideLayout" Target="../slideLayouts/slideLayout7.xml"/><Relationship Id="rId1" Type="http://schemas.openxmlformats.org/officeDocument/2006/relationships/tags" Target="../tags/tag3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3.xml.rels><?xml version="1.0" encoding="UTF-8" standalone="yes"?>
<Relationships xmlns="http://schemas.openxmlformats.org/package/2006/relationships"><Relationship Id="rId3" Type="http://schemas.openxmlformats.org/officeDocument/2006/relationships/notesSlide" Target="../notesSlides/notesSlide293.xml"/><Relationship Id="rId2" Type="http://schemas.openxmlformats.org/officeDocument/2006/relationships/slideLayout" Target="../slideLayouts/slideLayout7.xml"/><Relationship Id="rId1" Type="http://schemas.openxmlformats.org/officeDocument/2006/relationships/tags" Target="../tags/tag3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4.xml.rels><?xml version="1.0" encoding="UTF-8" standalone="yes"?>
<Relationships xmlns="http://schemas.openxmlformats.org/package/2006/relationships"><Relationship Id="rId3" Type="http://schemas.openxmlformats.org/officeDocument/2006/relationships/notesSlide" Target="../notesSlides/notesSlide294.xml"/><Relationship Id="rId2" Type="http://schemas.openxmlformats.org/officeDocument/2006/relationships/slideLayout" Target="../slideLayouts/slideLayout7.xml"/><Relationship Id="rId1" Type="http://schemas.openxmlformats.org/officeDocument/2006/relationships/tags" Target="../tags/tag3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5.xml.rels><?xml version="1.0" encoding="UTF-8" standalone="yes"?>
<Relationships xmlns="http://schemas.openxmlformats.org/package/2006/relationships"><Relationship Id="rId3" Type="http://schemas.openxmlformats.org/officeDocument/2006/relationships/notesSlide" Target="../notesSlides/notesSlide295.xml"/><Relationship Id="rId2" Type="http://schemas.openxmlformats.org/officeDocument/2006/relationships/slideLayout" Target="../slideLayouts/slideLayout7.xml"/><Relationship Id="rId1" Type="http://schemas.openxmlformats.org/officeDocument/2006/relationships/tags" Target="../tags/tag3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6.xml.rels><?xml version="1.0" encoding="UTF-8" standalone="yes"?>
<Relationships xmlns="http://schemas.openxmlformats.org/package/2006/relationships"><Relationship Id="rId3" Type="http://schemas.openxmlformats.org/officeDocument/2006/relationships/notesSlide" Target="../notesSlides/notesSlide296.xml"/><Relationship Id="rId2" Type="http://schemas.openxmlformats.org/officeDocument/2006/relationships/slideLayout" Target="../slideLayouts/slideLayout7.xml"/><Relationship Id="rId1" Type="http://schemas.openxmlformats.org/officeDocument/2006/relationships/tags" Target="../tags/tag3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7.xml.rels><?xml version="1.0" encoding="UTF-8" standalone="yes"?>
<Relationships xmlns="http://schemas.openxmlformats.org/package/2006/relationships"><Relationship Id="rId3" Type="http://schemas.openxmlformats.org/officeDocument/2006/relationships/notesSlide" Target="../notesSlides/notesSlide297.xml"/><Relationship Id="rId2" Type="http://schemas.openxmlformats.org/officeDocument/2006/relationships/slideLayout" Target="../slideLayouts/slideLayout7.xml"/><Relationship Id="rId1" Type="http://schemas.openxmlformats.org/officeDocument/2006/relationships/tags" Target="../tags/tag3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8.xml.rels><?xml version="1.0" encoding="UTF-8" standalone="yes"?>
<Relationships xmlns="http://schemas.openxmlformats.org/package/2006/relationships"><Relationship Id="rId3" Type="http://schemas.openxmlformats.org/officeDocument/2006/relationships/notesSlide" Target="../notesSlides/notesSlide298.xml"/><Relationship Id="rId2" Type="http://schemas.openxmlformats.org/officeDocument/2006/relationships/slideLayout" Target="../slideLayouts/slideLayout7.xml"/><Relationship Id="rId1" Type="http://schemas.openxmlformats.org/officeDocument/2006/relationships/tags" Target="../tags/tag3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9.xml.rels><?xml version="1.0" encoding="UTF-8" standalone="yes"?>
<Relationships xmlns="http://schemas.openxmlformats.org/package/2006/relationships"><Relationship Id="rId3" Type="http://schemas.openxmlformats.org/officeDocument/2006/relationships/notesSlide" Target="../notesSlides/notesSlide299.xml"/><Relationship Id="rId2" Type="http://schemas.openxmlformats.org/officeDocument/2006/relationships/slideLayout" Target="../slideLayouts/slideLayout7.xml"/><Relationship Id="rId1" Type="http://schemas.openxmlformats.org/officeDocument/2006/relationships/tags" Target="../tags/tag3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0.xml"/></Relationships>
</file>

<file path=ppt/slides/_rels/slide300.xml.rels><?xml version="1.0" encoding="UTF-8" standalone="yes"?>
<Relationships xmlns="http://schemas.openxmlformats.org/package/2006/relationships"><Relationship Id="rId3" Type="http://schemas.openxmlformats.org/officeDocument/2006/relationships/notesSlide" Target="../notesSlides/notesSlide300.xml"/><Relationship Id="rId2" Type="http://schemas.openxmlformats.org/officeDocument/2006/relationships/slideLayout" Target="../slideLayouts/slideLayout7.xml"/><Relationship Id="rId1" Type="http://schemas.openxmlformats.org/officeDocument/2006/relationships/tags" Target="../tags/tag3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1.xml.rels><?xml version="1.0" encoding="UTF-8" standalone="yes"?>
<Relationships xmlns="http://schemas.openxmlformats.org/package/2006/relationships"><Relationship Id="rId3" Type="http://schemas.openxmlformats.org/officeDocument/2006/relationships/notesSlide" Target="../notesSlides/notesSlide301.xml"/><Relationship Id="rId2" Type="http://schemas.openxmlformats.org/officeDocument/2006/relationships/slideLayout" Target="../slideLayouts/slideLayout7.xml"/><Relationship Id="rId1" Type="http://schemas.openxmlformats.org/officeDocument/2006/relationships/tags" Target="../tags/tag3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2.xml.rels><?xml version="1.0" encoding="UTF-8" standalone="yes"?>
<Relationships xmlns="http://schemas.openxmlformats.org/package/2006/relationships"><Relationship Id="rId3" Type="http://schemas.openxmlformats.org/officeDocument/2006/relationships/notesSlide" Target="../notesSlides/notesSlide302.xml"/><Relationship Id="rId2" Type="http://schemas.openxmlformats.org/officeDocument/2006/relationships/slideLayout" Target="../slideLayouts/slideLayout7.xml"/><Relationship Id="rId1" Type="http://schemas.openxmlformats.org/officeDocument/2006/relationships/tags" Target="../tags/tag3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3.xml.rels><?xml version="1.0" encoding="UTF-8" standalone="yes"?>
<Relationships xmlns="http://schemas.openxmlformats.org/package/2006/relationships"><Relationship Id="rId3" Type="http://schemas.openxmlformats.org/officeDocument/2006/relationships/notesSlide" Target="../notesSlides/notesSlide303.xml"/><Relationship Id="rId2" Type="http://schemas.openxmlformats.org/officeDocument/2006/relationships/slideLayout" Target="../slideLayouts/slideLayout7.xml"/><Relationship Id="rId1" Type="http://schemas.openxmlformats.org/officeDocument/2006/relationships/tags" Target="../tags/tag3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4.xml.rels><?xml version="1.0" encoding="UTF-8" standalone="yes"?>
<Relationships xmlns="http://schemas.openxmlformats.org/package/2006/relationships"><Relationship Id="rId3" Type="http://schemas.openxmlformats.org/officeDocument/2006/relationships/notesSlide" Target="../notesSlides/notesSlide304.xml"/><Relationship Id="rId2" Type="http://schemas.openxmlformats.org/officeDocument/2006/relationships/slideLayout" Target="../slideLayouts/slideLayout7.xml"/><Relationship Id="rId1" Type="http://schemas.openxmlformats.org/officeDocument/2006/relationships/tags" Target="../tags/tag3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5.xml.rels><?xml version="1.0" encoding="UTF-8" standalone="yes"?>
<Relationships xmlns="http://schemas.openxmlformats.org/package/2006/relationships"><Relationship Id="rId3" Type="http://schemas.openxmlformats.org/officeDocument/2006/relationships/notesSlide" Target="../notesSlides/notesSlide305.xml"/><Relationship Id="rId2" Type="http://schemas.openxmlformats.org/officeDocument/2006/relationships/slideLayout" Target="../slideLayouts/slideLayout7.xml"/><Relationship Id="rId1" Type="http://schemas.openxmlformats.org/officeDocument/2006/relationships/tags" Target="../tags/tag3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6.xml.rels><?xml version="1.0" encoding="UTF-8" standalone="yes"?>
<Relationships xmlns="http://schemas.openxmlformats.org/package/2006/relationships"><Relationship Id="rId3" Type="http://schemas.openxmlformats.org/officeDocument/2006/relationships/notesSlide" Target="../notesSlides/notesSlide306.xml"/><Relationship Id="rId2" Type="http://schemas.openxmlformats.org/officeDocument/2006/relationships/slideLayout" Target="../slideLayouts/slideLayout7.xml"/><Relationship Id="rId1" Type="http://schemas.openxmlformats.org/officeDocument/2006/relationships/tags" Target="../tags/tag3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7.xml.rels><?xml version="1.0" encoding="UTF-8" standalone="yes"?>
<Relationships xmlns="http://schemas.openxmlformats.org/package/2006/relationships"><Relationship Id="rId3" Type="http://schemas.openxmlformats.org/officeDocument/2006/relationships/notesSlide" Target="../notesSlides/notesSlide307.xml"/><Relationship Id="rId2" Type="http://schemas.openxmlformats.org/officeDocument/2006/relationships/slideLayout" Target="../slideLayouts/slideLayout7.xml"/><Relationship Id="rId1" Type="http://schemas.openxmlformats.org/officeDocument/2006/relationships/tags" Target="../tags/tag33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8.xml.rels><?xml version="1.0" encoding="UTF-8" standalone="yes"?>
<Relationships xmlns="http://schemas.openxmlformats.org/package/2006/relationships"><Relationship Id="rId3" Type="http://schemas.openxmlformats.org/officeDocument/2006/relationships/notesSlide" Target="../notesSlides/notesSlide308.xml"/><Relationship Id="rId2" Type="http://schemas.openxmlformats.org/officeDocument/2006/relationships/slideLayout" Target="../slideLayouts/slideLayout7.xml"/><Relationship Id="rId1" Type="http://schemas.openxmlformats.org/officeDocument/2006/relationships/tags" Target="../tags/tag3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9.xml.rels><?xml version="1.0" encoding="UTF-8" standalone="yes"?>
<Relationships xmlns="http://schemas.openxmlformats.org/package/2006/relationships"><Relationship Id="rId3" Type="http://schemas.openxmlformats.org/officeDocument/2006/relationships/notesSlide" Target="../notesSlides/notesSlide309.xml"/><Relationship Id="rId2" Type="http://schemas.openxmlformats.org/officeDocument/2006/relationships/slideLayout" Target="../slideLayouts/slideLayout7.xml"/><Relationship Id="rId1" Type="http://schemas.openxmlformats.org/officeDocument/2006/relationships/tags" Target="../tags/tag33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1.xml"/></Relationships>
</file>

<file path=ppt/slides/_rels/slide310.xml.rels><?xml version="1.0" encoding="UTF-8" standalone="yes"?>
<Relationships xmlns="http://schemas.openxmlformats.org/package/2006/relationships"><Relationship Id="rId3" Type="http://schemas.openxmlformats.org/officeDocument/2006/relationships/notesSlide" Target="../notesSlides/notesSlide310.xml"/><Relationship Id="rId2" Type="http://schemas.openxmlformats.org/officeDocument/2006/relationships/slideLayout" Target="../slideLayouts/slideLayout7.xml"/><Relationship Id="rId1" Type="http://schemas.openxmlformats.org/officeDocument/2006/relationships/tags" Target="../tags/tag3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1.xml.rels><?xml version="1.0" encoding="UTF-8" standalone="yes"?>
<Relationships xmlns="http://schemas.openxmlformats.org/package/2006/relationships"><Relationship Id="rId3" Type="http://schemas.openxmlformats.org/officeDocument/2006/relationships/notesSlide" Target="../notesSlides/notesSlide311.xml"/><Relationship Id="rId2" Type="http://schemas.openxmlformats.org/officeDocument/2006/relationships/slideLayout" Target="../slideLayouts/slideLayout7.xml"/><Relationship Id="rId1" Type="http://schemas.openxmlformats.org/officeDocument/2006/relationships/tags" Target="../tags/tag33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2.xml.rels><?xml version="1.0" encoding="UTF-8" standalone="yes"?>
<Relationships xmlns="http://schemas.openxmlformats.org/package/2006/relationships"><Relationship Id="rId3" Type="http://schemas.openxmlformats.org/officeDocument/2006/relationships/notesSlide" Target="../notesSlides/notesSlide312.xml"/><Relationship Id="rId2" Type="http://schemas.openxmlformats.org/officeDocument/2006/relationships/slideLayout" Target="../slideLayouts/slideLayout7.xml"/><Relationship Id="rId1" Type="http://schemas.openxmlformats.org/officeDocument/2006/relationships/tags" Target="../tags/tag3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0.xml"/><Relationship Id="rId4" Type="http://schemas.openxmlformats.org/officeDocument/2006/relationships/image" Target="../media/image28.emf"/></Relationships>
</file>

<file path=ppt/slides/_rels/slide3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1.xml"/><Relationship Id="rId4" Type="http://schemas.openxmlformats.org/officeDocument/2006/relationships/image" Target="../media/image28.emf"/></Relationships>
</file>

<file path=ppt/slides/_rels/slide3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2.xml"/><Relationship Id="rId4" Type="http://schemas.openxmlformats.org/officeDocument/2006/relationships/image" Target="../media/image28.emf"/></Relationships>
</file>

<file path=ppt/slides/_rels/slide3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3.xml"/><Relationship Id="rId4" Type="http://schemas.openxmlformats.org/officeDocument/2006/relationships/image" Target="../media/image28.emf"/></Relationships>
</file>

<file path=ppt/slides/_rels/slide3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4.xml"/><Relationship Id="rId4" Type="http://schemas.openxmlformats.org/officeDocument/2006/relationships/image" Target="../media/image28.emf"/></Relationships>
</file>

<file path=ppt/slides/_rels/slide3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5.xml"/><Relationship Id="rId4" Type="http://schemas.openxmlformats.org/officeDocument/2006/relationships/image" Target="../media/image28.emf"/></Relationships>
</file>

<file path=ppt/slides/_rels/slide3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6.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2.xml"/></Relationships>
</file>

<file path=ppt/slides/_rels/slide3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7.xml"/><Relationship Id="rId4" Type="http://schemas.openxmlformats.org/officeDocument/2006/relationships/image" Target="../media/image28.emf"/></Relationships>
</file>

<file path=ppt/slides/_rels/slide3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8.xml"/><Relationship Id="rId4" Type="http://schemas.openxmlformats.org/officeDocument/2006/relationships/image" Target="../media/image28.emf"/></Relationships>
</file>

<file path=ppt/slides/_rels/slide3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9.xml"/><Relationship Id="rId4" Type="http://schemas.openxmlformats.org/officeDocument/2006/relationships/image" Target="../media/image28.emf"/></Relationships>
</file>

<file path=ppt/slides/_rels/slide3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0.xml"/><Relationship Id="rId4" Type="http://schemas.openxmlformats.org/officeDocument/2006/relationships/image" Target="../media/image28.emf"/></Relationships>
</file>

<file path=ppt/slides/_rels/slide3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1.xml"/><Relationship Id="rId4" Type="http://schemas.openxmlformats.org/officeDocument/2006/relationships/image" Target="../media/image28.emf"/></Relationships>
</file>

<file path=ppt/slides/_rels/slide3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2.xml"/><Relationship Id="rId4" Type="http://schemas.openxmlformats.org/officeDocument/2006/relationships/image" Target="../media/image28.emf"/></Relationships>
</file>

<file path=ppt/slides/_rels/slide3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3.xml"/><Relationship Id="rId4" Type="http://schemas.openxmlformats.org/officeDocument/2006/relationships/image" Target="../media/image28.emf"/></Relationships>
</file>

<file path=ppt/slides/_rels/slide3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4.xml"/><Relationship Id="rId4" Type="http://schemas.openxmlformats.org/officeDocument/2006/relationships/image" Target="../media/image28.emf"/></Relationships>
</file>

<file path=ppt/slides/_rels/slide3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5.xml"/><Relationship Id="rId4" Type="http://schemas.openxmlformats.org/officeDocument/2006/relationships/image" Target="../media/image28.emf"/></Relationships>
</file>

<file path=ppt/slides/_rels/slide3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6.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3.xml"/></Relationships>
</file>

<file path=ppt/slides/_rels/slide3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7.xml"/><Relationship Id="rId4" Type="http://schemas.openxmlformats.org/officeDocument/2006/relationships/image" Target="../media/image28.emf"/></Relationships>
</file>

<file path=ppt/slides/_rels/slide3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8.xml"/><Relationship Id="rId4" Type="http://schemas.openxmlformats.org/officeDocument/2006/relationships/image" Target="../media/image28.emf"/></Relationships>
</file>

<file path=ppt/slides/_rels/slide3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9.xml"/><Relationship Id="rId4" Type="http://schemas.openxmlformats.org/officeDocument/2006/relationships/image" Target="../media/image28.emf"/></Relationships>
</file>

<file path=ppt/slides/_rels/slide3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0.xml"/><Relationship Id="rId4" Type="http://schemas.openxmlformats.org/officeDocument/2006/relationships/image" Target="../media/image28.emf"/></Relationships>
</file>

<file path=ppt/slides/_rels/slide3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1.xml"/><Relationship Id="rId4" Type="http://schemas.openxmlformats.org/officeDocument/2006/relationships/image" Target="../media/image28.emf"/></Relationships>
</file>

<file path=ppt/slides/_rels/slide3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2.xml"/><Relationship Id="rId4" Type="http://schemas.openxmlformats.org/officeDocument/2006/relationships/image" Target="../media/image28.emf"/></Relationships>
</file>

<file path=ppt/slides/_rels/slide3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3.xml"/><Relationship Id="rId4" Type="http://schemas.openxmlformats.org/officeDocument/2006/relationships/image" Target="../media/image28.emf"/></Relationships>
</file>

<file path=ppt/slides/_rels/slide3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4.xml"/><Relationship Id="rId4" Type="http://schemas.openxmlformats.org/officeDocument/2006/relationships/image" Target="../media/image28.emf"/></Relationships>
</file>

<file path=ppt/slides/_rels/slide3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5.xml"/><Relationship Id="rId4" Type="http://schemas.openxmlformats.org/officeDocument/2006/relationships/image" Target="../media/image28.emf"/></Relationships>
</file>

<file path=ppt/slides/_rels/slide3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6.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4.xml"/></Relationships>
</file>

<file path=ppt/slides/_rels/slide3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7.xml"/><Relationship Id="rId4" Type="http://schemas.openxmlformats.org/officeDocument/2006/relationships/image" Target="../media/image28.emf"/></Relationships>
</file>

<file path=ppt/slides/_rels/slide3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8.xml"/><Relationship Id="rId4" Type="http://schemas.openxmlformats.org/officeDocument/2006/relationships/image" Target="../media/image28.emf"/></Relationships>
</file>

<file path=ppt/slides/_rels/slide3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9.xml"/><Relationship Id="rId4" Type="http://schemas.openxmlformats.org/officeDocument/2006/relationships/image" Target="../media/image28.emf"/></Relationships>
</file>

<file path=ppt/slides/_rels/slide3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0.xml"/><Relationship Id="rId4" Type="http://schemas.openxmlformats.org/officeDocument/2006/relationships/image" Target="../media/image28.emf"/></Relationships>
</file>

<file path=ppt/slides/_rels/slide3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1.xml"/><Relationship Id="rId4" Type="http://schemas.openxmlformats.org/officeDocument/2006/relationships/image" Target="../media/image28.emf"/></Relationships>
</file>

<file path=ppt/slides/_rels/slide3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2.xml"/><Relationship Id="rId4" Type="http://schemas.openxmlformats.org/officeDocument/2006/relationships/image" Target="../media/image28.emf"/></Relationships>
</file>

<file path=ppt/slides/_rels/slide3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3.xml"/><Relationship Id="rId4" Type="http://schemas.openxmlformats.org/officeDocument/2006/relationships/image" Target="../media/image28.emf"/></Relationships>
</file>

<file path=ppt/slides/_rels/slide3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4.xml"/><Relationship Id="rId4" Type="http://schemas.openxmlformats.org/officeDocument/2006/relationships/image" Target="../media/image28.emf"/></Relationships>
</file>

<file path=ppt/slides/_rels/slide3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5.xml"/><Relationship Id="rId4" Type="http://schemas.openxmlformats.org/officeDocument/2006/relationships/image" Target="../media/image28.emf"/></Relationships>
</file>

<file path=ppt/slides/_rels/slide3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6.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5.xml"/></Relationships>
</file>

<file path=ppt/slides/_rels/slide3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7.xml"/><Relationship Id="rId4" Type="http://schemas.openxmlformats.org/officeDocument/2006/relationships/image" Target="../media/image28.emf"/></Relationships>
</file>

<file path=ppt/slides/_rels/slide3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8.xml"/><Relationship Id="rId4" Type="http://schemas.openxmlformats.org/officeDocument/2006/relationships/image" Target="../media/image28.emf"/></Relationships>
</file>

<file path=ppt/slides/_rels/slide3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9.xml"/><Relationship Id="rId4" Type="http://schemas.openxmlformats.org/officeDocument/2006/relationships/image" Target="../media/image28.emf"/></Relationships>
</file>

<file path=ppt/slides/_rels/slide3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0.xml"/><Relationship Id="rId5" Type="http://schemas.openxmlformats.org/officeDocument/2006/relationships/chart" Target="../charts/chart189.xml"/><Relationship Id="rId4" Type="http://schemas.openxmlformats.org/officeDocument/2006/relationships/image" Target="../media/image28.emf"/></Relationships>
</file>

<file path=ppt/slides/_rels/slide3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1.xml"/><Relationship Id="rId5" Type="http://schemas.openxmlformats.org/officeDocument/2006/relationships/chart" Target="../charts/chart190.xml"/><Relationship Id="rId4" Type="http://schemas.openxmlformats.org/officeDocument/2006/relationships/image" Target="../media/image28.emf"/></Relationships>
</file>

<file path=ppt/slides/_rels/slide3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2.xml"/><Relationship Id="rId5" Type="http://schemas.openxmlformats.org/officeDocument/2006/relationships/chart" Target="../charts/chart191.xml"/><Relationship Id="rId4" Type="http://schemas.openxmlformats.org/officeDocument/2006/relationships/image" Target="../media/image28.emf"/></Relationships>
</file>

<file path=ppt/slides/_rels/slide3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3.xml"/><Relationship Id="rId5" Type="http://schemas.openxmlformats.org/officeDocument/2006/relationships/chart" Target="../charts/chart192.xml"/><Relationship Id="rId4" Type="http://schemas.openxmlformats.org/officeDocument/2006/relationships/image" Target="../media/image28.emf"/></Relationships>
</file>

<file path=ppt/slides/_rels/slide3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4.xml"/><Relationship Id="rId5" Type="http://schemas.openxmlformats.org/officeDocument/2006/relationships/chart" Target="../charts/chart193.xml"/><Relationship Id="rId4" Type="http://schemas.openxmlformats.org/officeDocument/2006/relationships/image" Target="../media/image28.emf"/></Relationships>
</file>

<file path=ppt/slides/_rels/slide3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5.xml"/><Relationship Id="rId5" Type="http://schemas.openxmlformats.org/officeDocument/2006/relationships/chart" Target="../charts/chart194.xml"/><Relationship Id="rId4" Type="http://schemas.openxmlformats.org/officeDocument/2006/relationships/image" Target="../media/image28.emf"/></Relationships>
</file>

<file path=ppt/slides/_rels/slide3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6.xml"/><Relationship Id="rId5" Type="http://schemas.openxmlformats.org/officeDocument/2006/relationships/chart" Target="../charts/chart195.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6.xml"/></Relationships>
</file>

<file path=ppt/slides/_rels/slide3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7.xml"/><Relationship Id="rId5" Type="http://schemas.openxmlformats.org/officeDocument/2006/relationships/chart" Target="../charts/chart196.xml"/><Relationship Id="rId4" Type="http://schemas.openxmlformats.org/officeDocument/2006/relationships/image" Target="../media/image28.emf"/></Relationships>
</file>

<file path=ppt/slides/_rels/slide3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8.xml"/><Relationship Id="rId5" Type="http://schemas.openxmlformats.org/officeDocument/2006/relationships/chart" Target="../charts/chart197.xml"/><Relationship Id="rId4" Type="http://schemas.openxmlformats.org/officeDocument/2006/relationships/image" Target="../media/image28.emf"/></Relationships>
</file>

<file path=ppt/slides/_rels/slide3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9.xml"/><Relationship Id="rId5" Type="http://schemas.openxmlformats.org/officeDocument/2006/relationships/chart" Target="../charts/chart198.xml"/><Relationship Id="rId4" Type="http://schemas.openxmlformats.org/officeDocument/2006/relationships/image" Target="../media/image28.emf"/></Relationships>
</file>

<file path=ppt/slides/_rels/slide3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0.xml"/><Relationship Id="rId5" Type="http://schemas.openxmlformats.org/officeDocument/2006/relationships/chart" Target="../charts/chart199.xml"/><Relationship Id="rId4" Type="http://schemas.openxmlformats.org/officeDocument/2006/relationships/image" Target="../media/image28.emf"/></Relationships>
</file>

<file path=ppt/slides/_rels/slide3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1.xml"/><Relationship Id="rId5" Type="http://schemas.openxmlformats.org/officeDocument/2006/relationships/chart" Target="../charts/chart200.xml"/><Relationship Id="rId4" Type="http://schemas.openxmlformats.org/officeDocument/2006/relationships/image" Target="../media/image28.emf"/></Relationships>
</file>

<file path=ppt/slides/_rels/slide3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2.xml"/><Relationship Id="rId5" Type="http://schemas.openxmlformats.org/officeDocument/2006/relationships/chart" Target="../charts/chart201.xml"/><Relationship Id="rId4" Type="http://schemas.openxmlformats.org/officeDocument/2006/relationships/image" Target="../media/image28.emf"/></Relationships>
</file>

<file path=ppt/slides/_rels/slide3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3.xml"/><Relationship Id="rId5" Type="http://schemas.openxmlformats.org/officeDocument/2006/relationships/chart" Target="../charts/chart202.xml"/><Relationship Id="rId4" Type="http://schemas.openxmlformats.org/officeDocument/2006/relationships/image" Target="../media/image28.emf"/></Relationships>
</file>

<file path=ppt/slides/_rels/slide3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4.xml"/><Relationship Id="rId5" Type="http://schemas.openxmlformats.org/officeDocument/2006/relationships/chart" Target="../charts/chart203.xml"/><Relationship Id="rId4" Type="http://schemas.openxmlformats.org/officeDocument/2006/relationships/image" Target="../media/image28.emf"/></Relationships>
</file>

<file path=ppt/slides/_rels/slide3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5.xml"/><Relationship Id="rId5" Type="http://schemas.openxmlformats.org/officeDocument/2006/relationships/chart" Target="../charts/chart204.xml"/><Relationship Id="rId4" Type="http://schemas.openxmlformats.org/officeDocument/2006/relationships/image" Target="../media/image28.emf"/></Relationships>
</file>

<file path=ppt/slides/_rels/slide3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6.xml"/><Relationship Id="rId5" Type="http://schemas.openxmlformats.org/officeDocument/2006/relationships/chart" Target="../charts/chart205.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7.xml"/></Relationships>
</file>

<file path=ppt/slides/_rels/slide3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7.xml"/><Relationship Id="rId5" Type="http://schemas.openxmlformats.org/officeDocument/2006/relationships/chart" Target="../charts/chart206.xml"/><Relationship Id="rId4" Type="http://schemas.openxmlformats.org/officeDocument/2006/relationships/image" Target="../media/image28.emf"/></Relationships>
</file>

<file path=ppt/slides/_rels/slide3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8.xml"/><Relationship Id="rId5" Type="http://schemas.openxmlformats.org/officeDocument/2006/relationships/chart" Target="../charts/chart207.xml"/><Relationship Id="rId4" Type="http://schemas.openxmlformats.org/officeDocument/2006/relationships/image" Target="../media/image28.emf"/></Relationships>
</file>

<file path=ppt/slides/_rels/slide3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9.xml"/><Relationship Id="rId5" Type="http://schemas.openxmlformats.org/officeDocument/2006/relationships/chart" Target="../charts/chart208.xml"/><Relationship Id="rId4" Type="http://schemas.openxmlformats.org/officeDocument/2006/relationships/image" Target="../media/image28.emf"/></Relationships>
</file>

<file path=ppt/slides/_rels/slide3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0.xml"/><Relationship Id="rId5" Type="http://schemas.openxmlformats.org/officeDocument/2006/relationships/chart" Target="../charts/chart209.xml"/><Relationship Id="rId4" Type="http://schemas.openxmlformats.org/officeDocument/2006/relationships/image" Target="../media/image28.emf"/></Relationships>
</file>

<file path=ppt/slides/_rels/slide3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1.xml"/><Relationship Id="rId5" Type="http://schemas.openxmlformats.org/officeDocument/2006/relationships/chart" Target="../charts/chart210.xml"/><Relationship Id="rId4" Type="http://schemas.openxmlformats.org/officeDocument/2006/relationships/image" Target="../media/image28.emf"/></Relationships>
</file>

<file path=ppt/slides/_rels/slide3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2.xml"/><Relationship Id="rId5" Type="http://schemas.openxmlformats.org/officeDocument/2006/relationships/chart" Target="../charts/chart211.xml"/><Relationship Id="rId4" Type="http://schemas.openxmlformats.org/officeDocument/2006/relationships/image" Target="../media/image28.emf"/></Relationships>
</file>

<file path=ppt/slides/_rels/slide3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3.xml"/><Relationship Id="rId5" Type="http://schemas.openxmlformats.org/officeDocument/2006/relationships/chart" Target="../charts/chart212.xml"/><Relationship Id="rId4" Type="http://schemas.openxmlformats.org/officeDocument/2006/relationships/image" Target="../media/image28.emf"/></Relationships>
</file>

<file path=ppt/slides/_rels/slide3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4.xml"/><Relationship Id="rId5" Type="http://schemas.openxmlformats.org/officeDocument/2006/relationships/chart" Target="../charts/chart213.xml"/><Relationship Id="rId4" Type="http://schemas.openxmlformats.org/officeDocument/2006/relationships/image" Target="../media/image28.emf"/></Relationships>
</file>

<file path=ppt/slides/_rels/slide3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5.xml"/><Relationship Id="rId5" Type="http://schemas.openxmlformats.org/officeDocument/2006/relationships/chart" Target="../charts/chart214.xml"/><Relationship Id="rId4" Type="http://schemas.openxmlformats.org/officeDocument/2006/relationships/image" Target="../media/image28.emf"/></Relationships>
</file>

<file path=ppt/slides/_rels/slide3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6.xml"/><Relationship Id="rId5" Type="http://schemas.openxmlformats.org/officeDocument/2006/relationships/chart" Target="../charts/chart215.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8.xml"/></Relationships>
</file>

<file path=ppt/slides/_rels/slide3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7.xml"/><Relationship Id="rId5" Type="http://schemas.openxmlformats.org/officeDocument/2006/relationships/chart" Target="../charts/chart216.xml"/><Relationship Id="rId4" Type="http://schemas.openxmlformats.org/officeDocument/2006/relationships/image" Target="../media/image28.emf"/></Relationships>
</file>

<file path=ppt/slides/_rels/slide3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8.xml"/><Relationship Id="rId5" Type="http://schemas.openxmlformats.org/officeDocument/2006/relationships/chart" Target="../charts/chart217.xml"/><Relationship Id="rId4" Type="http://schemas.openxmlformats.org/officeDocument/2006/relationships/image" Target="../media/image28.emf"/></Relationships>
</file>

<file path=ppt/slides/_rels/slide3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9.xml"/><Relationship Id="rId5" Type="http://schemas.openxmlformats.org/officeDocument/2006/relationships/chart" Target="../charts/chart218.xml"/><Relationship Id="rId4" Type="http://schemas.openxmlformats.org/officeDocument/2006/relationships/image" Target="../media/image28.emf"/></Relationships>
</file>

<file path=ppt/slides/_rels/slide3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0.xml"/><Relationship Id="rId5" Type="http://schemas.openxmlformats.org/officeDocument/2006/relationships/chart" Target="../charts/chart219.xml"/><Relationship Id="rId4" Type="http://schemas.openxmlformats.org/officeDocument/2006/relationships/image" Target="../media/image28.emf"/></Relationships>
</file>

<file path=ppt/slides/_rels/slide3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1.xml"/><Relationship Id="rId5" Type="http://schemas.openxmlformats.org/officeDocument/2006/relationships/chart" Target="../charts/chart220.xml"/><Relationship Id="rId4" Type="http://schemas.openxmlformats.org/officeDocument/2006/relationships/image" Target="../media/image28.emf"/></Relationships>
</file>

<file path=ppt/slides/_rels/slide3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2.xml"/><Relationship Id="rId5" Type="http://schemas.openxmlformats.org/officeDocument/2006/relationships/chart" Target="../charts/chart221.xml"/><Relationship Id="rId4" Type="http://schemas.openxmlformats.org/officeDocument/2006/relationships/image" Target="../media/image28.emf"/></Relationships>
</file>

<file path=ppt/slides/_rels/slide3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3.xml"/><Relationship Id="rId5" Type="http://schemas.openxmlformats.org/officeDocument/2006/relationships/chart" Target="../charts/chart222.xml"/><Relationship Id="rId4" Type="http://schemas.openxmlformats.org/officeDocument/2006/relationships/image" Target="../media/image28.emf"/></Relationships>
</file>

<file path=ppt/slides/_rels/slide3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4.xml"/><Relationship Id="rId5" Type="http://schemas.openxmlformats.org/officeDocument/2006/relationships/chart" Target="../charts/chart223.xml"/><Relationship Id="rId4" Type="http://schemas.openxmlformats.org/officeDocument/2006/relationships/image" Target="../media/image28.emf"/></Relationships>
</file>

<file path=ppt/slides/_rels/slide3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5.xml"/><Relationship Id="rId5" Type="http://schemas.openxmlformats.org/officeDocument/2006/relationships/chart" Target="../charts/chart224.xml"/><Relationship Id="rId4" Type="http://schemas.openxmlformats.org/officeDocument/2006/relationships/image" Target="../media/image28.emf"/></Relationships>
</file>

<file path=ppt/slides/_rels/slide3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6.xml"/><Relationship Id="rId5" Type="http://schemas.openxmlformats.org/officeDocument/2006/relationships/chart" Target="../charts/chart225.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9.xml"/></Relationships>
</file>

<file path=ppt/slides/_rels/slide3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7.xml"/><Relationship Id="rId5" Type="http://schemas.openxmlformats.org/officeDocument/2006/relationships/chart" Target="../charts/chart226.xml"/><Relationship Id="rId4" Type="http://schemas.openxmlformats.org/officeDocument/2006/relationships/image" Target="../media/image28.emf"/></Relationships>
</file>

<file path=ppt/slides/_rels/slide3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8.xml"/><Relationship Id="rId5" Type="http://schemas.openxmlformats.org/officeDocument/2006/relationships/chart" Target="../charts/chart227.xml"/><Relationship Id="rId4" Type="http://schemas.openxmlformats.org/officeDocument/2006/relationships/image" Target="../media/image28.emf"/></Relationships>
</file>

<file path=ppt/slides/_rels/slide3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9.xml"/><Relationship Id="rId5" Type="http://schemas.openxmlformats.org/officeDocument/2006/relationships/chart" Target="../charts/chart228.xml"/><Relationship Id="rId4" Type="http://schemas.openxmlformats.org/officeDocument/2006/relationships/image" Target="../media/image28.emf"/></Relationships>
</file>

<file path=ppt/slides/_rels/slide3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0.xml"/><Relationship Id="rId5" Type="http://schemas.openxmlformats.org/officeDocument/2006/relationships/chart" Target="../charts/chart229.xml"/><Relationship Id="rId4" Type="http://schemas.openxmlformats.org/officeDocument/2006/relationships/image" Target="../media/image28.emf"/></Relationships>
</file>

<file path=ppt/slides/_rels/slide3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1.xml"/><Relationship Id="rId5" Type="http://schemas.openxmlformats.org/officeDocument/2006/relationships/chart" Target="../charts/chart230.xml"/><Relationship Id="rId4" Type="http://schemas.openxmlformats.org/officeDocument/2006/relationships/image" Target="../media/image28.emf"/></Relationships>
</file>

<file path=ppt/slides/_rels/slide3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2.xml"/><Relationship Id="rId5" Type="http://schemas.openxmlformats.org/officeDocument/2006/relationships/chart" Target="../charts/chart231.xml"/><Relationship Id="rId4" Type="http://schemas.openxmlformats.org/officeDocument/2006/relationships/image" Target="../media/image28.emf"/></Relationships>
</file>

<file path=ppt/slides/_rels/slide3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3.xml"/><Relationship Id="rId5" Type="http://schemas.openxmlformats.org/officeDocument/2006/relationships/chart" Target="../charts/chart232.xml"/><Relationship Id="rId4" Type="http://schemas.openxmlformats.org/officeDocument/2006/relationships/image" Target="../media/image28.emf"/></Relationships>
</file>

<file path=ppt/slides/_rels/slide3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4.xml"/><Relationship Id="rId5" Type="http://schemas.openxmlformats.org/officeDocument/2006/relationships/chart" Target="../charts/chart233.xml"/><Relationship Id="rId4" Type="http://schemas.openxmlformats.org/officeDocument/2006/relationships/image" Target="../media/image28.emf"/></Relationships>
</file>

<file path=ppt/slides/_rels/slide3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5.xml"/><Relationship Id="rId5" Type="http://schemas.openxmlformats.org/officeDocument/2006/relationships/chart" Target="../charts/chart234.xml"/><Relationship Id="rId4" Type="http://schemas.openxmlformats.org/officeDocument/2006/relationships/image" Target="../media/image28.emf"/></Relationships>
</file>

<file path=ppt/slides/_rels/slide3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6.xml"/><Relationship Id="rId5" Type="http://schemas.openxmlformats.org/officeDocument/2006/relationships/chart" Target="../charts/chart235.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0.xml"/></Relationships>
</file>

<file path=ppt/slides/_rels/slide4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7.xml"/><Relationship Id="rId5" Type="http://schemas.openxmlformats.org/officeDocument/2006/relationships/chart" Target="../charts/chart236.xml"/><Relationship Id="rId4" Type="http://schemas.openxmlformats.org/officeDocument/2006/relationships/image" Target="../media/image28.emf"/></Relationships>
</file>

<file path=ppt/slides/_rels/slide4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8.xml"/><Relationship Id="rId5" Type="http://schemas.openxmlformats.org/officeDocument/2006/relationships/chart" Target="../charts/chart237.xml"/><Relationship Id="rId4" Type="http://schemas.openxmlformats.org/officeDocument/2006/relationships/image" Target="../media/image28.emf"/></Relationships>
</file>

<file path=ppt/slides/_rels/slide4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9.xml"/><Relationship Id="rId5" Type="http://schemas.openxmlformats.org/officeDocument/2006/relationships/chart" Target="../charts/chart238.xml"/><Relationship Id="rId4" Type="http://schemas.openxmlformats.org/officeDocument/2006/relationships/image" Target="../media/image28.emf"/></Relationships>
</file>

<file path=ppt/slides/_rels/slide4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0.xml"/><Relationship Id="rId5" Type="http://schemas.openxmlformats.org/officeDocument/2006/relationships/chart" Target="../charts/chart239.xml"/><Relationship Id="rId4" Type="http://schemas.openxmlformats.org/officeDocument/2006/relationships/image" Target="../media/image28.emf"/></Relationships>
</file>

<file path=ppt/slides/_rels/slide4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1.xml"/><Relationship Id="rId5" Type="http://schemas.openxmlformats.org/officeDocument/2006/relationships/chart" Target="../charts/chart240.xml"/><Relationship Id="rId4" Type="http://schemas.openxmlformats.org/officeDocument/2006/relationships/image" Target="../media/image28.emf"/></Relationships>
</file>

<file path=ppt/slides/_rels/slide4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2.xml"/><Relationship Id="rId5" Type="http://schemas.openxmlformats.org/officeDocument/2006/relationships/chart" Target="../charts/chart241.xml"/><Relationship Id="rId4" Type="http://schemas.openxmlformats.org/officeDocument/2006/relationships/image" Target="../media/image28.emf"/></Relationships>
</file>

<file path=ppt/slides/_rels/slide4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3.xml"/><Relationship Id="rId5" Type="http://schemas.openxmlformats.org/officeDocument/2006/relationships/chart" Target="../charts/chart242.xml"/><Relationship Id="rId4" Type="http://schemas.openxmlformats.org/officeDocument/2006/relationships/image" Target="../media/image28.emf"/></Relationships>
</file>

<file path=ppt/slides/_rels/slide4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4.xml"/><Relationship Id="rId5" Type="http://schemas.openxmlformats.org/officeDocument/2006/relationships/chart" Target="../charts/chart243.xml"/><Relationship Id="rId4" Type="http://schemas.openxmlformats.org/officeDocument/2006/relationships/image" Target="../media/image28.emf"/></Relationships>
</file>

<file path=ppt/slides/_rels/slide4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5.xml"/><Relationship Id="rId5" Type="http://schemas.openxmlformats.org/officeDocument/2006/relationships/chart" Target="../charts/chart244.xml"/><Relationship Id="rId4" Type="http://schemas.openxmlformats.org/officeDocument/2006/relationships/image" Target="../media/image28.emf"/></Relationships>
</file>

<file path=ppt/slides/_rels/slide4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6.xml"/><Relationship Id="rId5" Type="http://schemas.openxmlformats.org/officeDocument/2006/relationships/chart" Target="../charts/chart245.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1.xml"/></Relationships>
</file>

<file path=ppt/slides/_rels/slide4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7.xml"/><Relationship Id="rId5" Type="http://schemas.openxmlformats.org/officeDocument/2006/relationships/chart" Target="../charts/chart246.xml"/><Relationship Id="rId4" Type="http://schemas.openxmlformats.org/officeDocument/2006/relationships/image" Target="../media/image28.emf"/></Relationships>
</file>

<file path=ppt/slides/_rels/slide4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8.xml"/><Relationship Id="rId5" Type="http://schemas.openxmlformats.org/officeDocument/2006/relationships/chart" Target="../charts/chart247.xml"/><Relationship Id="rId4" Type="http://schemas.openxmlformats.org/officeDocument/2006/relationships/image" Target="../media/image28.emf"/></Relationships>
</file>

<file path=ppt/slides/_rels/slide4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9.xml"/><Relationship Id="rId5" Type="http://schemas.openxmlformats.org/officeDocument/2006/relationships/chart" Target="../charts/chart248.xml"/><Relationship Id="rId4" Type="http://schemas.openxmlformats.org/officeDocument/2006/relationships/image" Target="../media/image28.emf"/></Relationships>
</file>

<file path=ppt/slides/_rels/slide4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0.xml"/><Relationship Id="rId5" Type="http://schemas.openxmlformats.org/officeDocument/2006/relationships/chart" Target="../charts/chart249.xml"/><Relationship Id="rId4" Type="http://schemas.openxmlformats.org/officeDocument/2006/relationships/image" Target="../media/image28.emf"/></Relationships>
</file>

<file path=ppt/slides/_rels/slide4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1.xml"/><Relationship Id="rId5" Type="http://schemas.openxmlformats.org/officeDocument/2006/relationships/chart" Target="../charts/chart250.xml"/><Relationship Id="rId4" Type="http://schemas.openxmlformats.org/officeDocument/2006/relationships/image" Target="../media/image28.emf"/></Relationships>
</file>

<file path=ppt/slides/_rels/slide4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2.xml"/><Relationship Id="rId5" Type="http://schemas.openxmlformats.org/officeDocument/2006/relationships/chart" Target="../charts/chart251.xml"/><Relationship Id="rId4" Type="http://schemas.openxmlformats.org/officeDocument/2006/relationships/image" Target="../media/image28.emf"/></Relationships>
</file>

<file path=ppt/slides/_rels/slide4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3.xml"/><Relationship Id="rId5" Type="http://schemas.openxmlformats.org/officeDocument/2006/relationships/chart" Target="../charts/chart252.xml"/><Relationship Id="rId4" Type="http://schemas.openxmlformats.org/officeDocument/2006/relationships/image" Target="../media/image28.emf"/></Relationships>
</file>

<file path=ppt/slides/_rels/slide4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4.xml"/><Relationship Id="rId5" Type="http://schemas.openxmlformats.org/officeDocument/2006/relationships/chart" Target="../charts/chart253.xml"/><Relationship Id="rId4" Type="http://schemas.openxmlformats.org/officeDocument/2006/relationships/image" Target="../media/image28.emf"/></Relationships>
</file>

<file path=ppt/slides/_rels/slide4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5.xml"/><Relationship Id="rId5" Type="http://schemas.openxmlformats.org/officeDocument/2006/relationships/chart" Target="../charts/chart254.xml"/><Relationship Id="rId4" Type="http://schemas.openxmlformats.org/officeDocument/2006/relationships/image" Target="../media/image28.emf"/></Relationships>
</file>

<file path=ppt/slides/_rels/slide4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6.xml"/><Relationship Id="rId5" Type="http://schemas.openxmlformats.org/officeDocument/2006/relationships/chart" Target="../charts/chart255.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2.xml"/></Relationships>
</file>

<file path=ppt/slides/_rels/slide4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7.xml"/><Relationship Id="rId5" Type="http://schemas.openxmlformats.org/officeDocument/2006/relationships/chart" Target="../charts/chart256.xml"/><Relationship Id="rId4" Type="http://schemas.openxmlformats.org/officeDocument/2006/relationships/image" Target="../media/image28.emf"/></Relationships>
</file>

<file path=ppt/slides/_rels/slide4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8.xml"/><Relationship Id="rId5" Type="http://schemas.openxmlformats.org/officeDocument/2006/relationships/chart" Target="../charts/chart257.xml"/><Relationship Id="rId4" Type="http://schemas.openxmlformats.org/officeDocument/2006/relationships/image" Target="../media/image28.emf"/></Relationships>
</file>

<file path=ppt/slides/_rels/slide4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9.xml"/><Relationship Id="rId5" Type="http://schemas.openxmlformats.org/officeDocument/2006/relationships/chart" Target="../charts/chart258.xml"/><Relationship Id="rId4" Type="http://schemas.openxmlformats.org/officeDocument/2006/relationships/image" Target="../media/image28.emf"/></Relationships>
</file>

<file path=ppt/slides/_rels/slide4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0.xml"/><Relationship Id="rId5" Type="http://schemas.openxmlformats.org/officeDocument/2006/relationships/chart" Target="../charts/chart259.xml"/><Relationship Id="rId4" Type="http://schemas.openxmlformats.org/officeDocument/2006/relationships/image" Target="../media/image28.emf"/></Relationships>
</file>

<file path=ppt/slides/_rels/slide4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1.xml"/><Relationship Id="rId5" Type="http://schemas.openxmlformats.org/officeDocument/2006/relationships/chart" Target="../charts/chart260.xml"/><Relationship Id="rId4" Type="http://schemas.openxmlformats.org/officeDocument/2006/relationships/image" Target="../media/image28.emf"/></Relationships>
</file>

<file path=ppt/slides/_rels/slide4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2.xml"/><Relationship Id="rId5" Type="http://schemas.openxmlformats.org/officeDocument/2006/relationships/chart" Target="../charts/chart261.xml"/><Relationship Id="rId4" Type="http://schemas.openxmlformats.org/officeDocument/2006/relationships/image" Target="../media/image28.emf"/></Relationships>
</file>

<file path=ppt/slides/_rels/slide4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3.xml"/><Relationship Id="rId5" Type="http://schemas.openxmlformats.org/officeDocument/2006/relationships/chart" Target="../charts/chart262.xml"/><Relationship Id="rId4" Type="http://schemas.openxmlformats.org/officeDocument/2006/relationships/image" Target="../media/image28.emf"/></Relationships>
</file>

<file path=ppt/slides/_rels/slide4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4.xml"/><Relationship Id="rId5" Type="http://schemas.openxmlformats.org/officeDocument/2006/relationships/chart" Target="../charts/chart263.xml"/><Relationship Id="rId4" Type="http://schemas.openxmlformats.org/officeDocument/2006/relationships/image" Target="../media/image28.emf"/></Relationships>
</file>

<file path=ppt/slides/_rels/slide4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5.xml"/><Relationship Id="rId5" Type="http://schemas.openxmlformats.org/officeDocument/2006/relationships/chart" Target="../charts/chart264.xml"/><Relationship Id="rId4" Type="http://schemas.openxmlformats.org/officeDocument/2006/relationships/image" Target="../media/image28.emf"/></Relationships>
</file>

<file path=ppt/slides/_rels/slide4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6.xml"/><Relationship Id="rId5" Type="http://schemas.openxmlformats.org/officeDocument/2006/relationships/chart" Target="../charts/chart265.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3.xml"/></Relationships>
</file>

<file path=ppt/slides/_rels/slide4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7.xml"/><Relationship Id="rId5" Type="http://schemas.openxmlformats.org/officeDocument/2006/relationships/chart" Target="../charts/chart266.xml"/><Relationship Id="rId4" Type="http://schemas.openxmlformats.org/officeDocument/2006/relationships/image" Target="../media/image28.emf"/></Relationships>
</file>

<file path=ppt/slides/_rels/slide4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8.xml"/><Relationship Id="rId5" Type="http://schemas.openxmlformats.org/officeDocument/2006/relationships/chart" Target="../charts/chart267.xml"/><Relationship Id="rId4" Type="http://schemas.openxmlformats.org/officeDocument/2006/relationships/image" Target="../media/image28.emf"/></Relationships>
</file>

<file path=ppt/slides/_rels/slide4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9.xml"/><Relationship Id="rId5" Type="http://schemas.openxmlformats.org/officeDocument/2006/relationships/chart" Target="../charts/chart268.xml"/><Relationship Id="rId4" Type="http://schemas.openxmlformats.org/officeDocument/2006/relationships/image" Target="../media/image28.emf"/></Relationships>
</file>

<file path=ppt/slides/_rels/slide4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0.xml"/><Relationship Id="rId5" Type="http://schemas.openxmlformats.org/officeDocument/2006/relationships/chart" Target="../charts/chart269.xml"/><Relationship Id="rId4" Type="http://schemas.openxmlformats.org/officeDocument/2006/relationships/image" Target="../media/image28.emf"/></Relationships>
</file>

<file path=ppt/slides/_rels/slide4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1.xml"/><Relationship Id="rId5" Type="http://schemas.openxmlformats.org/officeDocument/2006/relationships/chart" Target="../charts/chart270.xml"/><Relationship Id="rId4" Type="http://schemas.openxmlformats.org/officeDocument/2006/relationships/image" Target="../media/image28.emf"/></Relationships>
</file>

<file path=ppt/slides/_rels/slide4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2.xml"/><Relationship Id="rId5" Type="http://schemas.openxmlformats.org/officeDocument/2006/relationships/chart" Target="../charts/chart271.xml"/><Relationship Id="rId4" Type="http://schemas.openxmlformats.org/officeDocument/2006/relationships/image" Target="../media/image28.emf"/></Relationships>
</file>

<file path=ppt/slides/_rels/slide4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3.xml"/><Relationship Id="rId5" Type="http://schemas.openxmlformats.org/officeDocument/2006/relationships/chart" Target="../charts/chart272.xml"/><Relationship Id="rId4" Type="http://schemas.openxmlformats.org/officeDocument/2006/relationships/image" Target="../media/image28.emf"/></Relationships>
</file>

<file path=ppt/slides/_rels/slide4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4.xml"/><Relationship Id="rId5" Type="http://schemas.openxmlformats.org/officeDocument/2006/relationships/chart" Target="../charts/chart273.xml"/><Relationship Id="rId4" Type="http://schemas.openxmlformats.org/officeDocument/2006/relationships/image" Target="../media/image28.emf"/></Relationships>
</file>

<file path=ppt/slides/_rels/slide4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5.xml"/><Relationship Id="rId5" Type="http://schemas.openxmlformats.org/officeDocument/2006/relationships/chart" Target="../charts/chart274.xml"/><Relationship Id="rId4" Type="http://schemas.openxmlformats.org/officeDocument/2006/relationships/image" Target="../media/image28.emf"/></Relationships>
</file>

<file path=ppt/slides/_rels/slide4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6.xml"/><Relationship Id="rId5" Type="http://schemas.openxmlformats.org/officeDocument/2006/relationships/chart" Target="../charts/chart275.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4.xml"/></Relationships>
</file>

<file path=ppt/slides/_rels/slide4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7.xml"/><Relationship Id="rId5" Type="http://schemas.openxmlformats.org/officeDocument/2006/relationships/chart" Target="../charts/chart276.xml"/><Relationship Id="rId4" Type="http://schemas.openxmlformats.org/officeDocument/2006/relationships/image" Target="../media/image28.emf"/></Relationships>
</file>

<file path=ppt/slides/_rels/slide4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8.xml"/><Relationship Id="rId5" Type="http://schemas.openxmlformats.org/officeDocument/2006/relationships/chart" Target="../charts/chart277.xml"/><Relationship Id="rId4" Type="http://schemas.openxmlformats.org/officeDocument/2006/relationships/image" Target="../media/image28.emf"/></Relationships>
</file>

<file path=ppt/slides/_rels/slide4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9.xml"/><Relationship Id="rId5" Type="http://schemas.openxmlformats.org/officeDocument/2006/relationships/chart" Target="../charts/chart278.xml"/><Relationship Id="rId4" Type="http://schemas.openxmlformats.org/officeDocument/2006/relationships/image" Target="../media/image28.emf"/></Relationships>
</file>

<file path=ppt/slides/_rels/slide4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0.xml"/><Relationship Id="rId5" Type="http://schemas.openxmlformats.org/officeDocument/2006/relationships/chart" Target="../charts/chart279.xml"/><Relationship Id="rId4" Type="http://schemas.openxmlformats.org/officeDocument/2006/relationships/image" Target="../media/image28.emf"/></Relationships>
</file>

<file path=ppt/slides/_rels/slide4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1.xml"/><Relationship Id="rId5" Type="http://schemas.openxmlformats.org/officeDocument/2006/relationships/chart" Target="../charts/chart280.xml"/><Relationship Id="rId4" Type="http://schemas.openxmlformats.org/officeDocument/2006/relationships/image" Target="../media/image28.emf"/></Relationships>
</file>

<file path=ppt/slides/_rels/slide4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2.xml"/><Relationship Id="rId5" Type="http://schemas.openxmlformats.org/officeDocument/2006/relationships/chart" Target="../charts/chart281.xml"/><Relationship Id="rId4" Type="http://schemas.openxmlformats.org/officeDocument/2006/relationships/image" Target="../media/image28.emf"/></Relationships>
</file>

<file path=ppt/slides/_rels/slide4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3.xml"/><Relationship Id="rId5" Type="http://schemas.openxmlformats.org/officeDocument/2006/relationships/chart" Target="../charts/chart282.xml"/><Relationship Id="rId4" Type="http://schemas.openxmlformats.org/officeDocument/2006/relationships/image" Target="../media/image28.emf"/></Relationships>
</file>

<file path=ppt/slides/_rels/slide4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4.xml"/><Relationship Id="rId5" Type="http://schemas.openxmlformats.org/officeDocument/2006/relationships/chart" Target="../charts/chart283.xml"/><Relationship Id="rId4" Type="http://schemas.openxmlformats.org/officeDocument/2006/relationships/image" Target="../media/image28.emf"/></Relationships>
</file>

<file path=ppt/slides/_rels/slide4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5.xml"/><Relationship Id="rId5" Type="http://schemas.openxmlformats.org/officeDocument/2006/relationships/chart" Target="../charts/chart284.xml"/><Relationship Id="rId4" Type="http://schemas.openxmlformats.org/officeDocument/2006/relationships/image" Target="../media/image28.emf"/></Relationships>
</file>

<file path=ppt/slides/_rels/slide4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6.xml"/><Relationship Id="rId5" Type="http://schemas.openxmlformats.org/officeDocument/2006/relationships/chart" Target="../charts/chart285.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5.xml"/></Relationships>
</file>

<file path=ppt/slides/_rels/slide4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7.xml"/><Relationship Id="rId5" Type="http://schemas.openxmlformats.org/officeDocument/2006/relationships/chart" Target="../charts/chart286.xml"/><Relationship Id="rId4" Type="http://schemas.openxmlformats.org/officeDocument/2006/relationships/image" Target="../media/image28.emf"/></Relationships>
</file>

<file path=ppt/slides/_rels/slide4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8.xml"/><Relationship Id="rId5" Type="http://schemas.openxmlformats.org/officeDocument/2006/relationships/chart" Target="../charts/chart287.xml"/><Relationship Id="rId4" Type="http://schemas.openxmlformats.org/officeDocument/2006/relationships/image" Target="../media/image28.emf"/></Relationships>
</file>

<file path=ppt/slides/_rels/slide4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9.xml"/><Relationship Id="rId5" Type="http://schemas.openxmlformats.org/officeDocument/2006/relationships/chart" Target="../charts/chart288.xml"/><Relationship Id="rId4" Type="http://schemas.openxmlformats.org/officeDocument/2006/relationships/image" Target="../media/image28.emf"/></Relationships>
</file>

<file path=ppt/slides/_rels/slide4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0.xml"/><Relationship Id="rId5" Type="http://schemas.openxmlformats.org/officeDocument/2006/relationships/chart" Target="../charts/chart289.xml"/><Relationship Id="rId4" Type="http://schemas.openxmlformats.org/officeDocument/2006/relationships/image" Target="../media/image28.emf"/></Relationships>
</file>

<file path=ppt/slides/_rels/slide4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1.xml"/><Relationship Id="rId5" Type="http://schemas.openxmlformats.org/officeDocument/2006/relationships/chart" Target="../charts/chart290.xml"/><Relationship Id="rId4" Type="http://schemas.openxmlformats.org/officeDocument/2006/relationships/image" Target="../media/image28.emf"/></Relationships>
</file>

<file path=ppt/slides/_rels/slide4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2.xml"/><Relationship Id="rId5" Type="http://schemas.openxmlformats.org/officeDocument/2006/relationships/chart" Target="../charts/chart291.xml"/><Relationship Id="rId4" Type="http://schemas.openxmlformats.org/officeDocument/2006/relationships/image" Target="../media/image28.emf"/></Relationships>
</file>

<file path=ppt/slides/_rels/slide4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3.xml"/><Relationship Id="rId5" Type="http://schemas.openxmlformats.org/officeDocument/2006/relationships/chart" Target="../charts/chart292.xml"/><Relationship Id="rId4" Type="http://schemas.openxmlformats.org/officeDocument/2006/relationships/image" Target="../media/image28.emf"/></Relationships>
</file>

<file path=ppt/slides/_rels/slide4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4.xml"/><Relationship Id="rId5" Type="http://schemas.openxmlformats.org/officeDocument/2006/relationships/chart" Target="../charts/chart293.xml"/><Relationship Id="rId4" Type="http://schemas.openxmlformats.org/officeDocument/2006/relationships/image" Target="../media/image28.emf"/></Relationships>
</file>

<file path=ppt/slides/_rels/slide4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5.xml"/><Relationship Id="rId5" Type="http://schemas.openxmlformats.org/officeDocument/2006/relationships/chart" Target="../charts/chart294.xml"/><Relationship Id="rId4" Type="http://schemas.openxmlformats.org/officeDocument/2006/relationships/image" Target="../media/image28.emf"/></Relationships>
</file>

<file path=ppt/slides/_rels/slide4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6.xml"/><Relationship Id="rId5" Type="http://schemas.openxmlformats.org/officeDocument/2006/relationships/chart" Target="../charts/chart295.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6.xml"/></Relationships>
</file>

<file path=ppt/slides/_rels/slide4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7.xml"/><Relationship Id="rId5" Type="http://schemas.openxmlformats.org/officeDocument/2006/relationships/chart" Target="../charts/chart296.xml"/><Relationship Id="rId4" Type="http://schemas.openxmlformats.org/officeDocument/2006/relationships/image" Target="../media/image28.emf"/></Relationships>
</file>

<file path=ppt/slides/_rels/slide4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8.xml"/><Relationship Id="rId5" Type="http://schemas.openxmlformats.org/officeDocument/2006/relationships/chart" Target="../charts/chart297.xml"/><Relationship Id="rId4" Type="http://schemas.openxmlformats.org/officeDocument/2006/relationships/image" Target="../media/image28.emf"/></Relationships>
</file>

<file path=ppt/slides/_rels/slide4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9.xml"/><Relationship Id="rId5" Type="http://schemas.openxmlformats.org/officeDocument/2006/relationships/chart" Target="../charts/chart298.xml"/><Relationship Id="rId4" Type="http://schemas.openxmlformats.org/officeDocument/2006/relationships/image" Target="../media/image28.emf"/></Relationships>
</file>

<file path=ppt/slides/_rels/slide4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0.xml"/><Relationship Id="rId5" Type="http://schemas.openxmlformats.org/officeDocument/2006/relationships/chart" Target="../charts/chart299.xml"/><Relationship Id="rId4" Type="http://schemas.openxmlformats.org/officeDocument/2006/relationships/image" Target="../media/image28.emf"/></Relationships>
</file>

<file path=ppt/slides/_rels/slide4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1.xml"/><Relationship Id="rId5" Type="http://schemas.openxmlformats.org/officeDocument/2006/relationships/chart" Target="../charts/chart300.xml"/><Relationship Id="rId4" Type="http://schemas.openxmlformats.org/officeDocument/2006/relationships/image" Target="../media/image28.emf"/></Relationships>
</file>

<file path=ppt/slides/_rels/slide4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2.xml"/><Relationship Id="rId5" Type="http://schemas.openxmlformats.org/officeDocument/2006/relationships/chart" Target="../charts/chart301.xml"/><Relationship Id="rId4" Type="http://schemas.openxmlformats.org/officeDocument/2006/relationships/image" Target="../media/image28.emf"/></Relationships>
</file>

<file path=ppt/slides/_rels/slide4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3.xml"/><Relationship Id="rId5" Type="http://schemas.openxmlformats.org/officeDocument/2006/relationships/chart" Target="../charts/chart302.xml"/><Relationship Id="rId4" Type="http://schemas.openxmlformats.org/officeDocument/2006/relationships/image" Target="../media/image28.emf"/></Relationships>
</file>

<file path=ppt/slides/_rels/slide4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4.xml"/><Relationship Id="rId5" Type="http://schemas.openxmlformats.org/officeDocument/2006/relationships/chart" Target="../charts/chart303.xml"/><Relationship Id="rId4" Type="http://schemas.openxmlformats.org/officeDocument/2006/relationships/image" Target="../media/image28.emf"/></Relationships>
</file>

<file path=ppt/slides/_rels/slide4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5.xml"/><Relationship Id="rId5" Type="http://schemas.openxmlformats.org/officeDocument/2006/relationships/chart" Target="../charts/chart304.xml"/><Relationship Id="rId4" Type="http://schemas.openxmlformats.org/officeDocument/2006/relationships/image" Target="../media/image28.emf"/></Relationships>
</file>

<file path=ppt/slides/_rels/slide4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6.xml"/><Relationship Id="rId5" Type="http://schemas.openxmlformats.org/officeDocument/2006/relationships/chart" Target="../charts/chart305.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7.xml"/></Relationships>
</file>

<file path=ppt/slides/_rels/slide4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7.xml"/><Relationship Id="rId5" Type="http://schemas.openxmlformats.org/officeDocument/2006/relationships/chart" Target="../charts/chart306.xml"/><Relationship Id="rId4" Type="http://schemas.openxmlformats.org/officeDocument/2006/relationships/image" Target="../media/image28.emf"/></Relationships>
</file>

<file path=ppt/slides/_rels/slide4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8.xml"/><Relationship Id="rId5" Type="http://schemas.openxmlformats.org/officeDocument/2006/relationships/chart" Target="../charts/chart307.xml"/><Relationship Id="rId4" Type="http://schemas.openxmlformats.org/officeDocument/2006/relationships/image" Target="../media/image28.emf"/></Relationships>
</file>

<file path=ppt/slides/_rels/slide4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9.xml"/><Relationship Id="rId5" Type="http://schemas.openxmlformats.org/officeDocument/2006/relationships/chart" Target="../charts/chart308.xml"/><Relationship Id="rId4" Type="http://schemas.openxmlformats.org/officeDocument/2006/relationships/image" Target="../media/image28.emf"/></Relationships>
</file>

<file path=ppt/slides/_rels/slide4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0.xml"/><Relationship Id="rId5" Type="http://schemas.openxmlformats.org/officeDocument/2006/relationships/chart" Target="../charts/chart309.xml"/><Relationship Id="rId4" Type="http://schemas.openxmlformats.org/officeDocument/2006/relationships/image" Target="../media/image28.emf"/></Relationships>
</file>

<file path=ppt/slides/_rels/slide4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1.xml"/><Relationship Id="rId5" Type="http://schemas.openxmlformats.org/officeDocument/2006/relationships/chart" Target="../charts/chart310.xml"/><Relationship Id="rId4" Type="http://schemas.openxmlformats.org/officeDocument/2006/relationships/image" Target="../media/image28.emf"/></Relationships>
</file>

<file path=ppt/slides/_rels/slide4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2.xml"/><Relationship Id="rId5" Type="http://schemas.openxmlformats.org/officeDocument/2006/relationships/chart" Target="../charts/chart311.xml"/><Relationship Id="rId4" Type="http://schemas.openxmlformats.org/officeDocument/2006/relationships/image" Target="../media/image28.emf"/></Relationships>
</file>

<file path=ppt/slides/_rels/slide4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3.xml"/><Relationship Id="rId5" Type="http://schemas.openxmlformats.org/officeDocument/2006/relationships/chart" Target="../charts/chart312.xml"/><Relationship Id="rId4" Type="http://schemas.openxmlformats.org/officeDocument/2006/relationships/image" Target="../media/image28.emf"/></Relationships>
</file>

<file path=ppt/slides/_rels/slide4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4.xml"/><Relationship Id="rId5" Type="http://schemas.openxmlformats.org/officeDocument/2006/relationships/chart" Target="../charts/chart313.xml"/><Relationship Id="rId4" Type="http://schemas.openxmlformats.org/officeDocument/2006/relationships/image" Target="../media/image28.emf"/></Relationships>
</file>

<file path=ppt/slides/_rels/slide4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5.xml"/><Relationship Id="rId5" Type="http://schemas.openxmlformats.org/officeDocument/2006/relationships/chart" Target="../charts/chart314.xml"/><Relationship Id="rId4" Type="http://schemas.openxmlformats.org/officeDocument/2006/relationships/image" Target="../media/image28.emf"/></Relationships>
</file>

<file path=ppt/slides/_rels/slide4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6.xml"/><Relationship Id="rId5" Type="http://schemas.openxmlformats.org/officeDocument/2006/relationships/chart" Target="../charts/chart315.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8.xml"/></Relationships>
</file>

<file path=ppt/slides/_rels/slide4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7.xml"/><Relationship Id="rId5" Type="http://schemas.openxmlformats.org/officeDocument/2006/relationships/chart" Target="../charts/chart316.xml"/><Relationship Id="rId4" Type="http://schemas.openxmlformats.org/officeDocument/2006/relationships/image" Target="../media/image28.emf"/></Relationships>
</file>

<file path=ppt/slides/_rels/slide4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8.xml"/><Relationship Id="rId5" Type="http://schemas.openxmlformats.org/officeDocument/2006/relationships/chart" Target="../charts/chart317.xml"/><Relationship Id="rId4" Type="http://schemas.openxmlformats.org/officeDocument/2006/relationships/image" Target="../media/image28.emf"/></Relationships>
</file>

<file path=ppt/slides/_rels/slide4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9.xml"/><Relationship Id="rId5" Type="http://schemas.openxmlformats.org/officeDocument/2006/relationships/chart" Target="../charts/chart318.xml"/><Relationship Id="rId4" Type="http://schemas.openxmlformats.org/officeDocument/2006/relationships/image" Target="../media/image28.emf"/></Relationships>
</file>

<file path=ppt/slides/_rels/slide4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0.xml"/><Relationship Id="rId5" Type="http://schemas.openxmlformats.org/officeDocument/2006/relationships/chart" Target="../charts/chart319.xml"/><Relationship Id="rId4" Type="http://schemas.openxmlformats.org/officeDocument/2006/relationships/image" Target="../media/image28.emf"/></Relationships>
</file>

<file path=ppt/slides/_rels/slide4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1.xml"/><Relationship Id="rId5" Type="http://schemas.openxmlformats.org/officeDocument/2006/relationships/chart" Target="../charts/chart320.xml"/><Relationship Id="rId4" Type="http://schemas.openxmlformats.org/officeDocument/2006/relationships/image" Target="../media/image28.emf"/></Relationships>
</file>

<file path=ppt/slides/_rels/slide4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2.xml"/><Relationship Id="rId5" Type="http://schemas.openxmlformats.org/officeDocument/2006/relationships/chart" Target="../charts/chart321.xml"/><Relationship Id="rId4" Type="http://schemas.openxmlformats.org/officeDocument/2006/relationships/image" Target="../media/image28.emf"/></Relationships>
</file>

<file path=ppt/slides/_rels/slide4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3.xml"/><Relationship Id="rId5" Type="http://schemas.openxmlformats.org/officeDocument/2006/relationships/chart" Target="../charts/chart322.xml"/><Relationship Id="rId4" Type="http://schemas.openxmlformats.org/officeDocument/2006/relationships/image" Target="../media/image28.emf"/></Relationships>
</file>

<file path=ppt/slides/_rels/slide4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4.xml"/><Relationship Id="rId5" Type="http://schemas.openxmlformats.org/officeDocument/2006/relationships/chart" Target="../charts/chart323.xml"/><Relationship Id="rId4" Type="http://schemas.openxmlformats.org/officeDocument/2006/relationships/image" Target="../media/image28.emf"/></Relationships>
</file>

<file path=ppt/slides/_rels/slide4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5.xml"/><Relationship Id="rId5" Type="http://schemas.openxmlformats.org/officeDocument/2006/relationships/chart" Target="../charts/chart324.xml"/><Relationship Id="rId4" Type="http://schemas.openxmlformats.org/officeDocument/2006/relationships/image" Target="../media/image28.emf"/></Relationships>
</file>

<file path=ppt/slides/_rels/slide4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6.xml"/><Relationship Id="rId5" Type="http://schemas.openxmlformats.org/officeDocument/2006/relationships/chart" Target="../charts/chart325.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9.xml"/></Relationships>
</file>

<file path=ppt/slides/_rels/slide4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7.xml"/><Relationship Id="rId5" Type="http://schemas.openxmlformats.org/officeDocument/2006/relationships/chart" Target="../charts/chart326.xml"/><Relationship Id="rId4" Type="http://schemas.openxmlformats.org/officeDocument/2006/relationships/image" Target="../media/image28.emf"/></Relationships>
</file>

<file path=ppt/slides/_rels/slide4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8.xml"/><Relationship Id="rId5" Type="http://schemas.openxmlformats.org/officeDocument/2006/relationships/chart" Target="../charts/chart327.xml"/><Relationship Id="rId4" Type="http://schemas.openxmlformats.org/officeDocument/2006/relationships/image" Target="../media/image28.emf"/></Relationships>
</file>

<file path=ppt/slides/_rels/slide4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9.xml"/><Relationship Id="rId5" Type="http://schemas.openxmlformats.org/officeDocument/2006/relationships/chart" Target="../charts/chart328.xml"/><Relationship Id="rId4" Type="http://schemas.openxmlformats.org/officeDocument/2006/relationships/image" Target="../media/image28.emf"/></Relationships>
</file>

<file path=ppt/slides/_rels/slide4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0.xml"/><Relationship Id="rId5" Type="http://schemas.openxmlformats.org/officeDocument/2006/relationships/chart" Target="../charts/chart329.xml"/><Relationship Id="rId4" Type="http://schemas.openxmlformats.org/officeDocument/2006/relationships/image" Target="../media/image28.emf"/></Relationships>
</file>

<file path=ppt/slides/_rels/slide4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1.xml"/><Relationship Id="rId5" Type="http://schemas.openxmlformats.org/officeDocument/2006/relationships/chart" Target="../charts/chart330.xml"/><Relationship Id="rId4" Type="http://schemas.openxmlformats.org/officeDocument/2006/relationships/image" Target="../media/image28.emf"/></Relationships>
</file>

<file path=ppt/slides/_rels/slide4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2.xml"/><Relationship Id="rId5" Type="http://schemas.openxmlformats.org/officeDocument/2006/relationships/chart" Target="../charts/chart331.xml"/><Relationship Id="rId4" Type="http://schemas.openxmlformats.org/officeDocument/2006/relationships/image" Target="../media/image28.emf"/></Relationships>
</file>

<file path=ppt/slides/_rels/slide4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3.xml"/><Relationship Id="rId5" Type="http://schemas.openxmlformats.org/officeDocument/2006/relationships/chart" Target="../charts/chart332.xml"/><Relationship Id="rId4" Type="http://schemas.openxmlformats.org/officeDocument/2006/relationships/image" Target="../media/image28.emf"/></Relationships>
</file>

<file path=ppt/slides/_rels/slide4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4.xml"/><Relationship Id="rId5" Type="http://schemas.openxmlformats.org/officeDocument/2006/relationships/chart" Target="../charts/chart333.xml"/><Relationship Id="rId4" Type="http://schemas.openxmlformats.org/officeDocument/2006/relationships/image" Target="../media/image28.emf"/></Relationships>
</file>

<file path=ppt/slides/_rels/slide4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5.xml"/><Relationship Id="rId5" Type="http://schemas.openxmlformats.org/officeDocument/2006/relationships/chart" Target="../charts/chart334.xml"/><Relationship Id="rId4" Type="http://schemas.openxmlformats.org/officeDocument/2006/relationships/image" Target="../media/image28.emf"/></Relationships>
</file>

<file path=ppt/slides/_rels/slide4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6.xml"/><Relationship Id="rId5" Type="http://schemas.openxmlformats.org/officeDocument/2006/relationships/chart" Target="../charts/chart335.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0.xml"/></Relationships>
</file>

<file path=ppt/slides/_rels/slide5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7.xml"/><Relationship Id="rId5" Type="http://schemas.openxmlformats.org/officeDocument/2006/relationships/chart" Target="../charts/chart336.xml"/><Relationship Id="rId4" Type="http://schemas.openxmlformats.org/officeDocument/2006/relationships/image" Target="../media/image28.emf"/></Relationships>
</file>

<file path=ppt/slides/_rels/slide5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8.xml"/><Relationship Id="rId5" Type="http://schemas.openxmlformats.org/officeDocument/2006/relationships/chart" Target="../charts/chart337.xml"/><Relationship Id="rId4" Type="http://schemas.openxmlformats.org/officeDocument/2006/relationships/image" Target="../media/image28.emf"/></Relationships>
</file>

<file path=ppt/slides/_rels/slide5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9.xml"/><Relationship Id="rId5" Type="http://schemas.openxmlformats.org/officeDocument/2006/relationships/chart" Target="../charts/chart338.xml"/><Relationship Id="rId4" Type="http://schemas.openxmlformats.org/officeDocument/2006/relationships/image" Target="../media/image28.emf"/></Relationships>
</file>

<file path=ppt/slides/_rels/slide5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0.xml"/><Relationship Id="rId5" Type="http://schemas.openxmlformats.org/officeDocument/2006/relationships/chart" Target="../charts/chart339.xml"/><Relationship Id="rId4" Type="http://schemas.openxmlformats.org/officeDocument/2006/relationships/image" Target="../media/image28.emf"/></Relationships>
</file>

<file path=ppt/slides/_rels/slide5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1.xml"/><Relationship Id="rId5" Type="http://schemas.openxmlformats.org/officeDocument/2006/relationships/chart" Target="../charts/chart340.xml"/><Relationship Id="rId4" Type="http://schemas.openxmlformats.org/officeDocument/2006/relationships/image" Target="../media/image28.emf"/></Relationships>
</file>

<file path=ppt/slides/_rels/slide5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2.xml"/><Relationship Id="rId5" Type="http://schemas.openxmlformats.org/officeDocument/2006/relationships/chart" Target="../charts/chart341.xml"/><Relationship Id="rId4" Type="http://schemas.openxmlformats.org/officeDocument/2006/relationships/image" Target="../media/image28.emf"/></Relationships>
</file>

<file path=ppt/slides/_rels/slide5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3.xml"/><Relationship Id="rId5" Type="http://schemas.openxmlformats.org/officeDocument/2006/relationships/chart" Target="../charts/chart342.xml"/><Relationship Id="rId4" Type="http://schemas.openxmlformats.org/officeDocument/2006/relationships/image" Target="../media/image28.emf"/></Relationships>
</file>

<file path=ppt/slides/_rels/slide5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4.xml"/><Relationship Id="rId5" Type="http://schemas.openxmlformats.org/officeDocument/2006/relationships/chart" Target="../charts/chart343.xml"/><Relationship Id="rId4" Type="http://schemas.openxmlformats.org/officeDocument/2006/relationships/image" Target="../media/image28.emf"/></Relationships>
</file>

<file path=ppt/slides/_rels/slide5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5.xml"/><Relationship Id="rId5" Type="http://schemas.openxmlformats.org/officeDocument/2006/relationships/chart" Target="../charts/chart344.xml"/><Relationship Id="rId4" Type="http://schemas.openxmlformats.org/officeDocument/2006/relationships/image" Target="../media/image28.emf"/></Relationships>
</file>

<file path=ppt/slides/_rels/slide5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6.xml"/><Relationship Id="rId5" Type="http://schemas.openxmlformats.org/officeDocument/2006/relationships/chart" Target="../charts/chart345.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1.xml"/></Relationships>
</file>

<file path=ppt/slides/_rels/slide5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7.xml"/><Relationship Id="rId5" Type="http://schemas.openxmlformats.org/officeDocument/2006/relationships/chart" Target="../charts/chart346.xml"/><Relationship Id="rId4" Type="http://schemas.openxmlformats.org/officeDocument/2006/relationships/image" Target="../media/image28.emf"/></Relationships>
</file>

<file path=ppt/slides/_rels/slide5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8.xml"/><Relationship Id="rId5" Type="http://schemas.openxmlformats.org/officeDocument/2006/relationships/chart" Target="../charts/chart347.xml"/><Relationship Id="rId4" Type="http://schemas.openxmlformats.org/officeDocument/2006/relationships/image" Target="../media/image28.emf"/></Relationships>
</file>

<file path=ppt/slides/_rels/slide5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9.xml"/><Relationship Id="rId5" Type="http://schemas.openxmlformats.org/officeDocument/2006/relationships/chart" Target="../charts/chart348.xml"/><Relationship Id="rId4" Type="http://schemas.openxmlformats.org/officeDocument/2006/relationships/image" Target="../media/image28.emf"/></Relationships>
</file>

<file path=ppt/slides/_rels/slide5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0.xml"/><Relationship Id="rId5" Type="http://schemas.openxmlformats.org/officeDocument/2006/relationships/chart" Target="../charts/chart349.xml"/><Relationship Id="rId4" Type="http://schemas.openxmlformats.org/officeDocument/2006/relationships/image" Target="../media/image28.emf"/></Relationships>
</file>

<file path=ppt/slides/_rels/slide5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1.xml"/><Relationship Id="rId5" Type="http://schemas.openxmlformats.org/officeDocument/2006/relationships/chart" Target="../charts/chart350.xml"/><Relationship Id="rId4" Type="http://schemas.openxmlformats.org/officeDocument/2006/relationships/image" Target="../media/image28.emf"/></Relationships>
</file>

<file path=ppt/slides/_rels/slide5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2.xml"/><Relationship Id="rId5" Type="http://schemas.openxmlformats.org/officeDocument/2006/relationships/chart" Target="../charts/chart351.xml"/><Relationship Id="rId4" Type="http://schemas.openxmlformats.org/officeDocument/2006/relationships/image" Target="../media/image28.emf"/></Relationships>
</file>

<file path=ppt/slides/_rels/slide5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3.xml"/><Relationship Id="rId5" Type="http://schemas.openxmlformats.org/officeDocument/2006/relationships/chart" Target="../charts/chart352.xml"/><Relationship Id="rId4" Type="http://schemas.openxmlformats.org/officeDocument/2006/relationships/image" Target="../media/image28.emf"/></Relationships>
</file>

<file path=ppt/slides/_rels/slide5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4.xml"/><Relationship Id="rId5" Type="http://schemas.openxmlformats.org/officeDocument/2006/relationships/chart" Target="../charts/chart353.xml"/><Relationship Id="rId4" Type="http://schemas.openxmlformats.org/officeDocument/2006/relationships/image" Target="../media/image28.emf"/></Relationships>
</file>

<file path=ppt/slides/_rels/slide5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5.xml"/><Relationship Id="rId5" Type="http://schemas.openxmlformats.org/officeDocument/2006/relationships/chart" Target="../charts/chart354.xml"/><Relationship Id="rId4" Type="http://schemas.openxmlformats.org/officeDocument/2006/relationships/image" Target="../media/image28.emf"/></Relationships>
</file>

<file path=ppt/slides/_rels/slide5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6.xml"/><Relationship Id="rId5" Type="http://schemas.openxmlformats.org/officeDocument/2006/relationships/chart" Target="../charts/chart355.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2.xml"/></Relationships>
</file>

<file path=ppt/slides/_rels/slide5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7.xml"/><Relationship Id="rId5" Type="http://schemas.openxmlformats.org/officeDocument/2006/relationships/chart" Target="../charts/chart356.xml"/><Relationship Id="rId4" Type="http://schemas.openxmlformats.org/officeDocument/2006/relationships/image" Target="../media/image28.emf"/></Relationships>
</file>

<file path=ppt/slides/_rels/slide5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8.xml"/><Relationship Id="rId5" Type="http://schemas.openxmlformats.org/officeDocument/2006/relationships/chart" Target="../charts/chart357.xml"/><Relationship Id="rId4" Type="http://schemas.openxmlformats.org/officeDocument/2006/relationships/image" Target="../media/image28.emf"/></Relationships>
</file>

<file path=ppt/slides/_rels/slide5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9.xml"/><Relationship Id="rId5" Type="http://schemas.openxmlformats.org/officeDocument/2006/relationships/chart" Target="../charts/chart358.xml"/><Relationship Id="rId4" Type="http://schemas.openxmlformats.org/officeDocument/2006/relationships/image" Target="../media/image28.emf"/></Relationships>
</file>

<file path=ppt/slides/_rels/slide5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0.xml"/><Relationship Id="rId5" Type="http://schemas.openxmlformats.org/officeDocument/2006/relationships/chart" Target="../charts/chart359.xml"/><Relationship Id="rId4" Type="http://schemas.openxmlformats.org/officeDocument/2006/relationships/image" Target="../media/image28.emf"/></Relationships>
</file>

<file path=ppt/slides/_rels/slide5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1.xml"/><Relationship Id="rId5" Type="http://schemas.openxmlformats.org/officeDocument/2006/relationships/chart" Target="../charts/chart360.xml"/><Relationship Id="rId4" Type="http://schemas.openxmlformats.org/officeDocument/2006/relationships/image" Target="../media/image28.emf"/></Relationships>
</file>

<file path=ppt/slides/_rels/slide5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2.xml"/><Relationship Id="rId5" Type="http://schemas.openxmlformats.org/officeDocument/2006/relationships/chart" Target="../charts/chart361.xml"/><Relationship Id="rId4" Type="http://schemas.openxmlformats.org/officeDocument/2006/relationships/image" Target="../media/image28.emf"/></Relationships>
</file>

<file path=ppt/slides/_rels/slide5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3.xml"/><Relationship Id="rId5" Type="http://schemas.openxmlformats.org/officeDocument/2006/relationships/chart" Target="../charts/chart362.xml"/><Relationship Id="rId4" Type="http://schemas.openxmlformats.org/officeDocument/2006/relationships/image" Target="../media/image28.emf"/></Relationships>
</file>

<file path=ppt/slides/_rels/slide5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4.xml"/><Relationship Id="rId5" Type="http://schemas.openxmlformats.org/officeDocument/2006/relationships/chart" Target="../charts/chart363.xml"/><Relationship Id="rId4" Type="http://schemas.openxmlformats.org/officeDocument/2006/relationships/image" Target="../media/image28.emf"/></Relationships>
</file>

<file path=ppt/slides/_rels/slide5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5.xml"/><Relationship Id="rId5" Type="http://schemas.openxmlformats.org/officeDocument/2006/relationships/chart" Target="../charts/chart364.xml"/><Relationship Id="rId4" Type="http://schemas.openxmlformats.org/officeDocument/2006/relationships/image" Target="../media/image28.emf"/></Relationships>
</file>

<file path=ppt/slides/_rels/slide5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6.xml"/><Relationship Id="rId5" Type="http://schemas.openxmlformats.org/officeDocument/2006/relationships/chart" Target="../charts/chart365.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3.xml"/></Relationships>
</file>

<file path=ppt/slides/_rels/slide5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7.xml"/><Relationship Id="rId5" Type="http://schemas.openxmlformats.org/officeDocument/2006/relationships/chart" Target="../charts/chart366.xml"/><Relationship Id="rId4" Type="http://schemas.openxmlformats.org/officeDocument/2006/relationships/image" Target="../media/image28.emf"/></Relationships>
</file>

<file path=ppt/slides/_rels/slide5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8.xml"/><Relationship Id="rId5" Type="http://schemas.openxmlformats.org/officeDocument/2006/relationships/chart" Target="../charts/chart367.xml"/><Relationship Id="rId4" Type="http://schemas.openxmlformats.org/officeDocument/2006/relationships/image" Target="../media/image28.emf"/></Relationships>
</file>

<file path=ppt/slides/_rels/slide5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9.xml"/><Relationship Id="rId5" Type="http://schemas.openxmlformats.org/officeDocument/2006/relationships/chart" Target="../charts/chart368.xml"/><Relationship Id="rId4" Type="http://schemas.openxmlformats.org/officeDocument/2006/relationships/image" Target="../media/image28.emf"/></Relationships>
</file>

<file path=ppt/slides/_rels/slide5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0.xml"/><Relationship Id="rId5" Type="http://schemas.openxmlformats.org/officeDocument/2006/relationships/chart" Target="../charts/chart369.xml"/><Relationship Id="rId4" Type="http://schemas.openxmlformats.org/officeDocument/2006/relationships/image" Target="../media/image28.emf"/></Relationships>
</file>

<file path=ppt/slides/_rels/slide5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1.xml"/><Relationship Id="rId5" Type="http://schemas.openxmlformats.org/officeDocument/2006/relationships/chart" Target="../charts/chart370.xml"/><Relationship Id="rId4" Type="http://schemas.openxmlformats.org/officeDocument/2006/relationships/image" Target="../media/image28.emf"/></Relationships>
</file>

<file path=ppt/slides/_rels/slide5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2.xml"/><Relationship Id="rId5" Type="http://schemas.openxmlformats.org/officeDocument/2006/relationships/chart" Target="../charts/chart371.xml"/><Relationship Id="rId4" Type="http://schemas.openxmlformats.org/officeDocument/2006/relationships/image" Target="../media/image28.emf"/></Relationships>
</file>

<file path=ppt/slides/_rels/slide5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3.xml"/><Relationship Id="rId5" Type="http://schemas.openxmlformats.org/officeDocument/2006/relationships/chart" Target="../charts/chart372.xml"/><Relationship Id="rId4" Type="http://schemas.openxmlformats.org/officeDocument/2006/relationships/image" Target="../media/image28.emf"/></Relationships>
</file>

<file path=ppt/slides/_rels/slide5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4.xml"/><Relationship Id="rId5" Type="http://schemas.openxmlformats.org/officeDocument/2006/relationships/chart" Target="../charts/chart373.xml"/><Relationship Id="rId4" Type="http://schemas.openxmlformats.org/officeDocument/2006/relationships/image" Target="../media/image28.emf"/></Relationships>
</file>

<file path=ppt/slides/_rels/slide5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5.xml"/><Relationship Id="rId5" Type="http://schemas.openxmlformats.org/officeDocument/2006/relationships/chart" Target="../charts/chart374.xml"/><Relationship Id="rId4" Type="http://schemas.openxmlformats.org/officeDocument/2006/relationships/image" Target="../media/image28.emf"/></Relationships>
</file>

<file path=ppt/slides/_rels/slide5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6.xml"/><Relationship Id="rId5" Type="http://schemas.openxmlformats.org/officeDocument/2006/relationships/chart" Target="../charts/chart375.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4.xml"/></Relationships>
</file>

<file path=ppt/slides/_rels/slide5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7.xml"/><Relationship Id="rId5" Type="http://schemas.openxmlformats.org/officeDocument/2006/relationships/chart" Target="../charts/chart376.xml"/><Relationship Id="rId4" Type="http://schemas.openxmlformats.org/officeDocument/2006/relationships/image" Target="../media/image28.emf"/></Relationships>
</file>

<file path=ppt/slides/_rels/slide5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8.xml"/><Relationship Id="rId5" Type="http://schemas.openxmlformats.org/officeDocument/2006/relationships/chart" Target="../charts/chart377.xml"/><Relationship Id="rId4" Type="http://schemas.openxmlformats.org/officeDocument/2006/relationships/image" Target="../media/image28.emf"/></Relationships>
</file>

<file path=ppt/slides/_rels/slide5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9.xml"/><Relationship Id="rId5" Type="http://schemas.openxmlformats.org/officeDocument/2006/relationships/chart" Target="../charts/chart378.xml"/><Relationship Id="rId4" Type="http://schemas.openxmlformats.org/officeDocument/2006/relationships/image" Target="../media/image28.emf"/></Relationships>
</file>

<file path=ppt/slides/_rels/slide5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0.xml"/><Relationship Id="rId5" Type="http://schemas.openxmlformats.org/officeDocument/2006/relationships/chart" Target="../charts/chart379.xml"/><Relationship Id="rId4" Type="http://schemas.openxmlformats.org/officeDocument/2006/relationships/image" Target="../media/image28.emf"/></Relationships>
</file>

<file path=ppt/slides/_rels/slide5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1.xml"/><Relationship Id="rId5" Type="http://schemas.openxmlformats.org/officeDocument/2006/relationships/chart" Target="../charts/chart380.xml"/><Relationship Id="rId4" Type="http://schemas.openxmlformats.org/officeDocument/2006/relationships/image" Target="../media/image28.emf"/></Relationships>
</file>

<file path=ppt/slides/_rels/slide5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2.xml"/><Relationship Id="rId5" Type="http://schemas.openxmlformats.org/officeDocument/2006/relationships/chart" Target="../charts/chart381.xml"/><Relationship Id="rId4" Type="http://schemas.openxmlformats.org/officeDocument/2006/relationships/image" Target="../media/image28.emf"/></Relationships>
</file>

<file path=ppt/slides/_rels/slide5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3.xml"/><Relationship Id="rId5" Type="http://schemas.openxmlformats.org/officeDocument/2006/relationships/chart" Target="../charts/chart382.xml"/><Relationship Id="rId4" Type="http://schemas.openxmlformats.org/officeDocument/2006/relationships/image" Target="../media/image28.emf"/></Relationships>
</file>

<file path=ppt/slides/_rels/slide5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4.xml"/><Relationship Id="rId5" Type="http://schemas.openxmlformats.org/officeDocument/2006/relationships/chart" Target="../charts/chart383.xml"/><Relationship Id="rId4" Type="http://schemas.openxmlformats.org/officeDocument/2006/relationships/image" Target="../media/image28.emf"/></Relationships>
</file>

<file path=ppt/slides/_rels/slide5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5.xml"/><Relationship Id="rId5" Type="http://schemas.openxmlformats.org/officeDocument/2006/relationships/chart" Target="../charts/chart384.xml"/><Relationship Id="rId4" Type="http://schemas.openxmlformats.org/officeDocument/2006/relationships/image" Target="../media/image28.emf"/></Relationships>
</file>

<file path=ppt/slides/_rels/slide5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6.xml"/><Relationship Id="rId5" Type="http://schemas.openxmlformats.org/officeDocument/2006/relationships/chart" Target="../charts/chart385.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5.xml"/></Relationships>
</file>

<file path=ppt/slides/_rels/slide5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7.xml"/><Relationship Id="rId5" Type="http://schemas.openxmlformats.org/officeDocument/2006/relationships/chart" Target="../charts/chart386.xml"/><Relationship Id="rId4" Type="http://schemas.openxmlformats.org/officeDocument/2006/relationships/image" Target="../media/image28.emf"/></Relationships>
</file>

<file path=ppt/slides/_rels/slide5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8.xml"/><Relationship Id="rId5" Type="http://schemas.openxmlformats.org/officeDocument/2006/relationships/chart" Target="../charts/chart387.xml"/><Relationship Id="rId4" Type="http://schemas.openxmlformats.org/officeDocument/2006/relationships/image" Target="../media/image28.emf"/></Relationships>
</file>

<file path=ppt/slides/_rels/slide5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9.xml"/><Relationship Id="rId5" Type="http://schemas.openxmlformats.org/officeDocument/2006/relationships/chart" Target="../charts/chart388.xml"/><Relationship Id="rId4" Type="http://schemas.openxmlformats.org/officeDocument/2006/relationships/image" Target="../media/image28.emf"/></Relationships>
</file>

<file path=ppt/slides/_rels/slide5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0.xml"/><Relationship Id="rId5" Type="http://schemas.openxmlformats.org/officeDocument/2006/relationships/chart" Target="../charts/chart389.xml"/><Relationship Id="rId4" Type="http://schemas.openxmlformats.org/officeDocument/2006/relationships/image" Target="../media/image28.emf"/></Relationships>
</file>

<file path=ppt/slides/_rels/slide5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1.xml"/><Relationship Id="rId5" Type="http://schemas.openxmlformats.org/officeDocument/2006/relationships/chart" Target="../charts/chart390.xml"/><Relationship Id="rId4" Type="http://schemas.openxmlformats.org/officeDocument/2006/relationships/image" Target="../media/image28.emf"/></Relationships>
</file>

<file path=ppt/slides/_rels/slide5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2.xml"/><Relationship Id="rId5" Type="http://schemas.openxmlformats.org/officeDocument/2006/relationships/chart" Target="../charts/chart391.xml"/><Relationship Id="rId4" Type="http://schemas.openxmlformats.org/officeDocument/2006/relationships/image" Target="../media/image28.emf"/></Relationships>
</file>

<file path=ppt/slides/_rels/slide5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3.xml"/><Relationship Id="rId5" Type="http://schemas.openxmlformats.org/officeDocument/2006/relationships/chart" Target="../charts/chart392.xml"/><Relationship Id="rId4" Type="http://schemas.openxmlformats.org/officeDocument/2006/relationships/image" Target="../media/image28.emf"/></Relationships>
</file>

<file path=ppt/slides/_rels/slide5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4.xml"/><Relationship Id="rId5" Type="http://schemas.openxmlformats.org/officeDocument/2006/relationships/chart" Target="../charts/chart393.xml"/><Relationship Id="rId4" Type="http://schemas.openxmlformats.org/officeDocument/2006/relationships/image" Target="../media/image28.emf"/></Relationships>
</file>

<file path=ppt/slides/_rels/slide5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5.xml"/><Relationship Id="rId5" Type="http://schemas.openxmlformats.org/officeDocument/2006/relationships/chart" Target="../charts/chart394.xml"/><Relationship Id="rId4" Type="http://schemas.openxmlformats.org/officeDocument/2006/relationships/image" Target="../media/image28.emf"/></Relationships>
</file>

<file path=ppt/slides/_rels/slide5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6.xml"/><Relationship Id="rId5" Type="http://schemas.openxmlformats.org/officeDocument/2006/relationships/chart" Target="../charts/chart395.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6.xml"/></Relationships>
</file>

<file path=ppt/slides/_rels/slide5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7.xml"/><Relationship Id="rId5" Type="http://schemas.openxmlformats.org/officeDocument/2006/relationships/chart" Target="../charts/chart396.xml"/><Relationship Id="rId4" Type="http://schemas.openxmlformats.org/officeDocument/2006/relationships/image" Target="../media/image28.emf"/></Relationships>
</file>

<file path=ppt/slides/_rels/slide5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8.xml"/><Relationship Id="rId5" Type="http://schemas.openxmlformats.org/officeDocument/2006/relationships/chart" Target="../charts/chart397.xml"/><Relationship Id="rId4" Type="http://schemas.openxmlformats.org/officeDocument/2006/relationships/image" Target="../media/image28.emf"/></Relationships>
</file>

<file path=ppt/slides/_rels/slide5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9.xml"/><Relationship Id="rId5" Type="http://schemas.openxmlformats.org/officeDocument/2006/relationships/chart" Target="../charts/chart398.xml"/><Relationship Id="rId4" Type="http://schemas.openxmlformats.org/officeDocument/2006/relationships/image" Target="../media/image28.emf"/></Relationships>
</file>

<file path=ppt/slides/_rels/slide5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0.xml"/><Relationship Id="rId5" Type="http://schemas.openxmlformats.org/officeDocument/2006/relationships/chart" Target="../charts/chart399.xml"/><Relationship Id="rId4" Type="http://schemas.openxmlformats.org/officeDocument/2006/relationships/image" Target="../media/image28.emf"/></Relationships>
</file>

<file path=ppt/slides/_rels/slide5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1.xml"/><Relationship Id="rId5" Type="http://schemas.openxmlformats.org/officeDocument/2006/relationships/chart" Target="../charts/chart400.xml"/><Relationship Id="rId4" Type="http://schemas.openxmlformats.org/officeDocument/2006/relationships/image" Target="../media/image28.emf"/></Relationships>
</file>

<file path=ppt/slides/_rels/slide5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2.xml"/><Relationship Id="rId5" Type="http://schemas.openxmlformats.org/officeDocument/2006/relationships/chart" Target="../charts/chart401.xml"/><Relationship Id="rId4" Type="http://schemas.openxmlformats.org/officeDocument/2006/relationships/image" Target="../media/image28.emf"/></Relationships>
</file>

<file path=ppt/slides/_rels/slide5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3.xml"/><Relationship Id="rId5" Type="http://schemas.openxmlformats.org/officeDocument/2006/relationships/chart" Target="../charts/chart402.xml"/><Relationship Id="rId4" Type="http://schemas.openxmlformats.org/officeDocument/2006/relationships/image" Target="../media/image28.emf"/></Relationships>
</file>

<file path=ppt/slides/_rels/slide5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4.xml"/><Relationship Id="rId5" Type="http://schemas.openxmlformats.org/officeDocument/2006/relationships/chart" Target="../charts/chart403.xml"/><Relationship Id="rId4" Type="http://schemas.openxmlformats.org/officeDocument/2006/relationships/image" Target="../media/image28.emf"/></Relationships>
</file>

<file path=ppt/slides/_rels/slide5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5.xml"/><Relationship Id="rId5" Type="http://schemas.openxmlformats.org/officeDocument/2006/relationships/chart" Target="../charts/chart404.xml"/><Relationship Id="rId4" Type="http://schemas.openxmlformats.org/officeDocument/2006/relationships/image" Target="../media/image28.emf"/></Relationships>
</file>

<file path=ppt/slides/_rels/slide5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6.xml"/><Relationship Id="rId5" Type="http://schemas.openxmlformats.org/officeDocument/2006/relationships/chart" Target="../charts/chart405.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7.xml"/></Relationships>
</file>

<file path=ppt/slides/_rels/slide5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7.xml"/><Relationship Id="rId5" Type="http://schemas.openxmlformats.org/officeDocument/2006/relationships/chart" Target="../charts/chart406.xml"/><Relationship Id="rId4" Type="http://schemas.openxmlformats.org/officeDocument/2006/relationships/image" Target="../media/image28.emf"/></Relationships>
</file>

<file path=ppt/slides/_rels/slide5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8.xml"/><Relationship Id="rId5" Type="http://schemas.openxmlformats.org/officeDocument/2006/relationships/chart" Target="../charts/chart407.xml"/><Relationship Id="rId4" Type="http://schemas.openxmlformats.org/officeDocument/2006/relationships/image" Target="../media/image28.emf"/></Relationships>
</file>

<file path=ppt/slides/_rels/slide5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9.xml"/><Relationship Id="rId5" Type="http://schemas.openxmlformats.org/officeDocument/2006/relationships/chart" Target="../charts/chart408.xml"/><Relationship Id="rId4" Type="http://schemas.openxmlformats.org/officeDocument/2006/relationships/image" Target="../media/image28.emf"/></Relationships>
</file>

<file path=ppt/slides/_rels/slide5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0.xml"/><Relationship Id="rId5" Type="http://schemas.openxmlformats.org/officeDocument/2006/relationships/chart" Target="../charts/chart409.xml"/><Relationship Id="rId4" Type="http://schemas.openxmlformats.org/officeDocument/2006/relationships/image" Target="../media/image28.emf"/></Relationships>
</file>

<file path=ppt/slides/_rels/slide5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1.xml"/><Relationship Id="rId5" Type="http://schemas.openxmlformats.org/officeDocument/2006/relationships/chart" Target="../charts/chart410.xml"/><Relationship Id="rId4" Type="http://schemas.openxmlformats.org/officeDocument/2006/relationships/image" Target="../media/image28.emf"/></Relationships>
</file>

<file path=ppt/slides/_rels/slide5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2.xml"/><Relationship Id="rId5" Type="http://schemas.openxmlformats.org/officeDocument/2006/relationships/chart" Target="../charts/chart411.xml"/><Relationship Id="rId4" Type="http://schemas.openxmlformats.org/officeDocument/2006/relationships/image" Target="../media/image28.emf"/></Relationships>
</file>

<file path=ppt/slides/_rels/slide5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3.xml"/><Relationship Id="rId5" Type="http://schemas.openxmlformats.org/officeDocument/2006/relationships/chart" Target="../charts/chart412.xml"/><Relationship Id="rId4" Type="http://schemas.openxmlformats.org/officeDocument/2006/relationships/image" Target="../media/image28.emf"/></Relationships>
</file>

<file path=ppt/slides/_rels/slide5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4.xml"/><Relationship Id="rId5" Type="http://schemas.openxmlformats.org/officeDocument/2006/relationships/chart" Target="../charts/chart413.xml"/><Relationship Id="rId4" Type="http://schemas.openxmlformats.org/officeDocument/2006/relationships/image" Target="../media/image28.emf"/></Relationships>
</file>

<file path=ppt/slides/_rels/slide5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5.xml"/><Relationship Id="rId5" Type="http://schemas.openxmlformats.org/officeDocument/2006/relationships/chart" Target="../charts/chart414.xml"/><Relationship Id="rId4" Type="http://schemas.openxmlformats.org/officeDocument/2006/relationships/image" Target="../media/image28.emf"/></Relationships>
</file>

<file path=ppt/slides/_rels/slide5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6.xml"/><Relationship Id="rId5" Type="http://schemas.openxmlformats.org/officeDocument/2006/relationships/chart" Target="../charts/chart415.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8.xml"/></Relationships>
</file>

<file path=ppt/slides/_rels/slide5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7.xml"/><Relationship Id="rId5" Type="http://schemas.openxmlformats.org/officeDocument/2006/relationships/chart" Target="../charts/chart416.xml"/><Relationship Id="rId4" Type="http://schemas.openxmlformats.org/officeDocument/2006/relationships/image" Target="../media/image28.emf"/></Relationships>
</file>

<file path=ppt/slides/_rels/slide5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8.xml"/><Relationship Id="rId5" Type="http://schemas.openxmlformats.org/officeDocument/2006/relationships/chart" Target="../charts/chart417.xml"/><Relationship Id="rId4" Type="http://schemas.openxmlformats.org/officeDocument/2006/relationships/image" Target="../media/image28.emf"/></Relationships>
</file>

<file path=ppt/slides/_rels/slide5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9.xml"/><Relationship Id="rId5" Type="http://schemas.openxmlformats.org/officeDocument/2006/relationships/chart" Target="../charts/chart418.xml"/><Relationship Id="rId4" Type="http://schemas.openxmlformats.org/officeDocument/2006/relationships/image" Target="../media/image28.emf"/></Relationships>
</file>

<file path=ppt/slides/_rels/slide5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0.xml"/><Relationship Id="rId5" Type="http://schemas.openxmlformats.org/officeDocument/2006/relationships/chart" Target="../charts/chart419.xml"/><Relationship Id="rId4" Type="http://schemas.openxmlformats.org/officeDocument/2006/relationships/image" Target="../media/image28.emf"/></Relationships>
</file>

<file path=ppt/slides/_rels/slide5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1.xml"/><Relationship Id="rId5" Type="http://schemas.openxmlformats.org/officeDocument/2006/relationships/chart" Target="../charts/chart420.xml"/><Relationship Id="rId4" Type="http://schemas.openxmlformats.org/officeDocument/2006/relationships/image" Target="../media/image28.emf"/></Relationships>
</file>

<file path=ppt/slides/_rels/slide5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2.xml"/><Relationship Id="rId5" Type="http://schemas.openxmlformats.org/officeDocument/2006/relationships/chart" Target="../charts/chart421.xml"/><Relationship Id="rId4" Type="http://schemas.openxmlformats.org/officeDocument/2006/relationships/image" Target="../media/image28.emf"/></Relationships>
</file>

<file path=ppt/slides/_rels/slide5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3.xml"/><Relationship Id="rId5" Type="http://schemas.openxmlformats.org/officeDocument/2006/relationships/chart" Target="../charts/chart422.xml"/><Relationship Id="rId4" Type="http://schemas.openxmlformats.org/officeDocument/2006/relationships/image" Target="../media/image28.emf"/></Relationships>
</file>

<file path=ppt/slides/_rels/slide5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4.xml"/><Relationship Id="rId5" Type="http://schemas.openxmlformats.org/officeDocument/2006/relationships/chart" Target="../charts/chart423.xml"/><Relationship Id="rId4" Type="http://schemas.openxmlformats.org/officeDocument/2006/relationships/image" Target="../media/image28.emf"/></Relationships>
</file>

<file path=ppt/slides/_rels/slide5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5.xml"/><Relationship Id="rId5" Type="http://schemas.openxmlformats.org/officeDocument/2006/relationships/chart" Target="../charts/chart424.xml"/><Relationship Id="rId4" Type="http://schemas.openxmlformats.org/officeDocument/2006/relationships/image" Target="../media/image28.emf"/></Relationships>
</file>

<file path=ppt/slides/_rels/slide5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6.xml"/><Relationship Id="rId5" Type="http://schemas.openxmlformats.org/officeDocument/2006/relationships/chart" Target="../charts/chart425.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9.xml"/></Relationships>
</file>

<file path=ppt/slides/_rels/slide5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7.xml"/><Relationship Id="rId5" Type="http://schemas.openxmlformats.org/officeDocument/2006/relationships/chart" Target="../charts/chart426.xml"/><Relationship Id="rId4" Type="http://schemas.openxmlformats.org/officeDocument/2006/relationships/image" Target="../media/image28.emf"/></Relationships>
</file>

<file path=ppt/slides/_rels/slide5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8.xml"/><Relationship Id="rId5" Type="http://schemas.openxmlformats.org/officeDocument/2006/relationships/chart" Target="../charts/chart427.xml"/><Relationship Id="rId4" Type="http://schemas.openxmlformats.org/officeDocument/2006/relationships/image" Target="../media/image28.emf"/></Relationships>
</file>

<file path=ppt/slides/_rels/slide5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9.xml"/><Relationship Id="rId5" Type="http://schemas.openxmlformats.org/officeDocument/2006/relationships/chart" Target="../charts/chart428.xml"/><Relationship Id="rId4" Type="http://schemas.openxmlformats.org/officeDocument/2006/relationships/image" Target="../media/image28.emf"/></Relationships>
</file>

<file path=ppt/slides/_rels/slide5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0.xml"/><Relationship Id="rId5" Type="http://schemas.openxmlformats.org/officeDocument/2006/relationships/chart" Target="../charts/chart429.xml"/><Relationship Id="rId4" Type="http://schemas.openxmlformats.org/officeDocument/2006/relationships/image" Target="../media/image28.emf"/></Relationships>
</file>

<file path=ppt/slides/_rels/slide5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1.xml"/><Relationship Id="rId5" Type="http://schemas.openxmlformats.org/officeDocument/2006/relationships/chart" Target="../charts/chart430.xml"/><Relationship Id="rId4" Type="http://schemas.openxmlformats.org/officeDocument/2006/relationships/image" Target="../media/image28.emf"/></Relationships>
</file>

<file path=ppt/slides/_rels/slide5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2.xml"/><Relationship Id="rId5" Type="http://schemas.openxmlformats.org/officeDocument/2006/relationships/chart" Target="../charts/chart431.xml"/><Relationship Id="rId4" Type="http://schemas.openxmlformats.org/officeDocument/2006/relationships/image" Target="../media/image28.emf"/></Relationships>
</file>

<file path=ppt/slides/_rels/slide5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3.xml"/><Relationship Id="rId5" Type="http://schemas.openxmlformats.org/officeDocument/2006/relationships/chart" Target="../charts/chart432.xml"/><Relationship Id="rId4" Type="http://schemas.openxmlformats.org/officeDocument/2006/relationships/image" Target="../media/image28.emf"/></Relationships>
</file>

<file path=ppt/slides/_rels/slide5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4.xml"/><Relationship Id="rId5" Type="http://schemas.openxmlformats.org/officeDocument/2006/relationships/chart" Target="../charts/chart433.xml"/><Relationship Id="rId4" Type="http://schemas.openxmlformats.org/officeDocument/2006/relationships/image" Target="../media/image28.emf"/></Relationships>
</file>

<file path=ppt/slides/_rels/slide5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5.xml"/><Relationship Id="rId5" Type="http://schemas.openxmlformats.org/officeDocument/2006/relationships/chart" Target="../charts/chart434.xml"/><Relationship Id="rId4" Type="http://schemas.openxmlformats.org/officeDocument/2006/relationships/image" Target="../media/image28.emf"/></Relationships>
</file>

<file path=ppt/slides/_rels/slide5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6.xml"/><Relationship Id="rId5" Type="http://schemas.openxmlformats.org/officeDocument/2006/relationships/chart" Target="../charts/chart43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0.xml"/></Relationships>
</file>

<file path=ppt/slides/_rels/slide6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7.xml"/><Relationship Id="rId5" Type="http://schemas.openxmlformats.org/officeDocument/2006/relationships/chart" Target="../charts/chart436.xml"/><Relationship Id="rId4" Type="http://schemas.openxmlformats.org/officeDocument/2006/relationships/image" Target="../media/image28.emf"/></Relationships>
</file>

<file path=ppt/slides/_rels/slide6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8.xml"/><Relationship Id="rId5" Type="http://schemas.openxmlformats.org/officeDocument/2006/relationships/chart" Target="../charts/chart437.xml"/><Relationship Id="rId4" Type="http://schemas.openxmlformats.org/officeDocument/2006/relationships/image" Target="../media/image28.emf"/></Relationships>
</file>

<file path=ppt/slides/_rels/slide6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9.xml"/><Relationship Id="rId5" Type="http://schemas.openxmlformats.org/officeDocument/2006/relationships/chart" Target="../charts/chart438.xml"/><Relationship Id="rId4" Type="http://schemas.openxmlformats.org/officeDocument/2006/relationships/image" Target="../media/image28.emf"/></Relationships>
</file>

<file path=ppt/slides/_rels/slide6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0.xml"/><Relationship Id="rId5" Type="http://schemas.openxmlformats.org/officeDocument/2006/relationships/chart" Target="../charts/chart439.xml"/><Relationship Id="rId4" Type="http://schemas.openxmlformats.org/officeDocument/2006/relationships/image" Target="../media/image28.emf"/></Relationships>
</file>

<file path=ppt/slides/_rels/slide6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1.xml"/><Relationship Id="rId5" Type="http://schemas.openxmlformats.org/officeDocument/2006/relationships/chart" Target="../charts/chart440.xml"/><Relationship Id="rId4" Type="http://schemas.openxmlformats.org/officeDocument/2006/relationships/image" Target="../media/image28.emf"/></Relationships>
</file>

<file path=ppt/slides/_rels/slide6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2.xml"/><Relationship Id="rId5" Type="http://schemas.openxmlformats.org/officeDocument/2006/relationships/chart" Target="../charts/chart441.xml"/><Relationship Id="rId4" Type="http://schemas.openxmlformats.org/officeDocument/2006/relationships/image" Target="../media/image28.emf"/></Relationships>
</file>

<file path=ppt/slides/_rels/slide6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3.xml"/><Relationship Id="rId5" Type="http://schemas.openxmlformats.org/officeDocument/2006/relationships/chart" Target="../charts/chart442.xml"/><Relationship Id="rId4" Type="http://schemas.openxmlformats.org/officeDocument/2006/relationships/image" Target="../media/image28.emf"/></Relationships>
</file>

<file path=ppt/slides/_rels/slide6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4.xml"/><Relationship Id="rId5" Type="http://schemas.openxmlformats.org/officeDocument/2006/relationships/chart" Target="../charts/chart443.xml"/><Relationship Id="rId4" Type="http://schemas.openxmlformats.org/officeDocument/2006/relationships/image" Target="../media/image28.emf"/></Relationships>
</file>

<file path=ppt/slides/_rels/slide6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5.xml"/><Relationship Id="rId5" Type="http://schemas.openxmlformats.org/officeDocument/2006/relationships/chart" Target="../charts/chart444.xml"/><Relationship Id="rId4" Type="http://schemas.openxmlformats.org/officeDocument/2006/relationships/image" Target="../media/image28.emf"/></Relationships>
</file>

<file path=ppt/slides/_rels/slide6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6.xml"/><Relationship Id="rId5" Type="http://schemas.openxmlformats.org/officeDocument/2006/relationships/chart" Target="../charts/chart445.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1.xml"/></Relationships>
</file>

<file path=ppt/slides/_rels/slide6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7.xml"/><Relationship Id="rId5" Type="http://schemas.openxmlformats.org/officeDocument/2006/relationships/chart" Target="../charts/chart446.xml"/><Relationship Id="rId4" Type="http://schemas.openxmlformats.org/officeDocument/2006/relationships/image" Target="../media/image28.emf"/></Relationships>
</file>

<file path=ppt/slides/_rels/slide6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8.xml"/><Relationship Id="rId5" Type="http://schemas.openxmlformats.org/officeDocument/2006/relationships/chart" Target="../charts/chart447.xml"/><Relationship Id="rId4" Type="http://schemas.openxmlformats.org/officeDocument/2006/relationships/image" Target="../media/image28.emf"/></Relationships>
</file>

<file path=ppt/slides/_rels/slide6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9.xml"/><Relationship Id="rId5" Type="http://schemas.openxmlformats.org/officeDocument/2006/relationships/chart" Target="../charts/chart448.xml"/><Relationship Id="rId4" Type="http://schemas.openxmlformats.org/officeDocument/2006/relationships/image" Target="../media/image28.emf"/></Relationships>
</file>

<file path=ppt/slides/_rels/slide6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0.xml"/><Relationship Id="rId5" Type="http://schemas.openxmlformats.org/officeDocument/2006/relationships/chart" Target="../charts/chart449.xml"/><Relationship Id="rId4" Type="http://schemas.openxmlformats.org/officeDocument/2006/relationships/image" Target="../media/image28.emf"/></Relationships>
</file>

<file path=ppt/slides/_rels/slide6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1.xml"/><Relationship Id="rId5" Type="http://schemas.openxmlformats.org/officeDocument/2006/relationships/chart" Target="../charts/chart450.xml"/><Relationship Id="rId4" Type="http://schemas.openxmlformats.org/officeDocument/2006/relationships/image" Target="../media/image28.emf"/></Relationships>
</file>

<file path=ppt/slides/_rels/slide6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2.xml"/><Relationship Id="rId5" Type="http://schemas.openxmlformats.org/officeDocument/2006/relationships/chart" Target="../charts/chart451.xml"/><Relationship Id="rId4" Type="http://schemas.openxmlformats.org/officeDocument/2006/relationships/image" Target="../media/image28.emf"/></Relationships>
</file>

<file path=ppt/slides/_rels/slide6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3.xml"/><Relationship Id="rId5" Type="http://schemas.openxmlformats.org/officeDocument/2006/relationships/chart" Target="../charts/chart452.xml"/><Relationship Id="rId4" Type="http://schemas.openxmlformats.org/officeDocument/2006/relationships/image" Target="../media/image28.emf"/></Relationships>
</file>

<file path=ppt/slides/_rels/slide6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4.xml"/><Relationship Id="rId5" Type="http://schemas.openxmlformats.org/officeDocument/2006/relationships/chart" Target="../charts/chart453.xml"/><Relationship Id="rId4" Type="http://schemas.openxmlformats.org/officeDocument/2006/relationships/image" Target="../media/image28.emf"/></Relationships>
</file>

<file path=ppt/slides/_rels/slide6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5.xml"/><Relationship Id="rId5" Type="http://schemas.openxmlformats.org/officeDocument/2006/relationships/chart" Target="../charts/chart454.xml"/><Relationship Id="rId4" Type="http://schemas.openxmlformats.org/officeDocument/2006/relationships/image" Target="../media/image28.emf"/></Relationships>
</file>

<file path=ppt/slides/_rels/slide6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6.xml"/><Relationship Id="rId5" Type="http://schemas.openxmlformats.org/officeDocument/2006/relationships/chart" Target="../charts/chart455.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2.xml"/></Relationships>
</file>

<file path=ppt/slides/_rels/slide6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7.xml"/><Relationship Id="rId5" Type="http://schemas.openxmlformats.org/officeDocument/2006/relationships/chart" Target="../charts/chart456.xml"/><Relationship Id="rId4" Type="http://schemas.openxmlformats.org/officeDocument/2006/relationships/image" Target="../media/image28.emf"/></Relationships>
</file>

<file path=ppt/slides/_rels/slide6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8.xml"/><Relationship Id="rId5" Type="http://schemas.openxmlformats.org/officeDocument/2006/relationships/chart" Target="../charts/chart457.xml"/><Relationship Id="rId4" Type="http://schemas.openxmlformats.org/officeDocument/2006/relationships/image" Target="../media/image28.emf"/></Relationships>
</file>

<file path=ppt/slides/_rels/slide6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9.xml"/><Relationship Id="rId5" Type="http://schemas.openxmlformats.org/officeDocument/2006/relationships/chart" Target="../charts/chart458.xml"/><Relationship Id="rId4" Type="http://schemas.openxmlformats.org/officeDocument/2006/relationships/image" Target="../media/image28.emf"/></Relationships>
</file>

<file path=ppt/slides/_rels/slide6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0.xml"/><Relationship Id="rId5" Type="http://schemas.openxmlformats.org/officeDocument/2006/relationships/chart" Target="../charts/chart459.xml"/><Relationship Id="rId4" Type="http://schemas.openxmlformats.org/officeDocument/2006/relationships/image" Target="../media/image28.emf"/></Relationships>
</file>

<file path=ppt/slides/_rels/slide6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1.xml"/><Relationship Id="rId5" Type="http://schemas.openxmlformats.org/officeDocument/2006/relationships/chart" Target="../charts/chart460.xml"/><Relationship Id="rId4" Type="http://schemas.openxmlformats.org/officeDocument/2006/relationships/image" Target="../media/image28.emf"/></Relationships>
</file>

<file path=ppt/slides/_rels/slide6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2.xml"/><Relationship Id="rId5" Type="http://schemas.openxmlformats.org/officeDocument/2006/relationships/chart" Target="../charts/chart461.xml"/><Relationship Id="rId4" Type="http://schemas.openxmlformats.org/officeDocument/2006/relationships/image" Target="../media/image28.emf"/></Relationships>
</file>

<file path=ppt/slides/_rels/slide6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3.xml"/><Relationship Id="rId5" Type="http://schemas.openxmlformats.org/officeDocument/2006/relationships/chart" Target="../charts/chart462.xml"/><Relationship Id="rId4" Type="http://schemas.openxmlformats.org/officeDocument/2006/relationships/image" Target="../media/image28.emf"/></Relationships>
</file>

<file path=ppt/slides/_rels/slide6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4.xml"/><Relationship Id="rId5" Type="http://schemas.openxmlformats.org/officeDocument/2006/relationships/chart" Target="../charts/chart463.xml"/><Relationship Id="rId4" Type="http://schemas.openxmlformats.org/officeDocument/2006/relationships/image" Target="../media/image28.emf"/></Relationships>
</file>

<file path=ppt/slides/_rels/slide6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5.xml"/><Relationship Id="rId5" Type="http://schemas.openxmlformats.org/officeDocument/2006/relationships/chart" Target="../charts/chart464.xml"/><Relationship Id="rId4" Type="http://schemas.openxmlformats.org/officeDocument/2006/relationships/image" Target="../media/image28.emf"/></Relationships>
</file>

<file path=ppt/slides/_rels/slide6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6.xml"/><Relationship Id="rId5" Type="http://schemas.openxmlformats.org/officeDocument/2006/relationships/chart" Target="../charts/chart465.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3.xml"/></Relationships>
</file>

<file path=ppt/slides/_rels/slide6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7.xml"/><Relationship Id="rId5" Type="http://schemas.openxmlformats.org/officeDocument/2006/relationships/chart" Target="../charts/chart466.xml"/><Relationship Id="rId4" Type="http://schemas.openxmlformats.org/officeDocument/2006/relationships/image" Target="../media/image28.emf"/></Relationships>
</file>

<file path=ppt/slides/_rels/slide6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8.xml"/><Relationship Id="rId5" Type="http://schemas.openxmlformats.org/officeDocument/2006/relationships/chart" Target="../charts/chart467.xml"/><Relationship Id="rId4" Type="http://schemas.openxmlformats.org/officeDocument/2006/relationships/image" Target="../media/image28.emf"/></Relationships>
</file>

<file path=ppt/slides/_rels/slide6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9.xml"/><Relationship Id="rId5" Type="http://schemas.openxmlformats.org/officeDocument/2006/relationships/chart" Target="../charts/chart468.xml"/><Relationship Id="rId4" Type="http://schemas.openxmlformats.org/officeDocument/2006/relationships/image" Target="../media/image28.emf"/></Relationships>
</file>

<file path=ppt/slides/_rels/slide6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0.xml"/><Relationship Id="rId5" Type="http://schemas.openxmlformats.org/officeDocument/2006/relationships/chart" Target="../charts/chart469.xml"/><Relationship Id="rId4" Type="http://schemas.openxmlformats.org/officeDocument/2006/relationships/image" Target="../media/image28.emf"/></Relationships>
</file>

<file path=ppt/slides/_rels/slide6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1.xml"/><Relationship Id="rId5" Type="http://schemas.openxmlformats.org/officeDocument/2006/relationships/chart" Target="../charts/chart470.xml"/><Relationship Id="rId4" Type="http://schemas.openxmlformats.org/officeDocument/2006/relationships/image" Target="../media/image28.emf"/></Relationships>
</file>

<file path=ppt/slides/_rels/slide6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2.xml"/><Relationship Id="rId5" Type="http://schemas.openxmlformats.org/officeDocument/2006/relationships/chart" Target="../charts/chart471.xml"/><Relationship Id="rId4" Type="http://schemas.openxmlformats.org/officeDocument/2006/relationships/image" Target="../media/image28.emf"/></Relationships>
</file>

<file path=ppt/slides/_rels/slide6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3.xml"/><Relationship Id="rId5" Type="http://schemas.openxmlformats.org/officeDocument/2006/relationships/chart" Target="../charts/chart472.xml"/><Relationship Id="rId4" Type="http://schemas.openxmlformats.org/officeDocument/2006/relationships/image" Target="../media/image28.emf"/></Relationships>
</file>

<file path=ppt/slides/_rels/slide6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4.xml"/><Relationship Id="rId5" Type="http://schemas.openxmlformats.org/officeDocument/2006/relationships/chart" Target="../charts/chart473.xml"/><Relationship Id="rId4" Type="http://schemas.openxmlformats.org/officeDocument/2006/relationships/image" Target="../media/image28.emf"/></Relationships>
</file>

<file path=ppt/slides/_rels/slide6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5.xml"/><Relationship Id="rId5" Type="http://schemas.openxmlformats.org/officeDocument/2006/relationships/chart" Target="../charts/chart474.xml"/><Relationship Id="rId4" Type="http://schemas.openxmlformats.org/officeDocument/2006/relationships/image" Target="../media/image28.emf"/></Relationships>
</file>

<file path=ppt/slides/_rels/slide6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6.xml"/><Relationship Id="rId5" Type="http://schemas.openxmlformats.org/officeDocument/2006/relationships/chart" Target="../charts/chart475.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4.xml"/></Relationships>
</file>

<file path=ppt/slides/_rels/slide6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7.xml"/><Relationship Id="rId5" Type="http://schemas.openxmlformats.org/officeDocument/2006/relationships/chart" Target="../charts/chart476.xml"/><Relationship Id="rId4" Type="http://schemas.openxmlformats.org/officeDocument/2006/relationships/image" Target="../media/image28.emf"/></Relationships>
</file>

<file path=ppt/slides/_rels/slide6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8.xml"/><Relationship Id="rId5" Type="http://schemas.openxmlformats.org/officeDocument/2006/relationships/chart" Target="../charts/chart477.xml"/><Relationship Id="rId4" Type="http://schemas.openxmlformats.org/officeDocument/2006/relationships/image" Target="../media/image28.emf"/></Relationships>
</file>

<file path=ppt/slides/_rels/slide6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9.xml"/><Relationship Id="rId5" Type="http://schemas.openxmlformats.org/officeDocument/2006/relationships/chart" Target="../charts/chart478.xml"/><Relationship Id="rId4" Type="http://schemas.openxmlformats.org/officeDocument/2006/relationships/image" Target="../media/image28.emf"/></Relationships>
</file>

<file path=ppt/slides/_rels/slide6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0.xml"/><Relationship Id="rId5" Type="http://schemas.openxmlformats.org/officeDocument/2006/relationships/chart" Target="../charts/chart479.xml"/><Relationship Id="rId4" Type="http://schemas.openxmlformats.org/officeDocument/2006/relationships/image" Target="../media/image28.emf"/></Relationships>
</file>

<file path=ppt/slides/_rels/slide6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1.xml"/><Relationship Id="rId5" Type="http://schemas.openxmlformats.org/officeDocument/2006/relationships/chart" Target="../charts/chart480.xml"/><Relationship Id="rId4" Type="http://schemas.openxmlformats.org/officeDocument/2006/relationships/image" Target="../media/image28.emf"/></Relationships>
</file>

<file path=ppt/slides/_rels/slide6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2.xml"/><Relationship Id="rId5" Type="http://schemas.openxmlformats.org/officeDocument/2006/relationships/chart" Target="../charts/chart481.xml"/><Relationship Id="rId4" Type="http://schemas.openxmlformats.org/officeDocument/2006/relationships/image" Target="../media/image28.emf"/></Relationships>
</file>

<file path=ppt/slides/_rels/slide6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3.xml"/><Relationship Id="rId5" Type="http://schemas.openxmlformats.org/officeDocument/2006/relationships/chart" Target="../charts/chart482.xml"/><Relationship Id="rId4" Type="http://schemas.openxmlformats.org/officeDocument/2006/relationships/image" Target="../media/image28.emf"/></Relationships>
</file>

<file path=ppt/slides/_rels/slide6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4.xml"/><Relationship Id="rId5" Type="http://schemas.openxmlformats.org/officeDocument/2006/relationships/chart" Target="../charts/chart483.xml"/><Relationship Id="rId4" Type="http://schemas.openxmlformats.org/officeDocument/2006/relationships/image" Target="../media/image28.emf"/></Relationships>
</file>

<file path=ppt/slides/_rels/slide6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5.xml"/><Relationship Id="rId5" Type="http://schemas.openxmlformats.org/officeDocument/2006/relationships/chart" Target="../charts/chart484.xml"/><Relationship Id="rId4" Type="http://schemas.openxmlformats.org/officeDocument/2006/relationships/image" Target="../media/image28.emf"/></Relationships>
</file>

<file path=ppt/slides/_rels/slide6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6.xml"/><Relationship Id="rId5" Type="http://schemas.openxmlformats.org/officeDocument/2006/relationships/chart" Target="../charts/chart485.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5.xml"/></Relationships>
</file>

<file path=ppt/slides/_rels/slide6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7.xml"/><Relationship Id="rId5" Type="http://schemas.openxmlformats.org/officeDocument/2006/relationships/chart" Target="../charts/chart486.xml"/><Relationship Id="rId4" Type="http://schemas.openxmlformats.org/officeDocument/2006/relationships/image" Target="../media/image28.emf"/></Relationships>
</file>

<file path=ppt/slides/_rels/slide6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8.xml"/><Relationship Id="rId5" Type="http://schemas.openxmlformats.org/officeDocument/2006/relationships/chart" Target="../charts/chart487.xml"/><Relationship Id="rId4" Type="http://schemas.openxmlformats.org/officeDocument/2006/relationships/image" Target="../media/image28.emf"/></Relationships>
</file>

<file path=ppt/slides/_rels/slide6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9.xml"/><Relationship Id="rId5" Type="http://schemas.openxmlformats.org/officeDocument/2006/relationships/chart" Target="../charts/chart488.xml"/><Relationship Id="rId4" Type="http://schemas.openxmlformats.org/officeDocument/2006/relationships/image" Target="../media/image28.emf"/></Relationships>
</file>

<file path=ppt/slides/_rels/slide6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0.xml"/><Relationship Id="rId5" Type="http://schemas.openxmlformats.org/officeDocument/2006/relationships/chart" Target="../charts/chart489.xml"/><Relationship Id="rId4" Type="http://schemas.openxmlformats.org/officeDocument/2006/relationships/image" Target="../media/image28.emf"/></Relationships>
</file>

<file path=ppt/slides/_rels/slide6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1.xml"/><Relationship Id="rId5" Type="http://schemas.openxmlformats.org/officeDocument/2006/relationships/chart" Target="../charts/chart490.xml"/><Relationship Id="rId4" Type="http://schemas.openxmlformats.org/officeDocument/2006/relationships/image" Target="../media/image28.emf"/></Relationships>
</file>

<file path=ppt/slides/_rels/slide6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2.xml"/><Relationship Id="rId5" Type="http://schemas.openxmlformats.org/officeDocument/2006/relationships/chart" Target="../charts/chart491.xml"/><Relationship Id="rId4" Type="http://schemas.openxmlformats.org/officeDocument/2006/relationships/image" Target="../media/image28.emf"/></Relationships>
</file>

<file path=ppt/slides/_rels/slide6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3.xml"/><Relationship Id="rId5" Type="http://schemas.openxmlformats.org/officeDocument/2006/relationships/chart" Target="../charts/chart492.xml"/><Relationship Id="rId4" Type="http://schemas.openxmlformats.org/officeDocument/2006/relationships/image" Target="../media/image28.emf"/></Relationships>
</file>

<file path=ppt/slides/_rels/slide6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4.xml"/><Relationship Id="rId5" Type="http://schemas.openxmlformats.org/officeDocument/2006/relationships/chart" Target="../charts/chart493.xml"/><Relationship Id="rId4" Type="http://schemas.openxmlformats.org/officeDocument/2006/relationships/image" Target="../media/image28.emf"/></Relationships>
</file>

<file path=ppt/slides/_rels/slide6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5.xml"/><Relationship Id="rId5" Type="http://schemas.openxmlformats.org/officeDocument/2006/relationships/chart" Target="../charts/chart494.xml"/><Relationship Id="rId4" Type="http://schemas.openxmlformats.org/officeDocument/2006/relationships/image" Target="../media/image28.emf"/></Relationships>
</file>

<file path=ppt/slides/_rels/slide6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6.xml"/><Relationship Id="rId5" Type="http://schemas.openxmlformats.org/officeDocument/2006/relationships/chart" Target="../charts/chart495.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6.xml"/></Relationships>
</file>

<file path=ppt/slides/_rels/slide6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7.xml"/><Relationship Id="rId5" Type="http://schemas.openxmlformats.org/officeDocument/2006/relationships/chart" Target="../charts/chart496.xml"/><Relationship Id="rId4" Type="http://schemas.openxmlformats.org/officeDocument/2006/relationships/image" Target="../media/image28.emf"/></Relationships>
</file>

<file path=ppt/slides/_rels/slide6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8.xml"/><Relationship Id="rId5" Type="http://schemas.openxmlformats.org/officeDocument/2006/relationships/chart" Target="../charts/chart497.xml"/><Relationship Id="rId4" Type="http://schemas.openxmlformats.org/officeDocument/2006/relationships/image" Target="../media/image28.emf"/></Relationships>
</file>

<file path=ppt/slides/_rels/slide6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9.xml"/><Relationship Id="rId5" Type="http://schemas.openxmlformats.org/officeDocument/2006/relationships/chart" Target="../charts/chart498.xml"/><Relationship Id="rId4" Type="http://schemas.openxmlformats.org/officeDocument/2006/relationships/image" Target="../media/image28.emf"/></Relationships>
</file>

<file path=ppt/slides/_rels/slide6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0.xml"/><Relationship Id="rId5" Type="http://schemas.openxmlformats.org/officeDocument/2006/relationships/chart" Target="../charts/chart499.xml"/><Relationship Id="rId4" Type="http://schemas.openxmlformats.org/officeDocument/2006/relationships/image" Target="../media/image28.emf"/></Relationships>
</file>

<file path=ppt/slides/_rels/slide6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1.xml"/><Relationship Id="rId5" Type="http://schemas.openxmlformats.org/officeDocument/2006/relationships/chart" Target="../charts/chart500.xml"/><Relationship Id="rId4" Type="http://schemas.openxmlformats.org/officeDocument/2006/relationships/image" Target="../media/image28.emf"/></Relationships>
</file>

<file path=ppt/slides/_rels/slide6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2.xml"/><Relationship Id="rId5" Type="http://schemas.openxmlformats.org/officeDocument/2006/relationships/chart" Target="../charts/chart501.xml"/><Relationship Id="rId4" Type="http://schemas.openxmlformats.org/officeDocument/2006/relationships/image" Target="../media/image28.emf"/></Relationships>
</file>

<file path=ppt/slides/_rels/slide6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3.xml"/><Relationship Id="rId5" Type="http://schemas.openxmlformats.org/officeDocument/2006/relationships/chart" Target="../charts/chart502.xml"/><Relationship Id="rId4" Type="http://schemas.openxmlformats.org/officeDocument/2006/relationships/image" Target="../media/image28.emf"/></Relationships>
</file>

<file path=ppt/slides/_rels/slide6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4.xml"/><Relationship Id="rId5" Type="http://schemas.openxmlformats.org/officeDocument/2006/relationships/chart" Target="../charts/chart503.xml"/><Relationship Id="rId4" Type="http://schemas.openxmlformats.org/officeDocument/2006/relationships/image" Target="../media/image28.emf"/></Relationships>
</file>

<file path=ppt/slides/_rels/slide6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5.xml"/><Relationship Id="rId5" Type="http://schemas.openxmlformats.org/officeDocument/2006/relationships/chart" Target="../charts/chart504.xml"/><Relationship Id="rId4" Type="http://schemas.openxmlformats.org/officeDocument/2006/relationships/image" Target="../media/image28.emf"/></Relationships>
</file>

<file path=ppt/slides/_rels/slide6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6.xml"/><Relationship Id="rId5" Type="http://schemas.openxmlformats.org/officeDocument/2006/relationships/chart" Target="../charts/chart505.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7.xml"/></Relationships>
</file>

<file path=ppt/slides/_rels/slide6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7.xml"/><Relationship Id="rId5" Type="http://schemas.openxmlformats.org/officeDocument/2006/relationships/chart" Target="../charts/chart506.xml"/><Relationship Id="rId4" Type="http://schemas.openxmlformats.org/officeDocument/2006/relationships/image" Target="../media/image28.emf"/></Relationships>
</file>

<file path=ppt/slides/_rels/slide6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8.xml"/><Relationship Id="rId5" Type="http://schemas.openxmlformats.org/officeDocument/2006/relationships/chart" Target="../charts/chart507.xml"/><Relationship Id="rId4" Type="http://schemas.openxmlformats.org/officeDocument/2006/relationships/image" Target="../media/image28.emf"/></Relationships>
</file>

<file path=ppt/slides/_rels/slide6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9.xml"/><Relationship Id="rId5" Type="http://schemas.openxmlformats.org/officeDocument/2006/relationships/chart" Target="../charts/chart508.xml"/><Relationship Id="rId4" Type="http://schemas.openxmlformats.org/officeDocument/2006/relationships/image" Target="../media/image28.emf"/></Relationships>
</file>

<file path=ppt/slides/_rels/slide6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0.xml"/><Relationship Id="rId5" Type="http://schemas.openxmlformats.org/officeDocument/2006/relationships/chart" Target="../charts/chart509.xml"/><Relationship Id="rId4" Type="http://schemas.openxmlformats.org/officeDocument/2006/relationships/image" Target="../media/image28.emf"/></Relationships>
</file>

<file path=ppt/slides/_rels/slide6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1.xml"/><Relationship Id="rId5" Type="http://schemas.openxmlformats.org/officeDocument/2006/relationships/chart" Target="../charts/chart510.xml"/><Relationship Id="rId4" Type="http://schemas.openxmlformats.org/officeDocument/2006/relationships/image" Target="../media/image28.emf"/></Relationships>
</file>

<file path=ppt/slides/_rels/slide6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2.xml"/><Relationship Id="rId5" Type="http://schemas.openxmlformats.org/officeDocument/2006/relationships/chart" Target="../charts/chart511.xml"/><Relationship Id="rId4" Type="http://schemas.openxmlformats.org/officeDocument/2006/relationships/image" Target="../media/image28.emf"/></Relationships>
</file>

<file path=ppt/slides/_rels/slide6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3.xml"/><Relationship Id="rId5" Type="http://schemas.openxmlformats.org/officeDocument/2006/relationships/chart" Target="../charts/chart512.xml"/><Relationship Id="rId4" Type="http://schemas.openxmlformats.org/officeDocument/2006/relationships/image" Target="../media/image28.emf"/></Relationships>
</file>

<file path=ppt/slides/_rels/slide6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4.xml"/><Relationship Id="rId5" Type="http://schemas.openxmlformats.org/officeDocument/2006/relationships/chart" Target="../charts/chart513.xml"/><Relationship Id="rId4" Type="http://schemas.openxmlformats.org/officeDocument/2006/relationships/image" Target="../media/image28.emf"/></Relationships>
</file>

<file path=ppt/slides/_rels/slide6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5.xml"/><Relationship Id="rId5" Type="http://schemas.openxmlformats.org/officeDocument/2006/relationships/chart" Target="../charts/chart514.xml"/><Relationship Id="rId4" Type="http://schemas.openxmlformats.org/officeDocument/2006/relationships/image" Target="../media/image28.emf"/></Relationships>
</file>

<file path=ppt/slides/_rels/slide6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6.xml"/><Relationship Id="rId5" Type="http://schemas.openxmlformats.org/officeDocument/2006/relationships/chart" Target="../charts/chart515.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8.xml"/></Relationships>
</file>

<file path=ppt/slides/_rels/slide6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7.xml"/><Relationship Id="rId5" Type="http://schemas.openxmlformats.org/officeDocument/2006/relationships/chart" Target="../charts/chart516.xml"/><Relationship Id="rId4" Type="http://schemas.openxmlformats.org/officeDocument/2006/relationships/image" Target="../media/image28.emf"/></Relationships>
</file>

<file path=ppt/slides/_rels/slide6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8.xml"/><Relationship Id="rId5" Type="http://schemas.openxmlformats.org/officeDocument/2006/relationships/chart" Target="../charts/chart517.xml"/><Relationship Id="rId4" Type="http://schemas.openxmlformats.org/officeDocument/2006/relationships/image" Target="../media/image28.emf"/></Relationships>
</file>

<file path=ppt/slides/_rels/slide6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9.xml"/><Relationship Id="rId5" Type="http://schemas.openxmlformats.org/officeDocument/2006/relationships/chart" Target="../charts/chart518.xml"/><Relationship Id="rId4" Type="http://schemas.openxmlformats.org/officeDocument/2006/relationships/image" Target="../media/image28.emf"/></Relationships>
</file>

<file path=ppt/slides/_rels/slide6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0.xml"/><Relationship Id="rId5" Type="http://schemas.openxmlformats.org/officeDocument/2006/relationships/chart" Target="../charts/chart519.xml"/><Relationship Id="rId4" Type="http://schemas.openxmlformats.org/officeDocument/2006/relationships/image" Target="../media/image28.emf"/></Relationships>
</file>

<file path=ppt/slides/_rels/slide6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1.xml"/><Relationship Id="rId5" Type="http://schemas.openxmlformats.org/officeDocument/2006/relationships/chart" Target="../charts/chart520.xml"/><Relationship Id="rId4" Type="http://schemas.openxmlformats.org/officeDocument/2006/relationships/image" Target="../media/image28.emf"/></Relationships>
</file>

<file path=ppt/slides/_rels/slide6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2.xml"/><Relationship Id="rId5" Type="http://schemas.openxmlformats.org/officeDocument/2006/relationships/chart" Target="../charts/chart521.xml"/><Relationship Id="rId4" Type="http://schemas.openxmlformats.org/officeDocument/2006/relationships/image" Target="../media/image28.emf"/></Relationships>
</file>

<file path=ppt/slides/_rels/slide6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3.xml"/><Relationship Id="rId5" Type="http://schemas.openxmlformats.org/officeDocument/2006/relationships/chart" Target="../charts/chart522.xml"/><Relationship Id="rId4" Type="http://schemas.openxmlformats.org/officeDocument/2006/relationships/image" Target="../media/image28.emf"/></Relationships>
</file>

<file path=ppt/slides/_rels/slide6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4.xml"/><Relationship Id="rId5" Type="http://schemas.openxmlformats.org/officeDocument/2006/relationships/chart" Target="../charts/chart523.xml"/><Relationship Id="rId4" Type="http://schemas.openxmlformats.org/officeDocument/2006/relationships/image" Target="../media/image28.emf"/></Relationships>
</file>

<file path=ppt/slides/_rels/slide6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5.xml"/><Relationship Id="rId5" Type="http://schemas.openxmlformats.org/officeDocument/2006/relationships/chart" Target="../charts/chart524.xml"/><Relationship Id="rId4" Type="http://schemas.openxmlformats.org/officeDocument/2006/relationships/image" Target="../media/image28.emf"/></Relationships>
</file>

<file path=ppt/slides/_rels/slide6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6.xml"/><Relationship Id="rId5" Type="http://schemas.openxmlformats.org/officeDocument/2006/relationships/chart" Target="../charts/chart525.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9.xml"/></Relationships>
</file>

<file path=ppt/slides/_rels/slide6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7.xml"/><Relationship Id="rId5" Type="http://schemas.openxmlformats.org/officeDocument/2006/relationships/chart" Target="../charts/chart526.xml"/><Relationship Id="rId4" Type="http://schemas.openxmlformats.org/officeDocument/2006/relationships/image" Target="../media/image28.emf"/></Relationships>
</file>

<file path=ppt/slides/_rels/slide6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8.xml"/><Relationship Id="rId5" Type="http://schemas.openxmlformats.org/officeDocument/2006/relationships/chart" Target="../charts/chart527.xml"/><Relationship Id="rId4" Type="http://schemas.openxmlformats.org/officeDocument/2006/relationships/image" Target="../media/image28.emf"/></Relationships>
</file>

<file path=ppt/slides/_rels/slide6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9.xml"/><Relationship Id="rId5" Type="http://schemas.openxmlformats.org/officeDocument/2006/relationships/chart" Target="../charts/chart528.xml"/><Relationship Id="rId4" Type="http://schemas.openxmlformats.org/officeDocument/2006/relationships/image" Target="../media/image28.emf"/></Relationships>
</file>

<file path=ppt/slides/_rels/slide6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0.xml"/><Relationship Id="rId5" Type="http://schemas.openxmlformats.org/officeDocument/2006/relationships/chart" Target="../charts/chart529.xml"/><Relationship Id="rId4" Type="http://schemas.openxmlformats.org/officeDocument/2006/relationships/image" Target="../media/image28.emf"/></Relationships>
</file>

<file path=ppt/slides/_rels/slide6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1.xml"/><Relationship Id="rId5" Type="http://schemas.openxmlformats.org/officeDocument/2006/relationships/chart" Target="../charts/chart530.xml"/><Relationship Id="rId4" Type="http://schemas.openxmlformats.org/officeDocument/2006/relationships/image" Target="../media/image28.emf"/></Relationships>
</file>

<file path=ppt/slides/_rels/slide6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2.xml"/><Relationship Id="rId5" Type="http://schemas.openxmlformats.org/officeDocument/2006/relationships/chart" Target="../charts/chart531.xml"/><Relationship Id="rId4" Type="http://schemas.openxmlformats.org/officeDocument/2006/relationships/image" Target="../media/image28.emf"/></Relationships>
</file>

<file path=ppt/slides/_rels/slide6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3.xml"/><Relationship Id="rId5" Type="http://schemas.openxmlformats.org/officeDocument/2006/relationships/chart" Target="../charts/chart532.xml"/><Relationship Id="rId4" Type="http://schemas.openxmlformats.org/officeDocument/2006/relationships/image" Target="../media/image28.emf"/></Relationships>
</file>

<file path=ppt/slides/_rels/slide6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4.xml"/><Relationship Id="rId5" Type="http://schemas.openxmlformats.org/officeDocument/2006/relationships/chart" Target="../charts/chart533.xml"/><Relationship Id="rId4" Type="http://schemas.openxmlformats.org/officeDocument/2006/relationships/image" Target="../media/image28.emf"/></Relationships>
</file>

<file path=ppt/slides/_rels/slide6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5.xml"/><Relationship Id="rId5" Type="http://schemas.openxmlformats.org/officeDocument/2006/relationships/chart" Target="../charts/chart534.xml"/><Relationship Id="rId4" Type="http://schemas.openxmlformats.org/officeDocument/2006/relationships/image" Target="../media/image28.emf"/></Relationships>
</file>

<file path=ppt/slides/_rels/slide6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6.xml"/><Relationship Id="rId5" Type="http://schemas.openxmlformats.org/officeDocument/2006/relationships/chart" Target="../charts/chart535.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0.xml"/></Relationships>
</file>

<file path=ppt/slides/_rels/slide7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7.xml"/><Relationship Id="rId5" Type="http://schemas.openxmlformats.org/officeDocument/2006/relationships/chart" Target="../charts/chart536.xml"/><Relationship Id="rId4" Type="http://schemas.openxmlformats.org/officeDocument/2006/relationships/image" Target="../media/image28.emf"/></Relationships>
</file>

<file path=ppt/slides/_rels/slide7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8.xml"/><Relationship Id="rId5" Type="http://schemas.openxmlformats.org/officeDocument/2006/relationships/chart" Target="../charts/chart537.xml"/><Relationship Id="rId4" Type="http://schemas.openxmlformats.org/officeDocument/2006/relationships/image" Target="../media/image28.emf"/></Relationships>
</file>

<file path=ppt/slides/_rels/slide7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9.xml"/><Relationship Id="rId5" Type="http://schemas.openxmlformats.org/officeDocument/2006/relationships/chart" Target="../charts/chart538.xml"/><Relationship Id="rId4" Type="http://schemas.openxmlformats.org/officeDocument/2006/relationships/image" Target="../media/image28.emf"/></Relationships>
</file>

<file path=ppt/slides/_rels/slide7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0.xml"/><Relationship Id="rId5" Type="http://schemas.openxmlformats.org/officeDocument/2006/relationships/chart" Target="../charts/chart539.xml"/><Relationship Id="rId4" Type="http://schemas.openxmlformats.org/officeDocument/2006/relationships/image" Target="../media/image28.emf"/></Relationships>
</file>

<file path=ppt/slides/_rels/slide7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1.xml"/><Relationship Id="rId5" Type="http://schemas.openxmlformats.org/officeDocument/2006/relationships/chart" Target="../charts/chart540.xml"/><Relationship Id="rId4" Type="http://schemas.openxmlformats.org/officeDocument/2006/relationships/image" Target="../media/image28.emf"/></Relationships>
</file>

<file path=ppt/slides/_rels/slide7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2.xml"/><Relationship Id="rId5" Type="http://schemas.openxmlformats.org/officeDocument/2006/relationships/chart" Target="../charts/chart541.xml"/><Relationship Id="rId4" Type="http://schemas.openxmlformats.org/officeDocument/2006/relationships/image" Target="../media/image28.emf"/></Relationships>
</file>

<file path=ppt/slides/_rels/slide7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3.xml"/><Relationship Id="rId5" Type="http://schemas.openxmlformats.org/officeDocument/2006/relationships/chart" Target="../charts/chart542.xml"/><Relationship Id="rId4" Type="http://schemas.openxmlformats.org/officeDocument/2006/relationships/image" Target="../media/image28.emf"/></Relationships>
</file>

<file path=ppt/slides/_rels/slide7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4.xml"/><Relationship Id="rId5" Type="http://schemas.openxmlformats.org/officeDocument/2006/relationships/chart" Target="../charts/chart543.xml"/><Relationship Id="rId4" Type="http://schemas.openxmlformats.org/officeDocument/2006/relationships/image" Target="../media/image28.emf"/></Relationships>
</file>

<file path=ppt/slides/_rels/slide7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5.xml"/><Relationship Id="rId5" Type="http://schemas.openxmlformats.org/officeDocument/2006/relationships/chart" Target="../charts/chart544.xml"/><Relationship Id="rId4" Type="http://schemas.openxmlformats.org/officeDocument/2006/relationships/image" Target="../media/image28.emf"/></Relationships>
</file>

<file path=ppt/slides/_rels/slide7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6.xml"/><Relationship Id="rId5" Type="http://schemas.openxmlformats.org/officeDocument/2006/relationships/chart" Target="../charts/chart545.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1.xml"/></Relationships>
</file>

<file path=ppt/slides/_rels/slide7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7.xml"/><Relationship Id="rId5" Type="http://schemas.openxmlformats.org/officeDocument/2006/relationships/chart" Target="../charts/chart546.xml"/><Relationship Id="rId4" Type="http://schemas.openxmlformats.org/officeDocument/2006/relationships/image" Target="../media/image28.emf"/></Relationships>
</file>

<file path=ppt/slides/_rels/slide7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8.xml"/><Relationship Id="rId5" Type="http://schemas.openxmlformats.org/officeDocument/2006/relationships/chart" Target="../charts/chart547.xml"/><Relationship Id="rId4" Type="http://schemas.openxmlformats.org/officeDocument/2006/relationships/image" Target="../media/image28.emf"/></Relationships>
</file>

<file path=ppt/slides/_rels/slide7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9.xml"/><Relationship Id="rId5" Type="http://schemas.openxmlformats.org/officeDocument/2006/relationships/chart" Target="../charts/chart548.xml"/><Relationship Id="rId4" Type="http://schemas.openxmlformats.org/officeDocument/2006/relationships/image" Target="../media/image28.emf"/></Relationships>
</file>

<file path=ppt/slides/_rels/slide7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0.xml"/><Relationship Id="rId5" Type="http://schemas.openxmlformats.org/officeDocument/2006/relationships/chart" Target="../charts/chart549.xml"/><Relationship Id="rId4" Type="http://schemas.openxmlformats.org/officeDocument/2006/relationships/image" Target="../media/image28.emf"/></Relationships>
</file>

<file path=ppt/slides/_rels/slide7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1.xml"/><Relationship Id="rId5" Type="http://schemas.openxmlformats.org/officeDocument/2006/relationships/chart" Target="../charts/chart550.xml"/><Relationship Id="rId4" Type="http://schemas.openxmlformats.org/officeDocument/2006/relationships/image" Target="../media/image28.emf"/></Relationships>
</file>

<file path=ppt/slides/_rels/slide7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2.xml"/><Relationship Id="rId5" Type="http://schemas.openxmlformats.org/officeDocument/2006/relationships/chart" Target="../charts/chart551.xml"/><Relationship Id="rId4" Type="http://schemas.openxmlformats.org/officeDocument/2006/relationships/image" Target="../media/image28.emf"/></Relationships>
</file>

<file path=ppt/slides/_rels/slide7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3.xml"/><Relationship Id="rId5" Type="http://schemas.openxmlformats.org/officeDocument/2006/relationships/chart" Target="../charts/chart552.xml"/><Relationship Id="rId4" Type="http://schemas.openxmlformats.org/officeDocument/2006/relationships/image" Target="../media/image28.emf"/></Relationships>
</file>

<file path=ppt/slides/_rels/slide7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4.xml"/><Relationship Id="rId5" Type="http://schemas.openxmlformats.org/officeDocument/2006/relationships/chart" Target="../charts/chart553.xml"/><Relationship Id="rId4" Type="http://schemas.openxmlformats.org/officeDocument/2006/relationships/image" Target="../media/image28.emf"/></Relationships>
</file>

<file path=ppt/slides/_rels/slide718.xml.rels><?xml version="1.0" encoding="UTF-8" standalone="yes"?>
<Relationships xmlns="http://schemas.openxmlformats.org/package/2006/relationships"><Relationship Id="rId3" Type="http://schemas.openxmlformats.org/officeDocument/2006/relationships/notesSlide" Target="../notesSlides/notesSlide313.xml"/><Relationship Id="rId2" Type="http://schemas.openxmlformats.org/officeDocument/2006/relationships/slideLayout" Target="../slideLayouts/slideLayout7.xml"/><Relationship Id="rId1" Type="http://schemas.openxmlformats.org/officeDocument/2006/relationships/tags" Target="../tags/tag745.xml"/><Relationship Id="rId6" Type="http://schemas.openxmlformats.org/officeDocument/2006/relationships/chart" Target="../charts/chart55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19.xml.rels><?xml version="1.0" encoding="UTF-8" standalone="yes"?>
<Relationships xmlns="http://schemas.openxmlformats.org/package/2006/relationships"><Relationship Id="rId3" Type="http://schemas.openxmlformats.org/officeDocument/2006/relationships/notesSlide" Target="../notesSlides/notesSlide314.xml"/><Relationship Id="rId2" Type="http://schemas.openxmlformats.org/officeDocument/2006/relationships/slideLayout" Target="../slideLayouts/slideLayout7.xml"/><Relationship Id="rId1" Type="http://schemas.openxmlformats.org/officeDocument/2006/relationships/tags" Target="../tags/tag746.xml"/><Relationship Id="rId6" Type="http://schemas.openxmlformats.org/officeDocument/2006/relationships/chart" Target="../charts/chart55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2.xml"/></Relationships>
</file>

<file path=ppt/slides/_rels/slide720.xml.rels><?xml version="1.0" encoding="UTF-8" standalone="yes"?>
<Relationships xmlns="http://schemas.openxmlformats.org/package/2006/relationships"><Relationship Id="rId3" Type="http://schemas.openxmlformats.org/officeDocument/2006/relationships/notesSlide" Target="../notesSlides/notesSlide315.xml"/><Relationship Id="rId2" Type="http://schemas.openxmlformats.org/officeDocument/2006/relationships/slideLayout" Target="../slideLayouts/slideLayout7.xml"/><Relationship Id="rId1" Type="http://schemas.openxmlformats.org/officeDocument/2006/relationships/tags" Target="../tags/tag747.xml"/><Relationship Id="rId6" Type="http://schemas.openxmlformats.org/officeDocument/2006/relationships/chart" Target="../charts/chart55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21.xml.rels><?xml version="1.0" encoding="UTF-8" standalone="yes"?>
<Relationships xmlns="http://schemas.openxmlformats.org/package/2006/relationships"><Relationship Id="rId3" Type="http://schemas.openxmlformats.org/officeDocument/2006/relationships/notesSlide" Target="../notesSlides/notesSlide316.xml"/><Relationship Id="rId2" Type="http://schemas.openxmlformats.org/officeDocument/2006/relationships/slideLayout" Target="../slideLayouts/slideLayout7.xml"/><Relationship Id="rId1" Type="http://schemas.openxmlformats.org/officeDocument/2006/relationships/tags" Target="../tags/tag748.xml"/><Relationship Id="rId6" Type="http://schemas.openxmlformats.org/officeDocument/2006/relationships/chart" Target="../charts/chart55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22.xml.rels><?xml version="1.0" encoding="UTF-8" standalone="yes"?>
<Relationships xmlns="http://schemas.openxmlformats.org/package/2006/relationships"><Relationship Id="rId3" Type="http://schemas.openxmlformats.org/officeDocument/2006/relationships/notesSlide" Target="../notesSlides/notesSlide317.xml"/><Relationship Id="rId2" Type="http://schemas.openxmlformats.org/officeDocument/2006/relationships/slideLayout" Target="../slideLayouts/slideLayout7.xml"/><Relationship Id="rId1" Type="http://schemas.openxmlformats.org/officeDocument/2006/relationships/tags" Target="../tags/tag749.xml"/><Relationship Id="rId6" Type="http://schemas.openxmlformats.org/officeDocument/2006/relationships/chart" Target="../charts/chart55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23.xml.rels><?xml version="1.0" encoding="UTF-8" standalone="yes"?>
<Relationships xmlns="http://schemas.openxmlformats.org/package/2006/relationships"><Relationship Id="rId3" Type="http://schemas.openxmlformats.org/officeDocument/2006/relationships/notesSlide" Target="../notesSlides/notesSlide318.xml"/><Relationship Id="rId2" Type="http://schemas.openxmlformats.org/officeDocument/2006/relationships/slideLayout" Target="../slideLayouts/slideLayout7.xml"/><Relationship Id="rId1" Type="http://schemas.openxmlformats.org/officeDocument/2006/relationships/tags" Target="../tags/tag750.xml"/><Relationship Id="rId6" Type="http://schemas.openxmlformats.org/officeDocument/2006/relationships/chart" Target="../charts/chart55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24.xml.rels><?xml version="1.0" encoding="UTF-8" standalone="yes"?>
<Relationships xmlns="http://schemas.openxmlformats.org/package/2006/relationships"><Relationship Id="rId3" Type="http://schemas.openxmlformats.org/officeDocument/2006/relationships/notesSlide" Target="../notesSlides/notesSlide319.xml"/><Relationship Id="rId2" Type="http://schemas.openxmlformats.org/officeDocument/2006/relationships/slideLayout" Target="../slideLayouts/slideLayout7.xml"/><Relationship Id="rId1" Type="http://schemas.openxmlformats.org/officeDocument/2006/relationships/tags" Target="../tags/tag751.xml"/><Relationship Id="rId6" Type="http://schemas.openxmlformats.org/officeDocument/2006/relationships/chart" Target="../charts/chart56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25.xml.rels><?xml version="1.0" encoding="UTF-8" standalone="yes"?>
<Relationships xmlns="http://schemas.openxmlformats.org/package/2006/relationships"><Relationship Id="rId3" Type="http://schemas.openxmlformats.org/officeDocument/2006/relationships/notesSlide" Target="../notesSlides/notesSlide320.xml"/><Relationship Id="rId2" Type="http://schemas.openxmlformats.org/officeDocument/2006/relationships/slideLayout" Target="../slideLayouts/slideLayout7.xml"/><Relationship Id="rId1" Type="http://schemas.openxmlformats.org/officeDocument/2006/relationships/tags" Target="../tags/tag752.xml"/><Relationship Id="rId6" Type="http://schemas.openxmlformats.org/officeDocument/2006/relationships/chart" Target="../charts/chart56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26.xml.rels><?xml version="1.0" encoding="UTF-8" standalone="yes"?>
<Relationships xmlns="http://schemas.openxmlformats.org/package/2006/relationships"><Relationship Id="rId3" Type="http://schemas.openxmlformats.org/officeDocument/2006/relationships/notesSlide" Target="../notesSlides/notesSlide321.xml"/><Relationship Id="rId2" Type="http://schemas.openxmlformats.org/officeDocument/2006/relationships/slideLayout" Target="../slideLayouts/slideLayout7.xml"/><Relationship Id="rId1" Type="http://schemas.openxmlformats.org/officeDocument/2006/relationships/tags" Target="../tags/tag753.xml"/><Relationship Id="rId6" Type="http://schemas.openxmlformats.org/officeDocument/2006/relationships/chart" Target="../charts/chart56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27.xml.rels><?xml version="1.0" encoding="UTF-8" standalone="yes"?>
<Relationships xmlns="http://schemas.openxmlformats.org/package/2006/relationships"><Relationship Id="rId3" Type="http://schemas.openxmlformats.org/officeDocument/2006/relationships/notesSlide" Target="../notesSlides/notesSlide322.xml"/><Relationship Id="rId2" Type="http://schemas.openxmlformats.org/officeDocument/2006/relationships/slideLayout" Target="../slideLayouts/slideLayout7.xml"/><Relationship Id="rId1" Type="http://schemas.openxmlformats.org/officeDocument/2006/relationships/tags" Target="../tags/tag754.xml"/><Relationship Id="rId6" Type="http://schemas.openxmlformats.org/officeDocument/2006/relationships/chart" Target="../charts/chart56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28.xml.rels><?xml version="1.0" encoding="UTF-8" standalone="yes"?>
<Relationships xmlns="http://schemas.openxmlformats.org/package/2006/relationships"><Relationship Id="rId3" Type="http://schemas.openxmlformats.org/officeDocument/2006/relationships/notesSlide" Target="../notesSlides/notesSlide323.xml"/><Relationship Id="rId2" Type="http://schemas.openxmlformats.org/officeDocument/2006/relationships/slideLayout" Target="../slideLayouts/slideLayout7.xml"/><Relationship Id="rId1" Type="http://schemas.openxmlformats.org/officeDocument/2006/relationships/tags" Target="../tags/tag755.xml"/><Relationship Id="rId6" Type="http://schemas.openxmlformats.org/officeDocument/2006/relationships/chart" Target="../charts/chart56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29.xml.rels><?xml version="1.0" encoding="UTF-8" standalone="yes"?>
<Relationships xmlns="http://schemas.openxmlformats.org/package/2006/relationships"><Relationship Id="rId3" Type="http://schemas.openxmlformats.org/officeDocument/2006/relationships/notesSlide" Target="../notesSlides/notesSlide324.xml"/><Relationship Id="rId2" Type="http://schemas.openxmlformats.org/officeDocument/2006/relationships/slideLayout" Target="../slideLayouts/slideLayout7.xml"/><Relationship Id="rId1" Type="http://schemas.openxmlformats.org/officeDocument/2006/relationships/tags" Target="../tags/tag756.xml"/><Relationship Id="rId6" Type="http://schemas.openxmlformats.org/officeDocument/2006/relationships/chart" Target="../charts/chart56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3.xml"/></Relationships>
</file>

<file path=ppt/slides/_rels/slide730.xml.rels><?xml version="1.0" encoding="UTF-8" standalone="yes"?>
<Relationships xmlns="http://schemas.openxmlformats.org/package/2006/relationships"><Relationship Id="rId3" Type="http://schemas.openxmlformats.org/officeDocument/2006/relationships/notesSlide" Target="../notesSlides/notesSlide325.xml"/><Relationship Id="rId2" Type="http://schemas.openxmlformats.org/officeDocument/2006/relationships/slideLayout" Target="../slideLayouts/slideLayout7.xml"/><Relationship Id="rId1" Type="http://schemas.openxmlformats.org/officeDocument/2006/relationships/tags" Target="../tags/tag757.xml"/><Relationship Id="rId6" Type="http://schemas.openxmlformats.org/officeDocument/2006/relationships/chart" Target="../charts/chart56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31.xml.rels><?xml version="1.0" encoding="UTF-8" standalone="yes"?>
<Relationships xmlns="http://schemas.openxmlformats.org/package/2006/relationships"><Relationship Id="rId3" Type="http://schemas.openxmlformats.org/officeDocument/2006/relationships/notesSlide" Target="../notesSlides/notesSlide326.xml"/><Relationship Id="rId2" Type="http://schemas.openxmlformats.org/officeDocument/2006/relationships/slideLayout" Target="../slideLayouts/slideLayout7.xml"/><Relationship Id="rId1" Type="http://schemas.openxmlformats.org/officeDocument/2006/relationships/tags" Target="../tags/tag758.xml"/><Relationship Id="rId6" Type="http://schemas.openxmlformats.org/officeDocument/2006/relationships/chart" Target="../charts/chart56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32.xml.rels><?xml version="1.0" encoding="UTF-8" standalone="yes"?>
<Relationships xmlns="http://schemas.openxmlformats.org/package/2006/relationships"><Relationship Id="rId3" Type="http://schemas.openxmlformats.org/officeDocument/2006/relationships/notesSlide" Target="../notesSlides/notesSlide327.xml"/><Relationship Id="rId2" Type="http://schemas.openxmlformats.org/officeDocument/2006/relationships/slideLayout" Target="../slideLayouts/slideLayout7.xml"/><Relationship Id="rId1" Type="http://schemas.openxmlformats.org/officeDocument/2006/relationships/tags" Target="../tags/tag759.xml"/><Relationship Id="rId6" Type="http://schemas.openxmlformats.org/officeDocument/2006/relationships/chart" Target="../charts/chart56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33.xml.rels><?xml version="1.0" encoding="UTF-8" standalone="yes"?>
<Relationships xmlns="http://schemas.openxmlformats.org/package/2006/relationships"><Relationship Id="rId3" Type="http://schemas.openxmlformats.org/officeDocument/2006/relationships/notesSlide" Target="../notesSlides/notesSlide328.xml"/><Relationship Id="rId2" Type="http://schemas.openxmlformats.org/officeDocument/2006/relationships/slideLayout" Target="../slideLayouts/slideLayout7.xml"/><Relationship Id="rId1" Type="http://schemas.openxmlformats.org/officeDocument/2006/relationships/tags" Target="../tags/tag760.xml"/><Relationship Id="rId6" Type="http://schemas.openxmlformats.org/officeDocument/2006/relationships/chart" Target="../charts/chart56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34.xml.rels><?xml version="1.0" encoding="UTF-8" standalone="yes"?>
<Relationships xmlns="http://schemas.openxmlformats.org/package/2006/relationships"><Relationship Id="rId3" Type="http://schemas.openxmlformats.org/officeDocument/2006/relationships/notesSlide" Target="../notesSlides/notesSlide329.xml"/><Relationship Id="rId2" Type="http://schemas.openxmlformats.org/officeDocument/2006/relationships/slideLayout" Target="../slideLayouts/slideLayout7.xml"/><Relationship Id="rId1" Type="http://schemas.openxmlformats.org/officeDocument/2006/relationships/tags" Target="../tags/tag761.xml"/><Relationship Id="rId6" Type="http://schemas.openxmlformats.org/officeDocument/2006/relationships/chart" Target="../charts/chart57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35.xml.rels><?xml version="1.0" encoding="UTF-8" standalone="yes"?>
<Relationships xmlns="http://schemas.openxmlformats.org/package/2006/relationships"><Relationship Id="rId3" Type="http://schemas.openxmlformats.org/officeDocument/2006/relationships/notesSlide" Target="../notesSlides/notesSlide330.xml"/><Relationship Id="rId2" Type="http://schemas.openxmlformats.org/officeDocument/2006/relationships/slideLayout" Target="../slideLayouts/slideLayout7.xml"/><Relationship Id="rId1" Type="http://schemas.openxmlformats.org/officeDocument/2006/relationships/tags" Target="../tags/tag762.xml"/><Relationship Id="rId6" Type="http://schemas.openxmlformats.org/officeDocument/2006/relationships/chart" Target="../charts/chart57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36.xml.rels><?xml version="1.0" encoding="UTF-8" standalone="yes"?>
<Relationships xmlns="http://schemas.openxmlformats.org/package/2006/relationships"><Relationship Id="rId3" Type="http://schemas.openxmlformats.org/officeDocument/2006/relationships/notesSlide" Target="../notesSlides/notesSlide331.xml"/><Relationship Id="rId2" Type="http://schemas.openxmlformats.org/officeDocument/2006/relationships/slideLayout" Target="../slideLayouts/slideLayout7.xml"/><Relationship Id="rId1" Type="http://schemas.openxmlformats.org/officeDocument/2006/relationships/tags" Target="../tags/tag763.xml"/><Relationship Id="rId6" Type="http://schemas.openxmlformats.org/officeDocument/2006/relationships/chart" Target="../charts/chart57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37.xml.rels><?xml version="1.0" encoding="UTF-8" standalone="yes"?>
<Relationships xmlns="http://schemas.openxmlformats.org/package/2006/relationships"><Relationship Id="rId3" Type="http://schemas.openxmlformats.org/officeDocument/2006/relationships/notesSlide" Target="../notesSlides/notesSlide332.xml"/><Relationship Id="rId2" Type="http://schemas.openxmlformats.org/officeDocument/2006/relationships/slideLayout" Target="../slideLayouts/slideLayout7.xml"/><Relationship Id="rId1" Type="http://schemas.openxmlformats.org/officeDocument/2006/relationships/tags" Target="../tags/tag764.xml"/><Relationship Id="rId6" Type="http://schemas.openxmlformats.org/officeDocument/2006/relationships/chart" Target="../charts/chart57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38.xml.rels><?xml version="1.0" encoding="UTF-8" standalone="yes"?>
<Relationships xmlns="http://schemas.openxmlformats.org/package/2006/relationships"><Relationship Id="rId3" Type="http://schemas.openxmlformats.org/officeDocument/2006/relationships/notesSlide" Target="../notesSlides/notesSlide333.xml"/><Relationship Id="rId2" Type="http://schemas.openxmlformats.org/officeDocument/2006/relationships/slideLayout" Target="../slideLayouts/slideLayout7.xml"/><Relationship Id="rId1" Type="http://schemas.openxmlformats.org/officeDocument/2006/relationships/tags" Target="../tags/tag765.xml"/><Relationship Id="rId6" Type="http://schemas.openxmlformats.org/officeDocument/2006/relationships/chart" Target="../charts/chart5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39.xml.rels><?xml version="1.0" encoding="UTF-8" standalone="yes"?>
<Relationships xmlns="http://schemas.openxmlformats.org/package/2006/relationships"><Relationship Id="rId3" Type="http://schemas.openxmlformats.org/officeDocument/2006/relationships/notesSlide" Target="../notesSlides/notesSlide334.xml"/><Relationship Id="rId2" Type="http://schemas.openxmlformats.org/officeDocument/2006/relationships/slideLayout" Target="../slideLayouts/slideLayout7.xml"/><Relationship Id="rId1" Type="http://schemas.openxmlformats.org/officeDocument/2006/relationships/tags" Target="../tags/tag766.xml"/><Relationship Id="rId6" Type="http://schemas.openxmlformats.org/officeDocument/2006/relationships/chart" Target="../charts/chart5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4.xml"/></Relationships>
</file>

<file path=ppt/slides/_rels/slide740.xml.rels><?xml version="1.0" encoding="UTF-8" standalone="yes"?>
<Relationships xmlns="http://schemas.openxmlformats.org/package/2006/relationships"><Relationship Id="rId3" Type="http://schemas.openxmlformats.org/officeDocument/2006/relationships/notesSlide" Target="../notesSlides/notesSlide335.xml"/><Relationship Id="rId2" Type="http://schemas.openxmlformats.org/officeDocument/2006/relationships/slideLayout" Target="../slideLayouts/slideLayout7.xml"/><Relationship Id="rId1" Type="http://schemas.openxmlformats.org/officeDocument/2006/relationships/tags" Target="../tags/tag767.xml"/><Relationship Id="rId6" Type="http://schemas.openxmlformats.org/officeDocument/2006/relationships/chart" Target="../charts/chart5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1.xml.rels><?xml version="1.0" encoding="UTF-8" standalone="yes"?>
<Relationships xmlns="http://schemas.openxmlformats.org/package/2006/relationships"><Relationship Id="rId3" Type="http://schemas.openxmlformats.org/officeDocument/2006/relationships/notesSlide" Target="../notesSlides/notesSlide336.xml"/><Relationship Id="rId2" Type="http://schemas.openxmlformats.org/officeDocument/2006/relationships/slideLayout" Target="../slideLayouts/slideLayout7.xml"/><Relationship Id="rId1" Type="http://schemas.openxmlformats.org/officeDocument/2006/relationships/tags" Target="../tags/tag768.xml"/><Relationship Id="rId6" Type="http://schemas.openxmlformats.org/officeDocument/2006/relationships/chart" Target="../charts/chart5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2.xml.rels><?xml version="1.0" encoding="UTF-8" standalone="yes"?>
<Relationships xmlns="http://schemas.openxmlformats.org/package/2006/relationships"><Relationship Id="rId3" Type="http://schemas.openxmlformats.org/officeDocument/2006/relationships/notesSlide" Target="../notesSlides/notesSlide337.xml"/><Relationship Id="rId2" Type="http://schemas.openxmlformats.org/officeDocument/2006/relationships/slideLayout" Target="../slideLayouts/slideLayout7.xml"/><Relationship Id="rId1" Type="http://schemas.openxmlformats.org/officeDocument/2006/relationships/tags" Target="../tags/tag769.xml"/><Relationship Id="rId6" Type="http://schemas.openxmlformats.org/officeDocument/2006/relationships/chart" Target="../charts/chart5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3.xml.rels><?xml version="1.0" encoding="UTF-8" standalone="yes"?>
<Relationships xmlns="http://schemas.openxmlformats.org/package/2006/relationships"><Relationship Id="rId3" Type="http://schemas.openxmlformats.org/officeDocument/2006/relationships/notesSlide" Target="../notesSlides/notesSlide338.xml"/><Relationship Id="rId2" Type="http://schemas.openxmlformats.org/officeDocument/2006/relationships/slideLayout" Target="../slideLayouts/slideLayout7.xml"/><Relationship Id="rId1" Type="http://schemas.openxmlformats.org/officeDocument/2006/relationships/tags" Target="../tags/tag770.xml"/><Relationship Id="rId6" Type="http://schemas.openxmlformats.org/officeDocument/2006/relationships/chart" Target="../charts/chart5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4.xml.rels><?xml version="1.0" encoding="UTF-8" standalone="yes"?>
<Relationships xmlns="http://schemas.openxmlformats.org/package/2006/relationships"><Relationship Id="rId3" Type="http://schemas.openxmlformats.org/officeDocument/2006/relationships/notesSlide" Target="../notesSlides/notesSlide339.xml"/><Relationship Id="rId2" Type="http://schemas.openxmlformats.org/officeDocument/2006/relationships/slideLayout" Target="../slideLayouts/slideLayout7.xml"/><Relationship Id="rId1" Type="http://schemas.openxmlformats.org/officeDocument/2006/relationships/tags" Target="../tags/tag771.xml"/><Relationship Id="rId6" Type="http://schemas.openxmlformats.org/officeDocument/2006/relationships/chart" Target="../charts/chart5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5.xml.rels><?xml version="1.0" encoding="UTF-8" standalone="yes"?>
<Relationships xmlns="http://schemas.openxmlformats.org/package/2006/relationships"><Relationship Id="rId3" Type="http://schemas.openxmlformats.org/officeDocument/2006/relationships/notesSlide" Target="../notesSlides/notesSlide340.xml"/><Relationship Id="rId2" Type="http://schemas.openxmlformats.org/officeDocument/2006/relationships/slideLayout" Target="../slideLayouts/slideLayout7.xml"/><Relationship Id="rId1" Type="http://schemas.openxmlformats.org/officeDocument/2006/relationships/tags" Target="../tags/tag772.xml"/><Relationship Id="rId6" Type="http://schemas.openxmlformats.org/officeDocument/2006/relationships/chart" Target="../charts/chart5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6.xml.rels><?xml version="1.0" encoding="UTF-8" standalone="yes"?>
<Relationships xmlns="http://schemas.openxmlformats.org/package/2006/relationships"><Relationship Id="rId3" Type="http://schemas.openxmlformats.org/officeDocument/2006/relationships/notesSlide" Target="../notesSlides/notesSlide341.xml"/><Relationship Id="rId2" Type="http://schemas.openxmlformats.org/officeDocument/2006/relationships/slideLayout" Target="../slideLayouts/slideLayout7.xml"/><Relationship Id="rId1" Type="http://schemas.openxmlformats.org/officeDocument/2006/relationships/tags" Target="../tags/tag773.xml"/><Relationship Id="rId6" Type="http://schemas.openxmlformats.org/officeDocument/2006/relationships/chart" Target="../charts/chart58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7.xml.rels><?xml version="1.0" encoding="UTF-8" standalone="yes"?>
<Relationships xmlns="http://schemas.openxmlformats.org/package/2006/relationships"><Relationship Id="rId3" Type="http://schemas.openxmlformats.org/officeDocument/2006/relationships/notesSlide" Target="../notesSlides/notesSlide342.xml"/><Relationship Id="rId2" Type="http://schemas.openxmlformats.org/officeDocument/2006/relationships/slideLayout" Target="../slideLayouts/slideLayout7.xml"/><Relationship Id="rId1" Type="http://schemas.openxmlformats.org/officeDocument/2006/relationships/tags" Target="../tags/tag774.xml"/><Relationship Id="rId6" Type="http://schemas.openxmlformats.org/officeDocument/2006/relationships/chart" Target="../charts/chart58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8.xml.rels><?xml version="1.0" encoding="UTF-8" standalone="yes"?>
<Relationships xmlns="http://schemas.openxmlformats.org/package/2006/relationships"><Relationship Id="rId3" Type="http://schemas.openxmlformats.org/officeDocument/2006/relationships/notesSlide" Target="../notesSlides/notesSlide343.xml"/><Relationship Id="rId2" Type="http://schemas.openxmlformats.org/officeDocument/2006/relationships/slideLayout" Target="../slideLayouts/slideLayout7.xml"/><Relationship Id="rId1" Type="http://schemas.openxmlformats.org/officeDocument/2006/relationships/tags" Target="../tags/tag775.xml"/><Relationship Id="rId6" Type="http://schemas.openxmlformats.org/officeDocument/2006/relationships/chart" Target="../charts/chart58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9.xml.rels><?xml version="1.0" encoding="UTF-8" standalone="yes"?>
<Relationships xmlns="http://schemas.openxmlformats.org/package/2006/relationships"><Relationship Id="rId3" Type="http://schemas.openxmlformats.org/officeDocument/2006/relationships/notesSlide" Target="../notesSlides/notesSlide344.xml"/><Relationship Id="rId2" Type="http://schemas.openxmlformats.org/officeDocument/2006/relationships/slideLayout" Target="../slideLayouts/slideLayout7.xml"/><Relationship Id="rId1" Type="http://schemas.openxmlformats.org/officeDocument/2006/relationships/tags" Target="../tags/tag776.xml"/><Relationship Id="rId6" Type="http://schemas.openxmlformats.org/officeDocument/2006/relationships/chart" Target="../charts/chart58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5.xml"/></Relationships>
</file>

<file path=ppt/slides/_rels/slide750.xml.rels><?xml version="1.0" encoding="UTF-8" standalone="yes"?>
<Relationships xmlns="http://schemas.openxmlformats.org/package/2006/relationships"><Relationship Id="rId3" Type="http://schemas.openxmlformats.org/officeDocument/2006/relationships/notesSlide" Target="../notesSlides/notesSlide345.xml"/><Relationship Id="rId2" Type="http://schemas.openxmlformats.org/officeDocument/2006/relationships/slideLayout" Target="../slideLayouts/slideLayout7.xml"/><Relationship Id="rId1" Type="http://schemas.openxmlformats.org/officeDocument/2006/relationships/tags" Target="../tags/tag777.xml"/><Relationship Id="rId6" Type="http://schemas.openxmlformats.org/officeDocument/2006/relationships/chart" Target="../charts/chart58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1.xml.rels><?xml version="1.0" encoding="UTF-8" standalone="yes"?>
<Relationships xmlns="http://schemas.openxmlformats.org/package/2006/relationships"><Relationship Id="rId3" Type="http://schemas.openxmlformats.org/officeDocument/2006/relationships/notesSlide" Target="../notesSlides/notesSlide346.xml"/><Relationship Id="rId2" Type="http://schemas.openxmlformats.org/officeDocument/2006/relationships/slideLayout" Target="../slideLayouts/slideLayout7.xml"/><Relationship Id="rId1" Type="http://schemas.openxmlformats.org/officeDocument/2006/relationships/tags" Target="../tags/tag778.xml"/><Relationship Id="rId6" Type="http://schemas.openxmlformats.org/officeDocument/2006/relationships/chart" Target="../charts/chart58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2.xml.rels><?xml version="1.0" encoding="UTF-8" standalone="yes"?>
<Relationships xmlns="http://schemas.openxmlformats.org/package/2006/relationships"><Relationship Id="rId3" Type="http://schemas.openxmlformats.org/officeDocument/2006/relationships/notesSlide" Target="../notesSlides/notesSlide347.xml"/><Relationship Id="rId2" Type="http://schemas.openxmlformats.org/officeDocument/2006/relationships/slideLayout" Target="../slideLayouts/slideLayout7.xml"/><Relationship Id="rId1" Type="http://schemas.openxmlformats.org/officeDocument/2006/relationships/tags" Target="../tags/tag779.xml"/><Relationship Id="rId6" Type="http://schemas.openxmlformats.org/officeDocument/2006/relationships/chart" Target="../charts/chart58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3.xml.rels><?xml version="1.0" encoding="UTF-8" standalone="yes"?>
<Relationships xmlns="http://schemas.openxmlformats.org/package/2006/relationships"><Relationship Id="rId3" Type="http://schemas.openxmlformats.org/officeDocument/2006/relationships/notesSlide" Target="../notesSlides/notesSlide348.xml"/><Relationship Id="rId2" Type="http://schemas.openxmlformats.org/officeDocument/2006/relationships/slideLayout" Target="../slideLayouts/slideLayout7.xml"/><Relationship Id="rId1" Type="http://schemas.openxmlformats.org/officeDocument/2006/relationships/tags" Target="../tags/tag780.xml"/><Relationship Id="rId6" Type="http://schemas.openxmlformats.org/officeDocument/2006/relationships/chart" Target="../charts/chart58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4.xml.rels><?xml version="1.0" encoding="UTF-8" standalone="yes"?>
<Relationships xmlns="http://schemas.openxmlformats.org/package/2006/relationships"><Relationship Id="rId3" Type="http://schemas.openxmlformats.org/officeDocument/2006/relationships/notesSlide" Target="../notesSlides/notesSlide349.xml"/><Relationship Id="rId2" Type="http://schemas.openxmlformats.org/officeDocument/2006/relationships/slideLayout" Target="../slideLayouts/slideLayout7.xml"/><Relationship Id="rId1" Type="http://schemas.openxmlformats.org/officeDocument/2006/relationships/tags" Target="../tags/tag781.xml"/><Relationship Id="rId6" Type="http://schemas.openxmlformats.org/officeDocument/2006/relationships/chart" Target="../charts/chart59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5.xml.rels><?xml version="1.0" encoding="UTF-8" standalone="yes"?>
<Relationships xmlns="http://schemas.openxmlformats.org/package/2006/relationships"><Relationship Id="rId3" Type="http://schemas.openxmlformats.org/officeDocument/2006/relationships/notesSlide" Target="../notesSlides/notesSlide350.xml"/><Relationship Id="rId2" Type="http://schemas.openxmlformats.org/officeDocument/2006/relationships/slideLayout" Target="../slideLayouts/slideLayout7.xml"/><Relationship Id="rId1" Type="http://schemas.openxmlformats.org/officeDocument/2006/relationships/tags" Target="../tags/tag782.xml"/><Relationship Id="rId6" Type="http://schemas.openxmlformats.org/officeDocument/2006/relationships/chart" Target="../charts/chart59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6.xml.rels><?xml version="1.0" encoding="UTF-8" standalone="yes"?>
<Relationships xmlns="http://schemas.openxmlformats.org/package/2006/relationships"><Relationship Id="rId3" Type="http://schemas.openxmlformats.org/officeDocument/2006/relationships/notesSlide" Target="../notesSlides/notesSlide351.xml"/><Relationship Id="rId2" Type="http://schemas.openxmlformats.org/officeDocument/2006/relationships/slideLayout" Target="../slideLayouts/slideLayout7.xml"/><Relationship Id="rId1" Type="http://schemas.openxmlformats.org/officeDocument/2006/relationships/tags" Target="../tags/tag783.xml"/><Relationship Id="rId6" Type="http://schemas.openxmlformats.org/officeDocument/2006/relationships/chart" Target="../charts/chart59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7.xml.rels><?xml version="1.0" encoding="UTF-8" standalone="yes"?>
<Relationships xmlns="http://schemas.openxmlformats.org/package/2006/relationships"><Relationship Id="rId3" Type="http://schemas.openxmlformats.org/officeDocument/2006/relationships/notesSlide" Target="../notesSlides/notesSlide352.xml"/><Relationship Id="rId2" Type="http://schemas.openxmlformats.org/officeDocument/2006/relationships/slideLayout" Target="../slideLayouts/slideLayout7.xml"/><Relationship Id="rId1" Type="http://schemas.openxmlformats.org/officeDocument/2006/relationships/tags" Target="../tags/tag784.xml"/><Relationship Id="rId6" Type="http://schemas.openxmlformats.org/officeDocument/2006/relationships/chart" Target="../charts/chart59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8.xml.rels><?xml version="1.0" encoding="UTF-8" standalone="yes"?>
<Relationships xmlns="http://schemas.openxmlformats.org/package/2006/relationships"><Relationship Id="rId3" Type="http://schemas.openxmlformats.org/officeDocument/2006/relationships/notesSlide" Target="../notesSlides/notesSlide353.xml"/><Relationship Id="rId2" Type="http://schemas.openxmlformats.org/officeDocument/2006/relationships/slideLayout" Target="../slideLayouts/slideLayout7.xml"/><Relationship Id="rId1" Type="http://schemas.openxmlformats.org/officeDocument/2006/relationships/tags" Target="../tags/tag785.xml"/><Relationship Id="rId6" Type="http://schemas.openxmlformats.org/officeDocument/2006/relationships/chart" Target="../charts/chart59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9.xml.rels><?xml version="1.0" encoding="UTF-8" standalone="yes"?>
<Relationships xmlns="http://schemas.openxmlformats.org/package/2006/relationships"><Relationship Id="rId3" Type="http://schemas.openxmlformats.org/officeDocument/2006/relationships/notesSlide" Target="../notesSlides/notesSlide354.xml"/><Relationship Id="rId2" Type="http://schemas.openxmlformats.org/officeDocument/2006/relationships/slideLayout" Target="../slideLayouts/slideLayout7.xml"/><Relationship Id="rId1" Type="http://schemas.openxmlformats.org/officeDocument/2006/relationships/tags" Target="../tags/tag786.xml"/><Relationship Id="rId6" Type="http://schemas.openxmlformats.org/officeDocument/2006/relationships/chart" Target="../charts/chart59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6.xml"/></Relationships>
</file>

<file path=ppt/slides/_rels/slide760.xml.rels><?xml version="1.0" encoding="UTF-8" standalone="yes"?>
<Relationships xmlns="http://schemas.openxmlformats.org/package/2006/relationships"><Relationship Id="rId3" Type="http://schemas.openxmlformats.org/officeDocument/2006/relationships/notesSlide" Target="../notesSlides/notesSlide355.xml"/><Relationship Id="rId2" Type="http://schemas.openxmlformats.org/officeDocument/2006/relationships/slideLayout" Target="../slideLayouts/slideLayout7.xml"/><Relationship Id="rId1" Type="http://schemas.openxmlformats.org/officeDocument/2006/relationships/tags" Target="../tags/tag787.xml"/><Relationship Id="rId6" Type="http://schemas.openxmlformats.org/officeDocument/2006/relationships/chart" Target="../charts/chart59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1.xml.rels><?xml version="1.0" encoding="UTF-8" standalone="yes"?>
<Relationships xmlns="http://schemas.openxmlformats.org/package/2006/relationships"><Relationship Id="rId3" Type="http://schemas.openxmlformats.org/officeDocument/2006/relationships/notesSlide" Target="../notesSlides/notesSlide356.xml"/><Relationship Id="rId2" Type="http://schemas.openxmlformats.org/officeDocument/2006/relationships/slideLayout" Target="../slideLayouts/slideLayout7.xml"/><Relationship Id="rId1" Type="http://schemas.openxmlformats.org/officeDocument/2006/relationships/tags" Target="../tags/tag788.xml"/><Relationship Id="rId6" Type="http://schemas.openxmlformats.org/officeDocument/2006/relationships/chart" Target="../charts/chart59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2.xml.rels><?xml version="1.0" encoding="UTF-8" standalone="yes"?>
<Relationships xmlns="http://schemas.openxmlformats.org/package/2006/relationships"><Relationship Id="rId3" Type="http://schemas.openxmlformats.org/officeDocument/2006/relationships/notesSlide" Target="../notesSlides/notesSlide357.xml"/><Relationship Id="rId2" Type="http://schemas.openxmlformats.org/officeDocument/2006/relationships/slideLayout" Target="../slideLayouts/slideLayout7.xml"/><Relationship Id="rId1" Type="http://schemas.openxmlformats.org/officeDocument/2006/relationships/tags" Target="../tags/tag789.xml"/><Relationship Id="rId6" Type="http://schemas.openxmlformats.org/officeDocument/2006/relationships/chart" Target="../charts/chart59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3.xml.rels><?xml version="1.0" encoding="UTF-8" standalone="yes"?>
<Relationships xmlns="http://schemas.openxmlformats.org/package/2006/relationships"><Relationship Id="rId3" Type="http://schemas.openxmlformats.org/officeDocument/2006/relationships/notesSlide" Target="../notesSlides/notesSlide358.xml"/><Relationship Id="rId2" Type="http://schemas.openxmlformats.org/officeDocument/2006/relationships/slideLayout" Target="../slideLayouts/slideLayout7.xml"/><Relationship Id="rId1" Type="http://schemas.openxmlformats.org/officeDocument/2006/relationships/tags" Target="../tags/tag790.xml"/><Relationship Id="rId6" Type="http://schemas.openxmlformats.org/officeDocument/2006/relationships/chart" Target="../charts/chart59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4.xml.rels><?xml version="1.0" encoding="UTF-8" standalone="yes"?>
<Relationships xmlns="http://schemas.openxmlformats.org/package/2006/relationships"><Relationship Id="rId3" Type="http://schemas.openxmlformats.org/officeDocument/2006/relationships/notesSlide" Target="../notesSlides/notesSlide359.xml"/><Relationship Id="rId2" Type="http://schemas.openxmlformats.org/officeDocument/2006/relationships/slideLayout" Target="../slideLayouts/slideLayout7.xml"/><Relationship Id="rId1" Type="http://schemas.openxmlformats.org/officeDocument/2006/relationships/tags" Target="../tags/tag791.xml"/><Relationship Id="rId6" Type="http://schemas.openxmlformats.org/officeDocument/2006/relationships/chart" Target="../charts/chart60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5.xml.rels><?xml version="1.0" encoding="UTF-8" standalone="yes"?>
<Relationships xmlns="http://schemas.openxmlformats.org/package/2006/relationships"><Relationship Id="rId3" Type="http://schemas.openxmlformats.org/officeDocument/2006/relationships/notesSlide" Target="../notesSlides/notesSlide360.xml"/><Relationship Id="rId2" Type="http://schemas.openxmlformats.org/officeDocument/2006/relationships/slideLayout" Target="../slideLayouts/slideLayout7.xml"/><Relationship Id="rId1" Type="http://schemas.openxmlformats.org/officeDocument/2006/relationships/tags" Target="../tags/tag792.xml"/><Relationship Id="rId6" Type="http://schemas.openxmlformats.org/officeDocument/2006/relationships/chart" Target="../charts/chart60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6.xml.rels><?xml version="1.0" encoding="UTF-8" standalone="yes"?>
<Relationships xmlns="http://schemas.openxmlformats.org/package/2006/relationships"><Relationship Id="rId3" Type="http://schemas.openxmlformats.org/officeDocument/2006/relationships/notesSlide" Target="../notesSlides/notesSlide361.xml"/><Relationship Id="rId2" Type="http://schemas.openxmlformats.org/officeDocument/2006/relationships/slideLayout" Target="../slideLayouts/slideLayout7.xml"/><Relationship Id="rId1" Type="http://schemas.openxmlformats.org/officeDocument/2006/relationships/tags" Target="../tags/tag793.xml"/><Relationship Id="rId6" Type="http://schemas.openxmlformats.org/officeDocument/2006/relationships/chart" Target="../charts/chart60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7.xml.rels><?xml version="1.0" encoding="UTF-8" standalone="yes"?>
<Relationships xmlns="http://schemas.openxmlformats.org/package/2006/relationships"><Relationship Id="rId3" Type="http://schemas.openxmlformats.org/officeDocument/2006/relationships/notesSlide" Target="../notesSlides/notesSlide362.xml"/><Relationship Id="rId2" Type="http://schemas.openxmlformats.org/officeDocument/2006/relationships/slideLayout" Target="../slideLayouts/slideLayout7.xml"/><Relationship Id="rId1" Type="http://schemas.openxmlformats.org/officeDocument/2006/relationships/tags" Target="../tags/tag794.xml"/><Relationship Id="rId6" Type="http://schemas.openxmlformats.org/officeDocument/2006/relationships/chart" Target="../charts/chart60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8.xml.rels><?xml version="1.0" encoding="UTF-8" standalone="yes"?>
<Relationships xmlns="http://schemas.openxmlformats.org/package/2006/relationships"><Relationship Id="rId3" Type="http://schemas.openxmlformats.org/officeDocument/2006/relationships/notesSlide" Target="../notesSlides/notesSlide363.xml"/><Relationship Id="rId2" Type="http://schemas.openxmlformats.org/officeDocument/2006/relationships/slideLayout" Target="../slideLayouts/slideLayout7.xml"/><Relationship Id="rId1" Type="http://schemas.openxmlformats.org/officeDocument/2006/relationships/tags" Target="../tags/tag795.xml"/><Relationship Id="rId6" Type="http://schemas.openxmlformats.org/officeDocument/2006/relationships/chart" Target="../charts/chart60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9.xml.rels><?xml version="1.0" encoding="UTF-8" standalone="yes"?>
<Relationships xmlns="http://schemas.openxmlformats.org/package/2006/relationships"><Relationship Id="rId3" Type="http://schemas.openxmlformats.org/officeDocument/2006/relationships/notesSlide" Target="../notesSlides/notesSlide364.xml"/><Relationship Id="rId2" Type="http://schemas.openxmlformats.org/officeDocument/2006/relationships/slideLayout" Target="../slideLayouts/slideLayout7.xml"/><Relationship Id="rId1" Type="http://schemas.openxmlformats.org/officeDocument/2006/relationships/tags" Target="../tags/tag796.xml"/><Relationship Id="rId6" Type="http://schemas.openxmlformats.org/officeDocument/2006/relationships/chart" Target="../charts/chart60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7.xml"/></Relationships>
</file>

<file path=ppt/slides/_rels/slide770.xml.rels><?xml version="1.0" encoding="UTF-8" standalone="yes"?>
<Relationships xmlns="http://schemas.openxmlformats.org/package/2006/relationships"><Relationship Id="rId3" Type="http://schemas.openxmlformats.org/officeDocument/2006/relationships/notesSlide" Target="../notesSlides/notesSlide365.xml"/><Relationship Id="rId2" Type="http://schemas.openxmlformats.org/officeDocument/2006/relationships/slideLayout" Target="../slideLayouts/slideLayout7.xml"/><Relationship Id="rId1" Type="http://schemas.openxmlformats.org/officeDocument/2006/relationships/tags" Target="../tags/tag797.xml"/><Relationship Id="rId6" Type="http://schemas.openxmlformats.org/officeDocument/2006/relationships/chart" Target="../charts/chart60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1.xml.rels><?xml version="1.0" encoding="UTF-8" standalone="yes"?>
<Relationships xmlns="http://schemas.openxmlformats.org/package/2006/relationships"><Relationship Id="rId3" Type="http://schemas.openxmlformats.org/officeDocument/2006/relationships/notesSlide" Target="../notesSlides/notesSlide366.xml"/><Relationship Id="rId2" Type="http://schemas.openxmlformats.org/officeDocument/2006/relationships/slideLayout" Target="../slideLayouts/slideLayout7.xml"/><Relationship Id="rId1" Type="http://schemas.openxmlformats.org/officeDocument/2006/relationships/tags" Target="../tags/tag798.xml"/><Relationship Id="rId6" Type="http://schemas.openxmlformats.org/officeDocument/2006/relationships/chart" Target="../charts/chart60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2.xml.rels><?xml version="1.0" encoding="UTF-8" standalone="yes"?>
<Relationships xmlns="http://schemas.openxmlformats.org/package/2006/relationships"><Relationship Id="rId3" Type="http://schemas.openxmlformats.org/officeDocument/2006/relationships/notesSlide" Target="../notesSlides/notesSlide367.xml"/><Relationship Id="rId2" Type="http://schemas.openxmlformats.org/officeDocument/2006/relationships/slideLayout" Target="../slideLayouts/slideLayout7.xml"/><Relationship Id="rId1" Type="http://schemas.openxmlformats.org/officeDocument/2006/relationships/tags" Target="../tags/tag799.xml"/><Relationship Id="rId6" Type="http://schemas.openxmlformats.org/officeDocument/2006/relationships/chart" Target="../charts/chart60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3.xml.rels><?xml version="1.0" encoding="UTF-8" standalone="yes"?>
<Relationships xmlns="http://schemas.openxmlformats.org/package/2006/relationships"><Relationship Id="rId3" Type="http://schemas.openxmlformats.org/officeDocument/2006/relationships/notesSlide" Target="../notesSlides/notesSlide368.xml"/><Relationship Id="rId2" Type="http://schemas.openxmlformats.org/officeDocument/2006/relationships/slideLayout" Target="../slideLayouts/slideLayout7.xml"/><Relationship Id="rId1" Type="http://schemas.openxmlformats.org/officeDocument/2006/relationships/tags" Target="../tags/tag800.xml"/><Relationship Id="rId6" Type="http://schemas.openxmlformats.org/officeDocument/2006/relationships/chart" Target="../charts/chart60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4.xml.rels><?xml version="1.0" encoding="UTF-8" standalone="yes"?>
<Relationships xmlns="http://schemas.openxmlformats.org/package/2006/relationships"><Relationship Id="rId3" Type="http://schemas.openxmlformats.org/officeDocument/2006/relationships/notesSlide" Target="../notesSlides/notesSlide369.xml"/><Relationship Id="rId2" Type="http://schemas.openxmlformats.org/officeDocument/2006/relationships/slideLayout" Target="../slideLayouts/slideLayout7.xml"/><Relationship Id="rId1" Type="http://schemas.openxmlformats.org/officeDocument/2006/relationships/tags" Target="../tags/tag801.xml"/><Relationship Id="rId6" Type="http://schemas.openxmlformats.org/officeDocument/2006/relationships/chart" Target="../charts/chart61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5.xml.rels><?xml version="1.0" encoding="UTF-8" standalone="yes"?>
<Relationships xmlns="http://schemas.openxmlformats.org/package/2006/relationships"><Relationship Id="rId3" Type="http://schemas.openxmlformats.org/officeDocument/2006/relationships/notesSlide" Target="../notesSlides/notesSlide370.xml"/><Relationship Id="rId2" Type="http://schemas.openxmlformats.org/officeDocument/2006/relationships/slideLayout" Target="../slideLayouts/slideLayout7.xml"/><Relationship Id="rId1" Type="http://schemas.openxmlformats.org/officeDocument/2006/relationships/tags" Target="../tags/tag802.xml"/><Relationship Id="rId6" Type="http://schemas.openxmlformats.org/officeDocument/2006/relationships/chart" Target="../charts/chart61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6.xml.rels><?xml version="1.0" encoding="UTF-8" standalone="yes"?>
<Relationships xmlns="http://schemas.openxmlformats.org/package/2006/relationships"><Relationship Id="rId3" Type="http://schemas.openxmlformats.org/officeDocument/2006/relationships/notesSlide" Target="../notesSlides/notesSlide371.xml"/><Relationship Id="rId2" Type="http://schemas.openxmlformats.org/officeDocument/2006/relationships/slideLayout" Target="../slideLayouts/slideLayout7.xml"/><Relationship Id="rId1" Type="http://schemas.openxmlformats.org/officeDocument/2006/relationships/tags" Target="../tags/tag803.xml"/><Relationship Id="rId6" Type="http://schemas.openxmlformats.org/officeDocument/2006/relationships/chart" Target="../charts/chart61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7.xml.rels><?xml version="1.0" encoding="UTF-8" standalone="yes"?>
<Relationships xmlns="http://schemas.openxmlformats.org/package/2006/relationships"><Relationship Id="rId3" Type="http://schemas.openxmlformats.org/officeDocument/2006/relationships/notesSlide" Target="../notesSlides/notesSlide372.xml"/><Relationship Id="rId2" Type="http://schemas.openxmlformats.org/officeDocument/2006/relationships/slideLayout" Target="../slideLayouts/slideLayout7.xml"/><Relationship Id="rId1" Type="http://schemas.openxmlformats.org/officeDocument/2006/relationships/tags" Target="../tags/tag804.xml"/><Relationship Id="rId6" Type="http://schemas.openxmlformats.org/officeDocument/2006/relationships/chart" Target="../charts/chart61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8.xml.rels><?xml version="1.0" encoding="UTF-8" standalone="yes"?>
<Relationships xmlns="http://schemas.openxmlformats.org/package/2006/relationships"><Relationship Id="rId3" Type="http://schemas.openxmlformats.org/officeDocument/2006/relationships/notesSlide" Target="../notesSlides/notesSlide373.xml"/><Relationship Id="rId2" Type="http://schemas.openxmlformats.org/officeDocument/2006/relationships/slideLayout" Target="../slideLayouts/slideLayout7.xml"/><Relationship Id="rId1" Type="http://schemas.openxmlformats.org/officeDocument/2006/relationships/tags" Target="../tags/tag805.xml"/><Relationship Id="rId6" Type="http://schemas.openxmlformats.org/officeDocument/2006/relationships/chart" Target="../charts/chart61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9.xml.rels><?xml version="1.0" encoding="UTF-8" standalone="yes"?>
<Relationships xmlns="http://schemas.openxmlformats.org/package/2006/relationships"><Relationship Id="rId3" Type="http://schemas.openxmlformats.org/officeDocument/2006/relationships/notesSlide" Target="../notesSlides/notesSlide374.xml"/><Relationship Id="rId2" Type="http://schemas.openxmlformats.org/officeDocument/2006/relationships/slideLayout" Target="../slideLayouts/slideLayout7.xml"/><Relationship Id="rId1" Type="http://schemas.openxmlformats.org/officeDocument/2006/relationships/tags" Target="../tags/tag806.xml"/><Relationship Id="rId6" Type="http://schemas.openxmlformats.org/officeDocument/2006/relationships/chart" Target="../charts/chart61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8.xml"/></Relationships>
</file>

<file path=ppt/slides/_rels/slide780.xml.rels><?xml version="1.0" encoding="UTF-8" standalone="yes"?>
<Relationships xmlns="http://schemas.openxmlformats.org/package/2006/relationships"><Relationship Id="rId3" Type="http://schemas.openxmlformats.org/officeDocument/2006/relationships/notesSlide" Target="../notesSlides/notesSlide375.xml"/><Relationship Id="rId2" Type="http://schemas.openxmlformats.org/officeDocument/2006/relationships/slideLayout" Target="../slideLayouts/slideLayout7.xml"/><Relationship Id="rId1" Type="http://schemas.openxmlformats.org/officeDocument/2006/relationships/tags" Target="../tags/tag807.xml"/><Relationship Id="rId6" Type="http://schemas.openxmlformats.org/officeDocument/2006/relationships/chart" Target="../charts/chart61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1.xml.rels><?xml version="1.0" encoding="UTF-8" standalone="yes"?>
<Relationships xmlns="http://schemas.openxmlformats.org/package/2006/relationships"><Relationship Id="rId3" Type="http://schemas.openxmlformats.org/officeDocument/2006/relationships/notesSlide" Target="../notesSlides/notesSlide376.xml"/><Relationship Id="rId2" Type="http://schemas.openxmlformats.org/officeDocument/2006/relationships/slideLayout" Target="../slideLayouts/slideLayout7.xml"/><Relationship Id="rId1" Type="http://schemas.openxmlformats.org/officeDocument/2006/relationships/tags" Target="../tags/tag808.xml"/><Relationship Id="rId6" Type="http://schemas.openxmlformats.org/officeDocument/2006/relationships/chart" Target="../charts/chart61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2.xml.rels><?xml version="1.0" encoding="UTF-8" standalone="yes"?>
<Relationships xmlns="http://schemas.openxmlformats.org/package/2006/relationships"><Relationship Id="rId3" Type="http://schemas.openxmlformats.org/officeDocument/2006/relationships/notesSlide" Target="../notesSlides/notesSlide377.xml"/><Relationship Id="rId2" Type="http://schemas.openxmlformats.org/officeDocument/2006/relationships/slideLayout" Target="../slideLayouts/slideLayout7.xml"/><Relationship Id="rId1" Type="http://schemas.openxmlformats.org/officeDocument/2006/relationships/tags" Target="../tags/tag809.xml"/><Relationship Id="rId6" Type="http://schemas.openxmlformats.org/officeDocument/2006/relationships/chart" Target="../charts/chart61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3.xml.rels><?xml version="1.0" encoding="UTF-8" standalone="yes"?>
<Relationships xmlns="http://schemas.openxmlformats.org/package/2006/relationships"><Relationship Id="rId3" Type="http://schemas.openxmlformats.org/officeDocument/2006/relationships/notesSlide" Target="../notesSlides/notesSlide378.xml"/><Relationship Id="rId2" Type="http://schemas.openxmlformats.org/officeDocument/2006/relationships/slideLayout" Target="../slideLayouts/slideLayout7.xml"/><Relationship Id="rId1" Type="http://schemas.openxmlformats.org/officeDocument/2006/relationships/tags" Target="../tags/tag810.xml"/><Relationship Id="rId6" Type="http://schemas.openxmlformats.org/officeDocument/2006/relationships/chart" Target="../charts/chart61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4.xml.rels><?xml version="1.0" encoding="UTF-8" standalone="yes"?>
<Relationships xmlns="http://schemas.openxmlformats.org/package/2006/relationships"><Relationship Id="rId3" Type="http://schemas.openxmlformats.org/officeDocument/2006/relationships/notesSlide" Target="../notesSlides/notesSlide379.xml"/><Relationship Id="rId2" Type="http://schemas.openxmlformats.org/officeDocument/2006/relationships/slideLayout" Target="../slideLayouts/slideLayout7.xml"/><Relationship Id="rId1" Type="http://schemas.openxmlformats.org/officeDocument/2006/relationships/tags" Target="../tags/tag811.xml"/><Relationship Id="rId6" Type="http://schemas.openxmlformats.org/officeDocument/2006/relationships/chart" Target="../charts/chart62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5.xml.rels><?xml version="1.0" encoding="UTF-8" standalone="yes"?>
<Relationships xmlns="http://schemas.openxmlformats.org/package/2006/relationships"><Relationship Id="rId3" Type="http://schemas.openxmlformats.org/officeDocument/2006/relationships/notesSlide" Target="../notesSlides/notesSlide380.xml"/><Relationship Id="rId2" Type="http://schemas.openxmlformats.org/officeDocument/2006/relationships/slideLayout" Target="../slideLayouts/slideLayout7.xml"/><Relationship Id="rId1" Type="http://schemas.openxmlformats.org/officeDocument/2006/relationships/tags" Target="../tags/tag812.xml"/><Relationship Id="rId6" Type="http://schemas.openxmlformats.org/officeDocument/2006/relationships/chart" Target="../charts/chart62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6.xml.rels><?xml version="1.0" encoding="UTF-8" standalone="yes"?>
<Relationships xmlns="http://schemas.openxmlformats.org/package/2006/relationships"><Relationship Id="rId3" Type="http://schemas.openxmlformats.org/officeDocument/2006/relationships/notesSlide" Target="../notesSlides/notesSlide381.xml"/><Relationship Id="rId2" Type="http://schemas.openxmlformats.org/officeDocument/2006/relationships/slideLayout" Target="../slideLayouts/slideLayout7.xml"/><Relationship Id="rId1" Type="http://schemas.openxmlformats.org/officeDocument/2006/relationships/tags" Target="../tags/tag813.xml"/><Relationship Id="rId6" Type="http://schemas.openxmlformats.org/officeDocument/2006/relationships/chart" Target="../charts/chart62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7.xml.rels><?xml version="1.0" encoding="UTF-8" standalone="yes"?>
<Relationships xmlns="http://schemas.openxmlformats.org/package/2006/relationships"><Relationship Id="rId3" Type="http://schemas.openxmlformats.org/officeDocument/2006/relationships/notesSlide" Target="../notesSlides/notesSlide382.xml"/><Relationship Id="rId2" Type="http://schemas.openxmlformats.org/officeDocument/2006/relationships/slideLayout" Target="../slideLayouts/slideLayout7.xml"/><Relationship Id="rId1" Type="http://schemas.openxmlformats.org/officeDocument/2006/relationships/tags" Target="../tags/tag814.xml"/><Relationship Id="rId6" Type="http://schemas.openxmlformats.org/officeDocument/2006/relationships/chart" Target="../charts/chart62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8.xml.rels><?xml version="1.0" encoding="UTF-8" standalone="yes"?>
<Relationships xmlns="http://schemas.openxmlformats.org/package/2006/relationships"><Relationship Id="rId3" Type="http://schemas.openxmlformats.org/officeDocument/2006/relationships/notesSlide" Target="../notesSlides/notesSlide383.xml"/><Relationship Id="rId2" Type="http://schemas.openxmlformats.org/officeDocument/2006/relationships/slideLayout" Target="../slideLayouts/slideLayout7.xml"/><Relationship Id="rId1" Type="http://schemas.openxmlformats.org/officeDocument/2006/relationships/tags" Target="../tags/tag815.xml"/><Relationship Id="rId6" Type="http://schemas.openxmlformats.org/officeDocument/2006/relationships/chart" Target="../charts/chart62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9.xml.rels><?xml version="1.0" encoding="UTF-8" standalone="yes"?>
<Relationships xmlns="http://schemas.openxmlformats.org/package/2006/relationships"><Relationship Id="rId3" Type="http://schemas.openxmlformats.org/officeDocument/2006/relationships/notesSlide" Target="../notesSlides/notesSlide384.xml"/><Relationship Id="rId2" Type="http://schemas.openxmlformats.org/officeDocument/2006/relationships/slideLayout" Target="../slideLayouts/slideLayout7.xml"/><Relationship Id="rId1" Type="http://schemas.openxmlformats.org/officeDocument/2006/relationships/tags" Target="../tags/tag816.xml"/><Relationship Id="rId6" Type="http://schemas.openxmlformats.org/officeDocument/2006/relationships/chart" Target="../charts/chart62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9.xml"/></Relationships>
</file>

<file path=ppt/slides/_rels/slide790.xml.rels><?xml version="1.0" encoding="UTF-8" standalone="yes"?>
<Relationships xmlns="http://schemas.openxmlformats.org/package/2006/relationships"><Relationship Id="rId3" Type="http://schemas.openxmlformats.org/officeDocument/2006/relationships/notesSlide" Target="../notesSlides/notesSlide385.xml"/><Relationship Id="rId2" Type="http://schemas.openxmlformats.org/officeDocument/2006/relationships/slideLayout" Target="../slideLayouts/slideLayout7.xml"/><Relationship Id="rId1" Type="http://schemas.openxmlformats.org/officeDocument/2006/relationships/tags" Target="../tags/tag817.xml"/><Relationship Id="rId6" Type="http://schemas.openxmlformats.org/officeDocument/2006/relationships/chart" Target="../charts/chart62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91.xml.rels><?xml version="1.0" encoding="UTF-8" standalone="yes"?>
<Relationships xmlns="http://schemas.openxmlformats.org/package/2006/relationships"><Relationship Id="rId3" Type="http://schemas.openxmlformats.org/officeDocument/2006/relationships/notesSlide" Target="../notesSlides/notesSlide386.xml"/><Relationship Id="rId2" Type="http://schemas.openxmlformats.org/officeDocument/2006/relationships/slideLayout" Target="../slideLayouts/slideLayout7.xml"/><Relationship Id="rId1" Type="http://schemas.openxmlformats.org/officeDocument/2006/relationships/tags" Target="../tags/tag818.xml"/><Relationship Id="rId6" Type="http://schemas.openxmlformats.org/officeDocument/2006/relationships/chart" Target="../charts/chart62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92.xml.rels><?xml version="1.0" encoding="UTF-8" standalone="yes"?>
<Relationships xmlns="http://schemas.openxmlformats.org/package/2006/relationships"><Relationship Id="rId3" Type="http://schemas.openxmlformats.org/officeDocument/2006/relationships/notesSlide" Target="../notesSlides/notesSlide387.xml"/><Relationship Id="rId2" Type="http://schemas.openxmlformats.org/officeDocument/2006/relationships/slideLayout" Target="../slideLayouts/slideLayout7.xml"/><Relationship Id="rId1" Type="http://schemas.openxmlformats.org/officeDocument/2006/relationships/tags" Target="../tags/tag819.xml"/><Relationship Id="rId6" Type="http://schemas.openxmlformats.org/officeDocument/2006/relationships/chart" Target="../charts/chart62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93.xml.rels><?xml version="1.0" encoding="UTF-8" standalone="yes"?>
<Relationships xmlns="http://schemas.openxmlformats.org/package/2006/relationships"><Relationship Id="rId3" Type="http://schemas.openxmlformats.org/officeDocument/2006/relationships/notesSlide" Target="../notesSlides/notesSlide388.xml"/><Relationship Id="rId2" Type="http://schemas.openxmlformats.org/officeDocument/2006/relationships/slideLayout" Target="../slideLayouts/slideLayout7.xml"/><Relationship Id="rId1" Type="http://schemas.openxmlformats.org/officeDocument/2006/relationships/tags" Target="../tags/tag820.xml"/><Relationship Id="rId6" Type="http://schemas.openxmlformats.org/officeDocument/2006/relationships/chart" Target="../charts/chart62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94.xml.rels><?xml version="1.0" encoding="UTF-8" standalone="yes"?>
<Relationships xmlns="http://schemas.openxmlformats.org/package/2006/relationships"><Relationship Id="rId3" Type="http://schemas.openxmlformats.org/officeDocument/2006/relationships/notesSlide" Target="../notesSlides/notesSlide389.xml"/><Relationship Id="rId2" Type="http://schemas.openxmlformats.org/officeDocument/2006/relationships/slideLayout" Target="../slideLayouts/slideLayout7.xml"/><Relationship Id="rId1" Type="http://schemas.openxmlformats.org/officeDocument/2006/relationships/tags" Target="../tags/tag821.xml"/><Relationship Id="rId6" Type="http://schemas.openxmlformats.org/officeDocument/2006/relationships/chart" Target="../charts/chart63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95.xml.rels><?xml version="1.0" encoding="UTF-8" standalone="yes"?>
<Relationships xmlns="http://schemas.openxmlformats.org/package/2006/relationships"><Relationship Id="rId3" Type="http://schemas.openxmlformats.org/officeDocument/2006/relationships/notesSlide" Target="../notesSlides/notesSlide390.xml"/><Relationship Id="rId2" Type="http://schemas.openxmlformats.org/officeDocument/2006/relationships/slideLayout" Target="../slideLayouts/slideLayout7.xml"/><Relationship Id="rId1" Type="http://schemas.openxmlformats.org/officeDocument/2006/relationships/tags" Target="../tags/tag822.xml"/><Relationship Id="rId6" Type="http://schemas.openxmlformats.org/officeDocument/2006/relationships/chart" Target="../charts/chart63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96.xml.rels><?xml version="1.0" encoding="UTF-8" standalone="yes"?>
<Relationships xmlns="http://schemas.openxmlformats.org/package/2006/relationships"><Relationship Id="rId3" Type="http://schemas.openxmlformats.org/officeDocument/2006/relationships/notesSlide" Target="../notesSlides/notesSlide391.xml"/><Relationship Id="rId2" Type="http://schemas.openxmlformats.org/officeDocument/2006/relationships/slideLayout" Target="../slideLayouts/slideLayout7.xml"/><Relationship Id="rId1" Type="http://schemas.openxmlformats.org/officeDocument/2006/relationships/tags" Target="../tags/tag823.xml"/><Relationship Id="rId6" Type="http://schemas.openxmlformats.org/officeDocument/2006/relationships/chart" Target="../charts/chart63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97.xml.rels><?xml version="1.0" encoding="UTF-8" standalone="yes"?>
<Relationships xmlns="http://schemas.openxmlformats.org/package/2006/relationships"><Relationship Id="rId3" Type="http://schemas.openxmlformats.org/officeDocument/2006/relationships/notesSlide" Target="../notesSlides/notesSlide392.xml"/><Relationship Id="rId2" Type="http://schemas.openxmlformats.org/officeDocument/2006/relationships/slideLayout" Target="../slideLayouts/slideLayout7.xml"/><Relationship Id="rId1" Type="http://schemas.openxmlformats.org/officeDocument/2006/relationships/tags" Target="../tags/tag824.xml"/><Relationship Id="rId6" Type="http://schemas.openxmlformats.org/officeDocument/2006/relationships/chart" Target="../charts/chart63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98.xml.rels><?xml version="1.0" encoding="UTF-8" standalone="yes"?>
<Relationships xmlns="http://schemas.openxmlformats.org/package/2006/relationships"><Relationship Id="rId3" Type="http://schemas.openxmlformats.org/officeDocument/2006/relationships/notesSlide" Target="../notesSlides/notesSlide393.xml"/><Relationship Id="rId2" Type="http://schemas.openxmlformats.org/officeDocument/2006/relationships/slideLayout" Target="../slideLayouts/slideLayout7.xml"/><Relationship Id="rId1" Type="http://schemas.openxmlformats.org/officeDocument/2006/relationships/tags" Target="../tags/tag825.xml"/><Relationship Id="rId6" Type="http://schemas.openxmlformats.org/officeDocument/2006/relationships/chart" Target="../charts/chart63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99.xml.rels><?xml version="1.0" encoding="UTF-8" standalone="yes"?>
<Relationships xmlns="http://schemas.openxmlformats.org/package/2006/relationships"><Relationship Id="rId3" Type="http://schemas.openxmlformats.org/officeDocument/2006/relationships/notesSlide" Target="../notesSlides/notesSlide394.xml"/><Relationship Id="rId2" Type="http://schemas.openxmlformats.org/officeDocument/2006/relationships/slideLayout" Target="../slideLayouts/slideLayout7.xml"/><Relationship Id="rId1" Type="http://schemas.openxmlformats.org/officeDocument/2006/relationships/tags" Target="../tags/tag826.xml"/><Relationship Id="rId6" Type="http://schemas.openxmlformats.org/officeDocument/2006/relationships/chart" Target="../charts/chart63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xml"/></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0.xml"/></Relationships>
</file>

<file path=ppt/slides/_rels/slide800.xml.rels><?xml version="1.0" encoding="UTF-8" standalone="yes"?>
<Relationships xmlns="http://schemas.openxmlformats.org/package/2006/relationships"><Relationship Id="rId3" Type="http://schemas.openxmlformats.org/officeDocument/2006/relationships/notesSlide" Target="../notesSlides/notesSlide395.xml"/><Relationship Id="rId2" Type="http://schemas.openxmlformats.org/officeDocument/2006/relationships/slideLayout" Target="../slideLayouts/slideLayout7.xml"/><Relationship Id="rId1" Type="http://schemas.openxmlformats.org/officeDocument/2006/relationships/tags" Target="../tags/tag827.xml"/><Relationship Id="rId6" Type="http://schemas.openxmlformats.org/officeDocument/2006/relationships/chart" Target="../charts/chart63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01.xml.rels><?xml version="1.0" encoding="UTF-8" standalone="yes"?>
<Relationships xmlns="http://schemas.openxmlformats.org/package/2006/relationships"><Relationship Id="rId3" Type="http://schemas.openxmlformats.org/officeDocument/2006/relationships/notesSlide" Target="../notesSlides/notesSlide396.xml"/><Relationship Id="rId2" Type="http://schemas.openxmlformats.org/officeDocument/2006/relationships/slideLayout" Target="../slideLayouts/slideLayout7.xml"/><Relationship Id="rId1" Type="http://schemas.openxmlformats.org/officeDocument/2006/relationships/tags" Target="../tags/tag828.xml"/><Relationship Id="rId6" Type="http://schemas.openxmlformats.org/officeDocument/2006/relationships/chart" Target="../charts/chart63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02.xml.rels><?xml version="1.0" encoding="UTF-8" standalone="yes"?>
<Relationships xmlns="http://schemas.openxmlformats.org/package/2006/relationships"><Relationship Id="rId3" Type="http://schemas.openxmlformats.org/officeDocument/2006/relationships/notesSlide" Target="../notesSlides/notesSlide397.xml"/><Relationship Id="rId2" Type="http://schemas.openxmlformats.org/officeDocument/2006/relationships/slideLayout" Target="../slideLayouts/slideLayout7.xml"/><Relationship Id="rId1" Type="http://schemas.openxmlformats.org/officeDocument/2006/relationships/tags" Target="../tags/tag829.xml"/><Relationship Id="rId6" Type="http://schemas.openxmlformats.org/officeDocument/2006/relationships/chart" Target="../charts/chart63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03.xml.rels><?xml version="1.0" encoding="UTF-8" standalone="yes"?>
<Relationships xmlns="http://schemas.openxmlformats.org/package/2006/relationships"><Relationship Id="rId3" Type="http://schemas.openxmlformats.org/officeDocument/2006/relationships/notesSlide" Target="../notesSlides/notesSlide398.xml"/><Relationship Id="rId2" Type="http://schemas.openxmlformats.org/officeDocument/2006/relationships/slideLayout" Target="../slideLayouts/slideLayout7.xml"/><Relationship Id="rId1" Type="http://schemas.openxmlformats.org/officeDocument/2006/relationships/tags" Target="../tags/tag830.xml"/><Relationship Id="rId6" Type="http://schemas.openxmlformats.org/officeDocument/2006/relationships/chart" Target="../charts/chart63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04.xml.rels><?xml version="1.0" encoding="UTF-8" standalone="yes"?>
<Relationships xmlns="http://schemas.openxmlformats.org/package/2006/relationships"><Relationship Id="rId3" Type="http://schemas.openxmlformats.org/officeDocument/2006/relationships/notesSlide" Target="../notesSlides/notesSlide399.xml"/><Relationship Id="rId2" Type="http://schemas.openxmlformats.org/officeDocument/2006/relationships/slideLayout" Target="../slideLayouts/slideLayout7.xml"/><Relationship Id="rId1" Type="http://schemas.openxmlformats.org/officeDocument/2006/relationships/tags" Target="../tags/tag831.xml"/><Relationship Id="rId6" Type="http://schemas.openxmlformats.org/officeDocument/2006/relationships/chart" Target="../charts/chart64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05.xml.rels><?xml version="1.0" encoding="UTF-8" standalone="yes"?>
<Relationships xmlns="http://schemas.openxmlformats.org/package/2006/relationships"><Relationship Id="rId3" Type="http://schemas.openxmlformats.org/officeDocument/2006/relationships/notesSlide" Target="../notesSlides/notesSlide400.xml"/><Relationship Id="rId2" Type="http://schemas.openxmlformats.org/officeDocument/2006/relationships/slideLayout" Target="../slideLayouts/slideLayout7.xml"/><Relationship Id="rId1" Type="http://schemas.openxmlformats.org/officeDocument/2006/relationships/tags" Target="../tags/tag832.xml"/><Relationship Id="rId6" Type="http://schemas.openxmlformats.org/officeDocument/2006/relationships/chart" Target="../charts/chart64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06.xml.rels><?xml version="1.0" encoding="UTF-8" standalone="yes"?>
<Relationships xmlns="http://schemas.openxmlformats.org/package/2006/relationships"><Relationship Id="rId3" Type="http://schemas.openxmlformats.org/officeDocument/2006/relationships/notesSlide" Target="../notesSlides/notesSlide401.xml"/><Relationship Id="rId2" Type="http://schemas.openxmlformats.org/officeDocument/2006/relationships/slideLayout" Target="../slideLayouts/slideLayout7.xml"/><Relationship Id="rId1" Type="http://schemas.openxmlformats.org/officeDocument/2006/relationships/tags" Target="../tags/tag833.xml"/><Relationship Id="rId6" Type="http://schemas.openxmlformats.org/officeDocument/2006/relationships/chart" Target="../charts/chart64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07.xml.rels><?xml version="1.0" encoding="UTF-8" standalone="yes"?>
<Relationships xmlns="http://schemas.openxmlformats.org/package/2006/relationships"><Relationship Id="rId3" Type="http://schemas.openxmlformats.org/officeDocument/2006/relationships/notesSlide" Target="../notesSlides/notesSlide402.xml"/><Relationship Id="rId2" Type="http://schemas.openxmlformats.org/officeDocument/2006/relationships/slideLayout" Target="../slideLayouts/slideLayout7.xml"/><Relationship Id="rId1" Type="http://schemas.openxmlformats.org/officeDocument/2006/relationships/tags" Target="../tags/tag834.xml"/><Relationship Id="rId6" Type="http://schemas.openxmlformats.org/officeDocument/2006/relationships/chart" Target="../charts/chart64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08.xml.rels><?xml version="1.0" encoding="UTF-8" standalone="yes"?>
<Relationships xmlns="http://schemas.openxmlformats.org/package/2006/relationships"><Relationship Id="rId3" Type="http://schemas.openxmlformats.org/officeDocument/2006/relationships/notesSlide" Target="../notesSlides/notesSlide403.xml"/><Relationship Id="rId2" Type="http://schemas.openxmlformats.org/officeDocument/2006/relationships/slideLayout" Target="../slideLayouts/slideLayout7.xml"/><Relationship Id="rId1" Type="http://schemas.openxmlformats.org/officeDocument/2006/relationships/tags" Target="../tags/tag835.xml"/><Relationship Id="rId6" Type="http://schemas.openxmlformats.org/officeDocument/2006/relationships/chart" Target="../charts/chart64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09.xml.rels><?xml version="1.0" encoding="UTF-8" standalone="yes"?>
<Relationships xmlns="http://schemas.openxmlformats.org/package/2006/relationships"><Relationship Id="rId3" Type="http://schemas.openxmlformats.org/officeDocument/2006/relationships/notesSlide" Target="../notesSlides/notesSlide404.xml"/><Relationship Id="rId2" Type="http://schemas.openxmlformats.org/officeDocument/2006/relationships/slideLayout" Target="../slideLayouts/slideLayout7.xml"/><Relationship Id="rId1" Type="http://schemas.openxmlformats.org/officeDocument/2006/relationships/tags" Target="../tags/tag836.xml"/><Relationship Id="rId6" Type="http://schemas.openxmlformats.org/officeDocument/2006/relationships/chart" Target="../charts/chart64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1.xml"/></Relationships>
</file>

<file path=ppt/slides/_rels/slide810.xml.rels><?xml version="1.0" encoding="UTF-8" standalone="yes"?>
<Relationships xmlns="http://schemas.openxmlformats.org/package/2006/relationships"><Relationship Id="rId3" Type="http://schemas.openxmlformats.org/officeDocument/2006/relationships/notesSlide" Target="../notesSlides/notesSlide405.xml"/><Relationship Id="rId2" Type="http://schemas.openxmlformats.org/officeDocument/2006/relationships/slideLayout" Target="../slideLayouts/slideLayout7.xml"/><Relationship Id="rId1" Type="http://schemas.openxmlformats.org/officeDocument/2006/relationships/tags" Target="../tags/tag837.xml"/><Relationship Id="rId6" Type="http://schemas.openxmlformats.org/officeDocument/2006/relationships/chart" Target="../charts/chart64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11.xml.rels><?xml version="1.0" encoding="UTF-8" standalone="yes"?>
<Relationships xmlns="http://schemas.openxmlformats.org/package/2006/relationships"><Relationship Id="rId3" Type="http://schemas.openxmlformats.org/officeDocument/2006/relationships/notesSlide" Target="../notesSlides/notesSlide406.xml"/><Relationship Id="rId2" Type="http://schemas.openxmlformats.org/officeDocument/2006/relationships/slideLayout" Target="../slideLayouts/slideLayout7.xml"/><Relationship Id="rId1" Type="http://schemas.openxmlformats.org/officeDocument/2006/relationships/tags" Target="../tags/tag838.xml"/><Relationship Id="rId6" Type="http://schemas.openxmlformats.org/officeDocument/2006/relationships/chart" Target="../charts/chart64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12.xml.rels><?xml version="1.0" encoding="UTF-8" standalone="yes"?>
<Relationships xmlns="http://schemas.openxmlformats.org/package/2006/relationships"><Relationship Id="rId3" Type="http://schemas.openxmlformats.org/officeDocument/2006/relationships/notesSlide" Target="../notesSlides/notesSlide407.xml"/><Relationship Id="rId2" Type="http://schemas.openxmlformats.org/officeDocument/2006/relationships/slideLayout" Target="../slideLayouts/slideLayout7.xml"/><Relationship Id="rId1" Type="http://schemas.openxmlformats.org/officeDocument/2006/relationships/tags" Target="../tags/tag839.xml"/><Relationship Id="rId6" Type="http://schemas.openxmlformats.org/officeDocument/2006/relationships/chart" Target="../charts/chart64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13.xml.rels><?xml version="1.0" encoding="UTF-8" standalone="yes"?>
<Relationships xmlns="http://schemas.openxmlformats.org/package/2006/relationships"><Relationship Id="rId3" Type="http://schemas.openxmlformats.org/officeDocument/2006/relationships/notesSlide" Target="../notesSlides/notesSlide408.xml"/><Relationship Id="rId2" Type="http://schemas.openxmlformats.org/officeDocument/2006/relationships/slideLayout" Target="../slideLayouts/slideLayout7.xml"/><Relationship Id="rId1" Type="http://schemas.openxmlformats.org/officeDocument/2006/relationships/tags" Target="../tags/tag840.xml"/><Relationship Id="rId6" Type="http://schemas.openxmlformats.org/officeDocument/2006/relationships/chart" Target="../charts/chart64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14.xml.rels><?xml version="1.0" encoding="UTF-8" standalone="yes"?>
<Relationships xmlns="http://schemas.openxmlformats.org/package/2006/relationships"><Relationship Id="rId3" Type="http://schemas.openxmlformats.org/officeDocument/2006/relationships/notesSlide" Target="../notesSlides/notesSlide409.xml"/><Relationship Id="rId2" Type="http://schemas.openxmlformats.org/officeDocument/2006/relationships/slideLayout" Target="../slideLayouts/slideLayout7.xml"/><Relationship Id="rId1" Type="http://schemas.openxmlformats.org/officeDocument/2006/relationships/tags" Target="../tags/tag841.xml"/><Relationship Id="rId6" Type="http://schemas.openxmlformats.org/officeDocument/2006/relationships/chart" Target="../charts/chart65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15.xml.rels><?xml version="1.0" encoding="UTF-8" standalone="yes"?>
<Relationships xmlns="http://schemas.openxmlformats.org/package/2006/relationships"><Relationship Id="rId3" Type="http://schemas.openxmlformats.org/officeDocument/2006/relationships/notesSlide" Target="../notesSlides/notesSlide410.xml"/><Relationship Id="rId2" Type="http://schemas.openxmlformats.org/officeDocument/2006/relationships/slideLayout" Target="../slideLayouts/slideLayout7.xml"/><Relationship Id="rId1" Type="http://schemas.openxmlformats.org/officeDocument/2006/relationships/tags" Target="../tags/tag842.xml"/><Relationship Id="rId6" Type="http://schemas.openxmlformats.org/officeDocument/2006/relationships/chart" Target="../charts/chart65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16.xml.rels><?xml version="1.0" encoding="UTF-8" standalone="yes"?>
<Relationships xmlns="http://schemas.openxmlformats.org/package/2006/relationships"><Relationship Id="rId3" Type="http://schemas.openxmlformats.org/officeDocument/2006/relationships/notesSlide" Target="../notesSlides/notesSlide411.xml"/><Relationship Id="rId2" Type="http://schemas.openxmlformats.org/officeDocument/2006/relationships/slideLayout" Target="../slideLayouts/slideLayout7.xml"/><Relationship Id="rId1" Type="http://schemas.openxmlformats.org/officeDocument/2006/relationships/tags" Target="../tags/tag843.xml"/><Relationship Id="rId6" Type="http://schemas.openxmlformats.org/officeDocument/2006/relationships/chart" Target="../charts/chart65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17.xml.rels><?xml version="1.0" encoding="UTF-8" standalone="yes"?>
<Relationships xmlns="http://schemas.openxmlformats.org/package/2006/relationships"><Relationship Id="rId3" Type="http://schemas.openxmlformats.org/officeDocument/2006/relationships/notesSlide" Target="../notesSlides/notesSlide412.xml"/><Relationship Id="rId2" Type="http://schemas.openxmlformats.org/officeDocument/2006/relationships/slideLayout" Target="../slideLayouts/slideLayout7.xml"/><Relationship Id="rId1" Type="http://schemas.openxmlformats.org/officeDocument/2006/relationships/tags" Target="../tags/tag844.xml"/><Relationship Id="rId6" Type="http://schemas.openxmlformats.org/officeDocument/2006/relationships/chart" Target="../charts/chart65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18.xml.rels><?xml version="1.0" encoding="UTF-8" standalone="yes"?>
<Relationships xmlns="http://schemas.openxmlformats.org/package/2006/relationships"><Relationship Id="rId3" Type="http://schemas.openxmlformats.org/officeDocument/2006/relationships/notesSlide" Target="../notesSlides/notesSlide413.xml"/><Relationship Id="rId2" Type="http://schemas.openxmlformats.org/officeDocument/2006/relationships/slideLayout" Target="../slideLayouts/slideLayout7.xml"/><Relationship Id="rId1" Type="http://schemas.openxmlformats.org/officeDocument/2006/relationships/tags" Target="../tags/tag845.xml"/><Relationship Id="rId6" Type="http://schemas.openxmlformats.org/officeDocument/2006/relationships/chart" Target="../charts/chart65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19.xml.rels><?xml version="1.0" encoding="UTF-8" standalone="yes"?>
<Relationships xmlns="http://schemas.openxmlformats.org/package/2006/relationships"><Relationship Id="rId3" Type="http://schemas.openxmlformats.org/officeDocument/2006/relationships/notesSlide" Target="../notesSlides/notesSlide414.xml"/><Relationship Id="rId2" Type="http://schemas.openxmlformats.org/officeDocument/2006/relationships/slideLayout" Target="../slideLayouts/slideLayout7.xml"/><Relationship Id="rId1" Type="http://schemas.openxmlformats.org/officeDocument/2006/relationships/tags" Target="../tags/tag846.xml"/><Relationship Id="rId6" Type="http://schemas.openxmlformats.org/officeDocument/2006/relationships/chart" Target="../charts/chart65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2.xml"/></Relationships>
</file>

<file path=ppt/slides/_rels/slide820.xml.rels><?xml version="1.0" encoding="UTF-8" standalone="yes"?>
<Relationships xmlns="http://schemas.openxmlformats.org/package/2006/relationships"><Relationship Id="rId3" Type="http://schemas.openxmlformats.org/officeDocument/2006/relationships/notesSlide" Target="../notesSlides/notesSlide415.xml"/><Relationship Id="rId2" Type="http://schemas.openxmlformats.org/officeDocument/2006/relationships/slideLayout" Target="../slideLayouts/slideLayout7.xml"/><Relationship Id="rId1" Type="http://schemas.openxmlformats.org/officeDocument/2006/relationships/tags" Target="../tags/tag847.xml"/><Relationship Id="rId6" Type="http://schemas.openxmlformats.org/officeDocument/2006/relationships/chart" Target="../charts/chart65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21.xml.rels><?xml version="1.0" encoding="UTF-8" standalone="yes"?>
<Relationships xmlns="http://schemas.openxmlformats.org/package/2006/relationships"><Relationship Id="rId3" Type="http://schemas.openxmlformats.org/officeDocument/2006/relationships/notesSlide" Target="../notesSlides/notesSlide416.xml"/><Relationship Id="rId2" Type="http://schemas.openxmlformats.org/officeDocument/2006/relationships/slideLayout" Target="../slideLayouts/slideLayout7.xml"/><Relationship Id="rId1" Type="http://schemas.openxmlformats.org/officeDocument/2006/relationships/tags" Target="../tags/tag848.xml"/><Relationship Id="rId6" Type="http://schemas.openxmlformats.org/officeDocument/2006/relationships/chart" Target="../charts/chart65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22.xml.rels><?xml version="1.0" encoding="UTF-8" standalone="yes"?>
<Relationships xmlns="http://schemas.openxmlformats.org/package/2006/relationships"><Relationship Id="rId3" Type="http://schemas.openxmlformats.org/officeDocument/2006/relationships/notesSlide" Target="../notesSlides/notesSlide417.xml"/><Relationship Id="rId2" Type="http://schemas.openxmlformats.org/officeDocument/2006/relationships/slideLayout" Target="../slideLayouts/slideLayout7.xml"/><Relationship Id="rId1" Type="http://schemas.openxmlformats.org/officeDocument/2006/relationships/tags" Target="../tags/tag849.xml"/><Relationship Id="rId6" Type="http://schemas.openxmlformats.org/officeDocument/2006/relationships/chart" Target="../charts/chart65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23.xml.rels><?xml version="1.0" encoding="UTF-8" standalone="yes"?>
<Relationships xmlns="http://schemas.openxmlformats.org/package/2006/relationships"><Relationship Id="rId3" Type="http://schemas.openxmlformats.org/officeDocument/2006/relationships/notesSlide" Target="../notesSlides/notesSlide418.xml"/><Relationship Id="rId2" Type="http://schemas.openxmlformats.org/officeDocument/2006/relationships/slideLayout" Target="../slideLayouts/slideLayout7.xml"/><Relationship Id="rId1" Type="http://schemas.openxmlformats.org/officeDocument/2006/relationships/tags" Target="../tags/tag850.xml"/><Relationship Id="rId6" Type="http://schemas.openxmlformats.org/officeDocument/2006/relationships/chart" Target="../charts/chart65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24.xml.rels><?xml version="1.0" encoding="UTF-8" standalone="yes"?>
<Relationships xmlns="http://schemas.openxmlformats.org/package/2006/relationships"><Relationship Id="rId3" Type="http://schemas.openxmlformats.org/officeDocument/2006/relationships/notesSlide" Target="../notesSlides/notesSlide419.xml"/><Relationship Id="rId2" Type="http://schemas.openxmlformats.org/officeDocument/2006/relationships/slideLayout" Target="../slideLayouts/slideLayout7.xml"/><Relationship Id="rId1" Type="http://schemas.openxmlformats.org/officeDocument/2006/relationships/tags" Target="../tags/tag851.xml"/><Relationship Id="rId6" Type="http://schemas.openxmlformats.org/officeDocument/2006/relationships/chart" Target="../charts/chart66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25.xml.rels><?xml version="1.0" encoding="UTF-8" standalone="yes"?>
<Relationships xmlns="http://schemas.openxmlformats.org/package/2006/relationships"><Relationship Id="rId3" Type="http://schemas.openxmlformats.org/officeDocument/2006/relationships/notesSlide" Target="../notesSlides/notesSlide420.xml"/><Relationship Id="rId2" Type="http://schemas.openxmlformats.org/officeDocument/2006/relationships/slideLayout" Target="../slideLayouts/slideLayout7.xml"/><Relationship Id="rId1" Type="http://schemas.openxmlformats.org/officeDocument/2006/relationships/tags" Target="../tags/tag852.xml"/><Relationship Id="rId6" Type="http://schemas.openxmlformats.org/officeDocument/2006/relationships/chart" Target="../charts/chart66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26.xml.rels><?xml version="1.0" encoding="UTF-8" standalone="yes"?>
<Relationships xmlns="http://schemas.openxmlformats.org/package/2006/relationships"><Relationship Id="rId3" Type="http://schemas.openxmlformats.org/officeDocument/2006/relationships/notesSlide" Target="../notesSlides/notesSlide421.xml"/><Relationship Id="rId2" Type="http://schemas.openxmlformats.org/officeDocument/2006/relationships/slideLayout" Target="../slideLayouts/slideLayout7.xml"/><Relationship Id="rId1" Type="http://schemas.openxmlformats.org/officeDocument/2006/relationships/tags" Target="../tags/tag853.xml"/><Relationship Id="rId6" Type="http://schemas.openxmlformats.org/officeDocument/2006/relationships/chart" Target="../charts/chart66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27.xml.rels><?xml version="1.0" encoding="UTF-8" standalone="yes"?>
<Relationships xmlns="http://schemas.openxmlformats.org/package/2006/relationships"><Relationship Id="rId3" Type="http://schemas.openxmlformats.org/officeDocument/2006/relationships/notesSlide" Target="../notesSlides/notesSlide422.xml"/><Relationship Id="rId2" Type="http://schemas.openxmlformats.org/officeDocument/2006/relationships/slideLayout" Target="../slideLayouts/slideLayout7.xml"/><Relationship Id="rId1" Type="http://schemas.openxmlformats.org/officeDocument/2006/relationships/tags" Target="../tags/tag854.xml"/><Relationship Id="rId6" Type="http://schemas.openxmlformats.org/officeDocument/2006/relationships/chart" Target="../charts/chart66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28.xml.rels><?xml version="1.0" encoding="UTF-8" standalone="yes"?>
<Relationships xmlns="http://schemas.openxmlformats.org/package/2006/relationships"><Relationship Id="rId3" Type="http://schemas.openxmlformats.org/officeDocument/2006/relationships/notesSlide" Target="../notesSlides/notesSlide423.xml"/><Relationship Id="rId2" Type="http://schemas.openxmlformats.org/officeDocument/2006/relationships/slideLayout" Target="../slideLayouts/slideLayout7.xml"/><Relationship Id="rId1" Type="http://schemas.openxmlformats.org/officeDocument/2006/relationships/tags" Target="../tags/tag855.xml"/><Relationship Id="rId6" Type="http://schemas.openxmlformats.org/officeDocument/2006/relationships/chart" Target="../charts/chart66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29.xml.rels><?xml version="1.0" encoding="UTF-8" standalone="yes"?>
<Relationships xmlns="http://schemas.openxmlformats.org/package/2006/relationships"><Relationship Id="rId3" Type="http://schemas.openxmlformats.org/officeDocument/2006/relationships/notesSlide" Target="../notesSlides/notesSlide424.xml"/><Relationship Id="rId2" Type="http://schemas.openxmlformats.org/officeDocument/2006/relationships/slideLayout" Target="../slideLayouts/slideLayout7.xml"/><Relationship Id="rId1" Type="http://schemas.openxmlformats.org/officeDocument/2006/relationships/tags" Target="../tags/tag856.xml"/><Relationship Id="rId6" Type="http://schemas.openxmlformats.org/officeDocument/2006/relationships/chart" Target="../charts/chart66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3.xml"/></Relationships>
</file>

<file path=ppt/slides/_rels/slide830.xml.rels><?xml version="1.0" encoding="UTF-8" standalone="yes"?>
<Relationships xmlns="http://schemas.openxmlformats.org/package/2006/relationships"><Relationship Id="rId3" Type="http://schemas.openxmlformats.org/officeDocument/2006/relationships/notesSlide" Target="../notesSlides/notesSlide425.xml"/><Relationship Id="rId2" Type="http://schemas.openxmlformats.org/officeDocument/2006/relationships/slideLayout" Target="../slideLayouts/slideLayout7.xml"/><Relationship Id="rId1" Type="http://schemas.openxmlformats.org/officeDocument/2006/relationships/tags" Target="../tags/tag857.xml"/><Relationship Id="rId6" Type="http://schemas.openxmlformats.org/officeDocument/2006/relationships/chart" Target="../charts/chart66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31.xml.rels><?xml version="1.0" encoding="UTF-8" standalone="yes"?>
<Relationships xmlns="http://schemas.openxmlformats.org/package/2006/relationships"><Relationship Id="rId3" Type="http://schemas.openxmlformats.org/officeDocument/2006/relationships/notesSlide" Target="../notesSlides/notesSlide426.xml"/><Relationship Id="rId2" Type="http://schemas.openxmlformats.org/officeDocument/2006/relationships/slideLayout" Target="../slideLayouts/slideLayout7.xml"/><Relationship Id="rId1" Type="http://schemas.openxmlformats.org/officeDocument/2006/relationships/tags" Target="../tags/tag858.xml"/><Relationship Id="rId6" Type="http://schemas.openxmlformats.org/officeDocument/2006/relationships/chart" Target="../charts/chart66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32.xml.rels><?xml version="1.0" encoding="UTF-8" standalone="yes"?>
<Relationships xmlns="http://schemas.openxmlformats.org/package/2006/relationships"><Relationship Id="rId3" Type="http://schemas.openxmlformats.org/officeDocument/2006/relationships/notesSlide" Target="../notesSlides/notesSlide427.xml"/><Relationship Id="rId2" Type="http://schemas.openxmlformats.org/officeDocument/2006/relationships/slideLayout" Target="../slideLayouts/slideLayout7.xml"/><Relationship Id="rId1" Type="http://schemas.openxmlformats.org/officeDocument/2006/relationships/tags" Target="../tags/tag859.xml"/><Relationship Id="rId6" Type="http://schemas.openxmlformats.org/officeDocument/2006/relationships/chart" Target="../charts/chart66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33.xml.rels><?xml version="1.0" encoding="UTF-8" standalone="yes"?>
<Relationships xmlns="http://schemas.openxmlformats.org/package/2006/relationships"><Relationship Id="rId3" Type="http://schemas.openxmlformats.org/officeDocument/2006/relationships/notesSlide" Target="../notesSlides/notesSlide428.xml"/><Relationship Id="rId2" Type="http://schemas.openxmlformats.org/officeDocument/2006/relationships/slideLayout" Target="../slideLayouts/slideLayout7.xml"/><Relationship Id="rId1" Type="http://schemas.openxmlformats.org/officeDocument/2006/relationships/tags" Target="../tags/tag860.xml"/><Relationship Id="rId6" Type="http://schemas.openxmlformats.org/officeDocument/2006/relationships/chart" Target="../charts/chart66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34.xml.rels><?xml version="1.0" encoding="UTF-8" standalone="yes"?>
<Relationships xmlns="http://schemas.openxmlformats.org/package/2006/relationships"><Relationship Id="rId3" Type="http://schemas.openxmlformats.org/officeDocument/2006/relationships/notesSlide" Target="../notesSlides/notesSlide429.xml"/><Relationship Id="rId2" Type="http://schemas.openxmlformats.org/officeDocument/2006/relationships/slideLayout" Target="../slideLayouts/slideLayout7.xml"/><Relationship Id="rId1" Type="http://schemas.openxmlformats.org/officeDocument/2006/relationships/tags" Target="../tags/tag861.xml"/><Relationship Id="rId6" Type="http://schemas.openxmlformats.org/officeDocument/2006/relationships/chart" Target="../charts/chart67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35.xml.rels><?xml version="1.0" encoding="UTF-8" standalone="yes"?>
<Relationships xmlns="http://schemas.openxmlformats.org/package/2006/relationships"><Relationship Id="rId3" Type="http://schemas.openxmlformats.org/officeDocument/2006/relationships/notesSlide" Target="../notesSlides/notesSlide430.xml"/><Relationship Id="rId2" Type="http://schemas.openxmlformats.org/officeDocument/2006/relationships/slideLayout" Target="../slideLayouts/slideLayout7.xml"/><Relationship Id="rId1" Type="http://schemas.openxmlformats.org/officeDocument/2006/relationships/tags" Target="../tags/tag862.xml"/><Relationship Id="rId6" Type="http://schemas.openxmlformats.org/officeDocument/2006/relationships/chart" Target="../charts/chart67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36.xml.rels><?xml version="1.0" encoding="UTF-8" standalone="yes"?>
<Relationships xmlns="http://schemas.openxmlformats.org/package/2006/relationships"><Relationship Id="rId3" Type="http://schemas.openxmlformats.org/officeDocument/2006/relationships/notesSlide" Target="../notesSlides/notesSlide431.xml"/><Relationship Id="rId2" Type="http://schemas.openxmlformats.org/officeDocument/2006/relationships/slideLayout" Target="../slideLayouts/slideLayout7.xml"/><Relationship Id="rId1" Type="http://schemas.openxmlformats.org/officeDocument/2006/relationships/tags" Target="../tags/tag863.xml"/><Relationship Id="rId6" Type="http://schemas.openxmlformats.org/officeDocument/2006/relationships/chart" Target="../charts/chart67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37.xml.rels><?xml version="1.0" encoding="UTF-8" standalone="yes"?>
<Relationships xmlns="http://schemas.openxmlformats.org/package/2006/relationships"><Relationship Id="rId3" Type="http://schemas.openxmlformats.org/officeDocument/2006/relationships/notesSlide" Target="../notesSlides/notesSlide432.xml"/><Relationship Id="rId2" Type="http://schemas.openxmlformats.org/officeDocument/2006/relationships/slideLayout" Target="../slideLayouts/slideLayout7.xml"/><Relationship Id="rId1" Type="http://schemas.openxmlformats.org/officeDocument/2006/relationships/tags" Target="../tags/tag864.xml"/><Relationship Id="rId6" Type="http://schemas.openxmlformats.org/officeDocument/2006/relationships/chart" Target="../charts/chart67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38.xml.rels><?xml version="1.0" encoding="UTF-8" standalone="yes"?>
<Relationships xmlns="http://schemas.openxmlformats.org/package/2006/relationships"><Relationship Id="rId3" Type="http://schemas.openxmlformats.org/officeDocument/2006/relationships/notesSlide" Target="../notesSlides/notesSlide433.xml"/><Relationship Id="rId2" Type="http://schemas.openxmlformats.org/officeDocument/2006/relationships/slideLayout" Target="../slideLayouts/slideLayout7.xml"/><Relationship Id="rId1" Type="http://schemas.openxmlformats.org/officeDocument/2006/relationships/tags" Target="../tags/tag865.xml"/><Relationship Id="rId6" Type="http://schemas.openxmlformats.org/officeDocument/2006/relationships/chart" Target="../charts/chart6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39.xml.rels><?xml version="1.0" encoding="UTF-8" standalone="yes"?>
<Relationships xmlns="http://schemas.openxmlformats.org/package/2006/relationships"><Relationship Id="rId3" Type="http://schemas.openxmlformats.org/officeDocument/2006/relationships/notesSlide" Target="../notesSlides/notesSlide434.xml"/><Relationship Id="rId2" Type="http://schemas.openxmlformats.org/officeDocument/2006/relationships/slideLayout" Target="../slideLayouts/slideLayout7.xml"/><Relationship Id="rId1" Type="http://schemas.openxmlformats.org/officeDocument/2006/relationships/tags" Target="../tags/tag866.xml"/><Relationship Id="rId6" Type="http://schemas.openxmlformats.org/officeDocument/2006/relationships/chart" Target="../charts/chart6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4.xml"/></Relationships>
</file>

<file path=ppt/slides/_rels/slide840.xml.rels><?xml version="1.0" encoding="UTF-8" standalone="yes"?>
<Relationships xmlns="http://schemas.openxmlformats.org/package/2006/relationships"><Relationship Id="rId3" Type="http://schemas.openxmlformats.org/officeDocument/2006/relationships/notesSlide" Target="../notesSlides/notesSlide435.xml"/><Relationship Id="rId2" Type="http://schemas.openxmlformats.org/officeDocument/2006/relationships/slideLayout" Target="../slideLayouts/slideLayout7.xml"/><Relationship Id="rId1" Type="http://schemas.openxmlformats.org/officeDocument/2006/relationships/tags" Target="../tags/tag867.xml"/><Relationship Id="rId6" Type="http://schemas.openxmlformats.org/officeDocument/2006/relationships/chart" Target="../charts/chart6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41.xml.rels><?xml version="1.0" encoding="UTF-8" standalone="yes"?>
<Relationships xmlns="http://schemas.openxmlformats.org/package/2006/relationships"><Relationship Id="rId3" Type="http://schemas.openxmlformats.org/officeDocument/2006/relationships/notesSlide" Target="../notesSlides/notesSlide436.xml"/><Relationship Id="rId2" Type="http://schemas.openxmlformats.org/officeDocument/2006/relationships/slideLayout" Target="../slideLayouts/slideLayout7.xml"/><Relationship Id="rId1" Type="http://schemas.openxmlformats.org/officeDocument/2006/relationships/tags" Target="../tags/tag868.xml"/><Relationship Id="rId6" Type="http://schemas.openxmlformats.org/officeDocument/2006/relationships/chart" Target="../charts/chart6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42.xml.rels><?xml version="1.0" encoding="UTF-8" standalone="yes"?>
<Relationships xmlns="http://schemas.openxmlformats.org/package/2006/relationships"><Relationship Id="rId3" Type="http://schemas.openxmlformats.org/officeDocument/2006/relationships/notesSlide" Target="../notesSlides/notesSlide437.xml"/><Relationship Id="rId2" Type="http://schemas.openxmlformats.org/officeDocument/2006/relationships/slideLayout" Target="../slideLayouts/slideLayout7.xml"/><Relationship Id="rId1" Type="http://schemas.openxmlformats.org/officeDocument/2006/relationships/tags" Target="../tags/tag869.xml"/><Relationship Id="rId6" Type="http://schemas.openxmlformats.org/officeDocument/2006/relationships/chart" Target="../charts/chart6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43.xml.rels><?xml version="1.0" encoding="UTF-8" standalone="yes"?>
<Relationships xmlns="http://schemas.openxmlformats.org/package/2006/relationships"><Relationship Id="rId3" Type="http://schemas.openxmlformats.org/officeDocument/2006/relationships/notesSlide" Target="../notesSlides/notesSlide438.xml"/><Relationship Id="rId2" Type="http://schemas.openxmlformats.org/officeDocument/2006/relationships/slideLayout" Target="../slideLayouts/slideLayout7.xml"/><Relationship Id="rId1" Type="http://schemas.openxmlformats.org/officeDocument/2006/relationships/tags" Target="../tags/tag870.xml"/><Relationship Id="rId6" Type="http://schemas.openxmlformats.org/officeDocument/2006/relationships/chart" Target="../charts/chart6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44.xml.rels><?xml version="1.0" encoding="UTF-8" standalone="yes"?>
<Relationships xmlns="http://schemas.openxmlformats.org/package/2006/relationships"><Relationship Id="rId3" Type="http://schemas.openxmlformats.org/officeDocument/2006/relationships/notesSlide" Target="../notesSlides/notesSlide439.xml"/><Relationship Id="rId2" Type="http://schemas.openxmlformats.org/officeDocument/2006/relationships/slideLayout" Target="../slideLayouts/slideLayout7.xml"/><Relationship Id="rId1" Type="http://schemas.openxmlformats.org/officeDocument/2006/relationships/tags" Target="../tags/tag871.xml"/><Relationship Id="rId6" Type="http://schemas.openxmlformats.org/officeDocument/2006/relationships/chart" Target="../charts/chart6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45.xml.rels><?xml version="1.0" encoding="UTF-8" standalone="yes"?>
<Relationships xmlns="http://schemas.openxmlformats.org/package/2006/relationships"><Relationship Id="rId3" Type="http://schemas.openxmlformats.org/officeDocument/2006/relationships/notesSlide" Target="../notesSlides/notesSlide440.xml"/><Relationship Id="rId2" Type="http://schemas.openxmlformats.org/officeDocument/2006/relationships/slideLayout" Target="../slideLayouts/slideLayout7.xml"/><Relationship Id="rId1" Type="http://schemas.openxmlformats.org/officeDocument/2006/relationships/tags" Target="../tags/tag872.xml"/><Relationship Id="rId6" Type="http://schemas.openxmlformats.org/officeDocument/2006/relationships/chart" Target="../charts/chart6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46.xml.rels><?xml version="1.0" encoding="UTF-8" standalone="yes"?>
<Relationships xmlns="http://schemas.openxmlformats.org/package/2006/relationships"><Relationship Id="rId3" Type="http://schemas.openxmlformats.org/officeDocument/2006/relationships/notesSlide" Target="../notesSlides/notesSlide441.xml"/><Relationship Id="rId2" Type="http://schemas.openxmlformats.org/officeDocument/2006/relationships/slideLayout" Target="../slideLayouts/slideLayout7.xml"/><Relationship Id="rId1" Type="http://schemas.openxmlformats.org/officeDocument/2006/relationships/tags" Target="../tags/tag873.xml"/><Relationship Id="rId6" Type="http://schemas.openxmlformats.org/officeDocument/2006/relationships/chart" Target="../charts/chart68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47.xml.rels><?xml version="1.0" encoding="UTF-8" standalone="yes"?>
<Relationships xmlns="http://schemas.openxmlformats.org/package/2006/relationships"><Relationship Id="rId3" Type="http://schemas.openxmlformats.org/officeDocument/2006/relationships/notesSlide" Target="../notesSlides/notesSlide442.xml"/><Relationship Id="rId2" Type="http://schemas.openxmlformats.org/officeDocument/2006/relationships/slideLayout" Target="../slideLayouts/slideLayout7.xml"/><Relationship Id="rId1" Type="http://schemas.openxmlformats.org/officeDocument/2006/relationships/tags" Target="../tags/tag874.xml"/><Relationship Id="rId6" Type="http://schemas.openxmlformats.org/officeDocument/2006/relationships/chart" Target="../charts/chart68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48.xml.rels><?xml version="1.0" encoding="UTF-8" standalone="yes"?>
<Relationships xmlns="http://schemas.openxmlformats.org/package/2006/relationships"><Relationship Id="rId3" Type="http://schemas.openxmlformats.org/officeDocument/2006/relationships/notesSlide" Target="../notesSlides/notesSlide443.xml"/><Relationship Id="rId2" Type="http://schemas.openxmlformats.org/officeDocument/2006/relationships/slideLayout" Target="../slideLayouts/slideLayout7.xml"/><Relationship Id="rId1" Type="http://schemas.openxmlformats.org/officeDocument/2006/relationships/tags" Target="../tags/tag875.xml"/><Relationship Id="rId6" Type="http://schemas.openxmlformats.org/officeDocument/2006/relationships/chart" Target="../charts/chart68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49.xml.rels><?xml version="1.0" encoding="UTF-8" standalone="yes"?>
<Relationships xmlns="http://schemas.openxmlformats.org/package/2006/relationships"><Relationship Id="rId3" Type="http://schemas.openxmlformats.org/officeDocument/2006/relationships/notesSlide" Target="../notesSlides/notesSlide444.xml"/><Relationship Id="rId2" Type="http://schemas.openxmlformats.org/officeDocument/2006/relationships/slideLayout" Target="../slideLayouts/slideLayout7.xml"/><Relationship Id="rId1" Type="http://schemas.openxmlformats.org/officeDocument/2006/relationships/tags" Target="../tags/tag876.xml"/><Relationship Id="rId6" Type="http://schemas.openxmlformats.org/officeDocument/2006/relationships/chart" Target="../charts/chart68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5.xml"/></Relationships>
</file>

<file path=ppt/slides/_rels/slide850.xml.rels><?xml version="1.0" encoding="UTF-8" standalone="yes"?>
<Relationships xmlns="http://schemas.openxmlformats.org/package/2006/relationships"><Relationship Id="rId3" Type="http://schemas.openxmlformats.org/officeDocument/2006/relationships/notesSlide" Target="../notesSlides/notesSlide445.xml"/><Relationship Id="rId2" Type="http://schemas.openxmlformats.org/officeDocument/2006/relationships/slideLayout" Target="../slideLayouts/slideLayout7.xml"/><Relationship Id="rId1" Type="http://schemas.openxmlformats.org/officeDocument/2006/relationships/tags" Target="../tags/tag877.xml"/><Relationship Id="rId6" Type="http://schemas.openxmlformats.org/officeDocument/2006/relationships/chart" Target="../charts/chart68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51.xml.rels><?xml version="1.0" encoding="UTF-8" standalone="yes"?>
<Relationships xmlns="http://schemas.openxmlformats.org/package/2006/relationships"><Relationship Id="rId3" Type="http://schemas.openxmlformats.org/officeDocument/2006/relationships/notesSlide" Target="../notesSlides/notesSlide446.xml"/><Relationship Id="rId2" Type="http://schemas.openxmlformats.org/officeDocument/2006/relationships/slideLayout" Target="../slideLayouts/slideLayout7.xml"/><Relationship Id="rId1" Type="http://schemas.openxmlformats.org/officeDocument/2006/relationships/tags" Target="../tags/tag878.xml"/><Relationship Id="rId6" Type="http://schemas.openxmlformats.org/officeDocument/2006/relationships/chart" Target="../charts/chart68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52.xml.rels><?xml version="1.0" encoding="UTF-8" standalone="yes"?>
<Relationships xmlns="http://schemas.openxmlformats.org/package/2006/relationships"><Relationship Id="rId3" Type="http://schemas.openxmlformats.org/officeDocument/2006/relationships/notesSlide" Target="../notesSlides/notesSlide447.xml"/><Relationship Id="rId2" Type="http://schemas.openxmlformats.org/officeDocument/2006/relationships/slideLayout" Target="../slideLayouts/slideLayout7.xml"/><Relationship Id="rId1" Type="http://schemas.openxmlformats.org/officeDocument/2006/relationships/tags" Target="../tags/tag879.xml"/><Relationship Id="rId6" Type="http://schemas.openxmlformats.org/officeDocument/2006/relationships/chart" Target="../charts/chart68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53.xml.rels><?xml version="1.0" encoding="UTF-8" standalone="yes"?>
<Relationships xmlns="http://schemas.openxmlformats.org/package/2006/relationships"><Relationship Id="rId3" Type="http://schemas.openxmlformats.org/officeDocument/2006/relationships/notesSlide" Target="../notesSlides/notesSlide448.xml"/><Relationship Id="rId2" Type="http://schemas.openxmlformats.org/officeDocument/2006/relationships/slideLayout" Target="../slideLayouts/slideLayout7.xml"/><Relationship Id="rId1" Type="http://schemas.openxmlformats.org/officeDocument/2006/relationships/tags" Target="../tags/tag880.xml"/><Relationship Id="rId6" Type="http://schemas.openxmlformats.org/officeDocument/2006/relationships/chart" Target="../charts/chart68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54.xml.rels><?xml version="1.0" encoding="UTF-8" standalone="yes"?>
<Relationships xmlns="http://schemas.openxmlformats.org/package/2006/relationships"><Relationship Id="rId3" Type="http://schemas.openxmlformats.org/officeDocument/2006/relationships/notesSlide" Target="../notesSlides/notesSlide449.xml"/><Relationship Id="rId2" Type="http://schemas.openxmlformats.org/officeDocument/2006/relationships/slideLayout" Target="../slideLayouts/slideLayout7.xml"/><Relationship Id="rId1" Type="http://schemas.openxmlformats.org/officeDocument/2006/relationships/tags" Target="../tags/tag881.xml"/><Relationship Id="rId6" Type="http://schemas.openxmlformats.org/officeDocument/2006/relationships/chart" Target="../charts/chart69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55.xml.rels><?xml version="1.0" encoding="UTF-8" standalone="yes"?>
<Relationships xmlns="http://schemas.openxmlformats.org/package/2006/relationships"><Relationship Id="rId3" Type="http://schemas.openxmlformats.org/officeDocument/2006/relationships/notesSlide" Target="../notesSlides/notesSlide450.xml"/><Relationship Id="rId2" Type="http://schemas.openxmlformats.org/officeDocument/2006/relationships/slideLayout" Target="../slideLayouts/slideLayout7.xml"/><Relationship Id="rId1" Type="http://schemas.openxmlformats.org/officeDocument/2006/relationships/tags" Target="../tags/tag882.xml"/><Relationship Id="rId6" Type="http://schemas.openxmlformats.org/officeDocument/2006/relationships/chart" Target="../charts/chart69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56.xml.rels><?xml version="1.0" encoding="UTF-8" standalone="yes"?>
<Relationships xmlns="http://schemas.openxmlformats.org/package/2006/relationships"><Relationship Id="rId3" Type="http://schemas.openxmlformats.org/officeDocument/2006/relationships/notesSlide" Target="../notesSlides/notesSlide451.xml"/><Relationship Id="rId2" Type="http://schemas.openxmlformats.org/officeDocument/2006/relationships/slideLayout" Target="../slideLayouts/slideLayout7.xml"/><Relationship Id="rId1" Type="http://schemas.openxmlformats.org/officeDocument/2006/relationships/tags" Target="../tags/tag883.xml"/><Relationship Id="rId6" Type="http://schemas.openxmlformats.org/officeDocument/2006/relationships/chart" Target="../charts/chart69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57.xml.rels><?xml version="1.0" encoding="UTF-8" standalone="yes"?>
<Relationships xmlns="http://schemas.openxmlformats.org/package/2006/relationships"><Relationship Id="rId3" Type="http://schemas.openxmlformats.org/officeDocument/2006/relationships/notesSlide" Target="../notesSlides/notesSlide452.xml"/><Relationship Id="rId2" Type="http://schemas.openxmlformats.org/officeDocument/2006/relationships/slideLayout" Target="../slideLayouts/slideLayout7.xml"/><Relationship Id="rId1" Type="http://schemas.openxmlformats.org/officeDocument/2006/relationships/tags" Target="../tags/tag884.xml"/><Relationship Id="rId6" Type="http://schemas.openxmlformats.org/officeDocument/2006/relationships/chart" Target="../charts/chart69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58.xml.rels><?xml version="1.0" encoding="UTF-8" standalone="yes"?>
<Relationships xmlns="http://schemas.openxmlformats.org/package/2006/relationships"><Relationship Id="rId3" Type="http://schemas.openxmlformats.org/officeDocument/2006/relationships/notesSlide" Target="../notesSlides/notesSlide453.xml"/><Relationship Id="rId2" Type="http://schemas.openxmlformats.org/officeDocument/2006/relationships/slideLayout" Target="../slideLayouts/slideLayout7.xml"/><Relationship Id="rId1" Type="http://schemas.openxmlformats.org/officeDocument/2006/relationships/tags" Target="../tags/tag885.xml"/><Relationship Id="rId6" Type="http://schemas.openxmlformats.org/officeDocument/2006/relationships/chart" Target="../charts/chart69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59.xml.rels><?xml version="1.0" encoding="UTF-8" standalone="yes"?>
<Relationships xmlns="http://schemas.openxmlformats.org/package/2006/relationships"><Relationship Id="rId3" Type="http://schemas.openxmlformats.org/officeDocument/2006/relationships/notesSlide" Target="../notesSlides/notesSlide454.xml"/><Relationship Id="rId2" Type="http://schemas.openxmlformats.org/officeDocument/2006/relationships/slideLayout" Target="../slideLayouts/slideLayout7.xml"/><Relationship Id="rId1" Type="http://schemas.openxmlformats.org/officeDocument/2006/relationships/tags" Target="../tags/tag886.xml"/><Relationship Id="rId6" Type="http://schemas.openxmlformats.org/officeDocument/2006/relationships/chart" Target="../charts/chart69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6.xml"/></Relationships>
</file>

<file path=ppt/slides/_rels/slide860.xml.rels><?xml version="1.0" encoding="UTF-8" standalone="yes"?>
<Relationships xmlns="http://schemas.openxmlformats.org/package/2006/relationships"><Relationship Id="rId3" Type="http://schemas.openxmlformats.org/officeDocument/2006/relationships/notesSlide" Target="../notesSlides/notesSlide455.xml"/><Relationship Id="rId2" Type="http://schemas.openxmlformats.org/officeDocument/2006/relationships/slideLayout" Target="../slideLayouts/slideLayout7.xml"/><Relationship Id="rId1" Type="http://schemas.openxmlformats.org/officeDocument/2006/relationships/tags" Target="../tags/tag887.xml"/><Relationship Id="rId6" Type="http://schemas.openxmlformats.org/officeDocument/2006/relationships/chart" Target="../charts/chart69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61.xml.rels><?xml version="1.0" encoding="UTF-8" standalone="yes"?>
<Relationships xmlns="http://schemas.openxmlformats.org/package/2006/relationships"><Relationship Id="rId3" Type="http://schemas.openxmlformats.org/officeDocument/2006/relationships/notesSlide" Target="../notesSlides/notesSlide456.xml"/><Relationship Id="rId2" Type="http://schemas.openxmlformats.org/officeDocument/2006/relationships/slideLayout" Target="../slideLayouts/slideLayout7.xml"/><Relationship Id="rId1" Type="http://schemas.openxmlformats.org/officeDocument/2006/relationships/tags" Target="../tags/tag888.xml"/><Relationship Id="rId6" Type="http://schemas.openxmlformats.org/officeDocument/2006/relationships/chart" Target="../charts/chart69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62.xml.rels><?xml version="1.0" encoding="UTF-8" standalone="yes"?>
<Relationships xmlns="http://schemas.openxmlformats.org/package/2006/relationships"><Relationship Id="rId3" Type="http://schemas.openxmlformats.org/officeDocument/2006/relationships/notesSlide" Target="../notesSlides/notesSlide457.xml"/><Relationship Id="rId2" Type="http://schemas.openxmlformats.org/officeDocument/2006/relationships/slideLayout" Target="../slideLayouts/slideLayout7.xml"/><Relationship Id="rId1" Type="http://schemas.openxmlformats.org/officeDocument/2006/relationships/tags" Target="../tags/tag889.xml"/><Relationship Id="rId6" Type="http://schemas.openxmlformats.org/officeDocument/2006/relationships/chart" Target="../charts/chart69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63.xml.rels><?xml version="1.0" encoding="UTF-8" standalone="yes"?>
<Relationships xmlns="http://schemas.openxmlformats.org/package/2006/relationships"><Relationship Id="rId3" Type="http://schemas.openxmlformats.org/officeDocument/2006/relationships/notesSlide" Target="../notesSlides/notesSlide458.xml"/><Relationship Id="rId2" Type="http://schemas.openxmlformats.org/officeDocument/2006/relationships/slideLayout" Target="../slideLayouts/slideLayout7.xml"/><Relationship Id="rId1" Type="http://schemas.openxmlformats.org/officeDocument/2006/relationships/tags" Target="../tags/tag890.xml"/><Relationship Id="rId6" Type="http://schemas.openxmlformats.org/officeDocument/2006/relationships/chart" Target="../charts/chart69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64.xml.rels><?xml version="1.0" encoding="UTF-8" standalone="yes"?>
<Relationships xmlns="http://schemas.openxmlformats.org/package/2006/relationships"><Relationship Id="rId3" Type="http://schemas.openxmlformats.org/officeDocument/2006/relationships/notesSlide" Target="../notesSlides/notesSlide459.xml"/><Relationship Id="rId2" Type="http://schemas.openxmlformats.org/officeDocument/2006/relationships/slideLayout" Target="../slideLayouts/slideLayout7.xml"/><Relationship Id="rId1" Type="http://schemas.openxmlformats.org/officeDocument/2006/relationships/tags" Target="../tags/tag891.xml"/><Relationship Id="rId6" Type="http://schemas.openxmlformats.org/officeDocument/2006/relationships/chart" Target="../charts/chart70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65.xml.rels><?xml version="1.0" encoding="UTF-8" standalone="yes"?>
<Relationships xmlns="http://schemas.openxmlformats.org/package/2006/relationships"><Relationship Id="rId3" Type="http://schemas.openxmlformats.org/officeDocument/2006/relationships/notesSlide" Target="../notesSlides/notesSlide460.xml"/><Relationship Id="rId2" Type="http://schemas.openxmlformats.org/officeDocument/2006/relationships/slideLayout" Target="../slideLayouts/slideLayout7.xml"/><Relationship Id="rId1" Type="http://schemas.openxmlformats.org/officeDocument/2006/relationships/tags" Target="../tags/tag892.xml"/><Relationship Id="rId6" Type="http://schemas.openxmlformats.org/officeDocument/2006/relationships/chart" Target="../charts/chart70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66.xml.rels><?xml version="1.0" encoding="UTF-8" standalone="yes"?>
<Relationships xmlns="http://schemas.openxmlformats.org/package/2006/relationships"><Relationship Id="rId3" Type="http://schemas.openxmlformats.org/officeDocument/2006/relationships/notesSlide" Target="../notesSlides/notesSlide461.xml"/><Relationship Id="rId2" Type="http://schemas.openxmlformats.org/officeDocument/2006/relationships/slideLayout" Target="../slideLayouts/slideLayout7.xml"/><Relationship Id="rId1" Type="http://schemas.openxmlformats.org/officeDocument/2006/relationships/tags" Target="../tags/tag893.xml"/><Relationship Id="rId6" Type="http://schemas.openxmlformats.org/officeDocument/2006/relationships/chart" Target="../charts/chart70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67.xml.rels><?xml version="1.0" encoding="UTF-8" standalone="yes"?>
<Relationships xmlns="http://schemas.openxmlformats.org/package/2006/relationships"><Relationship Id="rId3" Type="http://schemas.openxmlformats.org/officeDocument/2006/relationships/notesSlide" Target="../notesSlides/notesSlide462.xml"/><Relationship Id="rId2" Type="http://schemas.openxmlformats.org/officeDocument/2006/relationships/slideLayout" Target="../slideLayouts/slideLayout7.xml"/><Relationship Id="rId1" Type="http://schemas.openxmlformats.org/officeDocument/2006/relationships/tags" Target="../tags/tag894.xml"/><Relationship Id="rId6" Type="http://schemas.openxmlformats.org/officeDocument/2006/relationships/chart" Target="../charts/chart70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68.xml.rels><?xml version="1.0" encoding="UTF-8" standalone="yes"?>
<Relationships xmlns="http://schemas.openxmlformats.org/package/2006/relationships"><Relationship Id="rId3" Type="http://schemas.openxmlformats.org/officeDocument/2006/relationships/notesSlide" Target="../notesSlides/notesSlide463.xml"/><Relationship Id="rId2" Type="http://schemas.openxmlformats.org/officeDocument/2006/relationships/slideLayout" Target="../slideLayouts/slideLayout7.xml"/><Relationship Id="rId1" Type="http://schemas.openxmlformats.org/officeDocument/2006/relationships/tags" Target="../tags/tag895.xml"/><Relationship Id="rId6" Type="http://schemas.openxmlformats.org/officeDocument/2006/relationships/chart" Target="../charts/chart70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69.xml.rels><?xml version="1.0" encoding="UTF-8" standalone="yes"?>
<Relationships xmlns="http://schemas.openxmlformats.org/package/2006/relationships"><Relationship Id="rId3" Type="http://schemas.openxmlformats.org/officeDocument/2006/relationships/notesSlide" Target="../notesSlides/notesSlide464.xml"/><Relationship Id="rId2" Type="http://schemas.openxmlformats.org/officeDocument/2006/relationships/slideLayout" Target="../slideLayouts/slideLayout7.xml"/><Relationship Id="rId1" Type="http://schemas.openxmlformats.org/officeDocument/2006/relationships/tags" Target="../tags/tag896.xml"/><Relationship Id="rId6" Type="http://schemas.openxmlformats.org/officeDocument/2006/relationships/chart" Target="../charts/chart70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7.xml"/></Relationships>
</file>

<file path=ppt/slides/_rels/slide870.xml.rels><?xml version="1.0" encoding="UTF-8" standalone="yes"?>
<Relationships xmlns="http://schemas.openxmlformats.org/package/2006/relationships"><Relationship Id="rId3" Type="http://schemas.openxmlformats.org/officeDocument/2006/relationships/notesSlide" Target="../notesSlides/notesSlide465.xml"/><Relationship Id="rId2" Type="http://schemas.openxmlformats.org/officeDocument/2006/relationships/slideLayout" Target="../slideLayouts/slideLayout7.xml"/><Relationship Id="rId1" Type="http://schemas.openxmlformats.org/officeDocument/2006/relationships/tags" Target="../tags/tag897.xml"/><Relationship Id="rId6" Type="http://schemas.openxmlformats.org/officeDocument/2006/relationships/chart" Target="../charts/chart70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71.xml.rels><?xml version="1.0" encoding="UTF-8" standalone="yes"?>
<Relationships xmlns="http://schemas.openxmlformats.org/package/2006/relationships"><Relationship Id="rId3" Type="http://schemas.openxmlformats.org/officeDocument/2006/relationships/notesSlide" Target="../notesSlides/notesSlide466.xml"/><Relationship Id="rId2" Type="http://schemas.openxmlformats.org/officeDocument/2006/relationships/slideLayout" Target="../slideLayouts/slideLayout7.xml"/><Relationship Id="rId1" Type="http://schemas.openxmlformats.org/officeDocument/2006/relationships/tags" Target="../tags/tag898.xml"/><Relationship Id="rId6" Type="http://schemas.openxmlformats.org/officeDocument/2006/relationships/chart" Target="../charts/chart70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72.xml.rels><?xml version="1.0" encoding="UTF-8" standalone="yes"?>
<Relationships xmlns="http://schemas.openxmlformats.org/package/2006/relationships"><Relationship Id="rId3" Type="http://schemas.openxmlformats.org/officeDocument/2006/relationships/notesSlide" Target="../notesSlides/notesSlide467.xml"/><Relationship Id="rId2" Type="http://schemas.openxmlformats.org/officeDocument/2006/relationships/slideLayout" Target="../slideLayouts/slideLayout7.xml"/><Relationship Id="rId1" Type="http://schemas.openxmlformats.org/officeDocument/2006/relationships/tags" Target="../tags/tag899.xml"/><Relationship Id="rId6" Type="http://schemas.openxmlformats.org/officeDocument/2006/relationships/chart" Target="../charts/chart70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73.xml.rels><?xml version="1.0" encoding="UTF-8" standalone="yes"?>
<Relationships xmlns="http://schemas.openxmlformats.org/package/2006/relationships"><Relationship Id="rId3" Type="http://schemas.openxmlformats.org/officeDocument/2006/relationships/notesSlide" Target="../notesSlides/notesSlide468.xml"/><Relationship Id="rId2" Type="http://schemas.openxmlformats.org/officeDocument/2006/relationships/slideLayout" Target="../slideLayouts/slideLayout7.xml"/><Relationship Id="rId1" Type="http://schemas.openxmlformats.org/officeDocument/2006/relationships/tags" Target="../tags/tag900.xml"/><Relationship Id="rId6" Type="http://schemas.openxmlformats.org/officeDocument/2006/relationships/chart" Target="../charts/chart70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74.xml.rels><?xml version="1.0" encoding="UTF-8" standalone="yes"?>
<Relationships xmlns="http://schemas.openxmlformats.org/package/2006/relationships"><Relationship Id="rId3" Type="http://schemas.openxmlformats.org/officeDocument/2006/relationships/notesSlide" Target="../notesSlides/notesSlide469.xml"/><Relationship Id="rId2" Type="http://schemas.openxmlformats.org/officeDocument/2006/relationships/slideLayout" Target="../slideLayouts/slideLayout7.xml"/><Relationship Id="rId1" Type="http://schemas.openxmlformats.org/officeDocument/2006/relationships/tags" Target="../tags/tag901.xml"/><Relationship Id="rId6" Type="http://schemas.openxmlformats.org/officeDocument/2006/relationships/chart" Target="../charts/chart71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75.xml.rels><?xml version="1.0" encoding="UTF-8" standalone="yes"?>
<Relationships xmlns="http://schemas.openxmlformats.org/package/2006/relationships"><Relationship Id="rId3" Type="http://schemas.openxmlformats.org/officeDocument/2006/relationships/notesSlide" Target="../notesSlides/notesSlide470.xml"/><Relationship Id="rId2" Type="http://schemas.openxmlformats.org/officeDocument/2006/relationships/slideLayout" Target="../slideLayouts/slideLayout7.xml"/><Relationship Id="rId1" Type="http://schemas.openxmlformats.org/officeDocument/2006/relationships/tags" Target="../tags/tag902.xml"/><Relationship Id="rId6" Type="http://schemas.openxmlformats.org/officeDocument/2006/relationships/chart" Target="../charts/chart71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76.xml.rels><?xml version="1.0" encoding="UTF-8" standalone="yes"?>
<Relationships xmlns="http://schemas.openxmlformats.org/package/2006/relationships"><Relationship Id="rId3" Type="http://schemas.openxmlformats.org/officeDocument/2006/relationships/notesSlide" Target="../notesSlides/notesSlide471.xml"/><Relationship Id="rId2" Type="http://schemas.openxmlformats.org/officeDocument/2006/relationships/slideLayout" Target="../slideLayouts/slideLayout7.xml"/><Relationship Id="rId1" Type="http://schemas.openxmlformats.org/officeDocument/2006/relationships/tags" Target="../tags/tag903.xml"/><Relationship Id="rId6" Type="http://schemas.openxmlformats.org/officeDocument/2006/relationships/chart" Target="../charts/chart71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77.xml.rels><?xml version="1.0" encoding="UTF-8" standalone="yes"?>
<Relationships xmlns="http://schemas.openxmlformats.org/package/2006/relationships"><Relationship Id="rId3" Type="http://schemas.openxmlformats.org/officeDocument/2006/relationships/notesSlide" Target="../notesSlides/notesSlide472.xml"/><Relationship Id="rId2" Type="http://schemas.openxmlformats.org/officeDocument/2006/relationships/slideLayout" Target="../slideLayouts/slideLayout7.xml"/><Relationship Id="rId1" Type="http://schemas.openxmlformats.org/officeDocument/2006/relationships/tags" Target="../tags/tag904.xml"/><Relationship Id="rId6" Type="http://schemas.openxmlformats.org/officeDocument/2006/relationships/chart" Target="../charts/chart71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78.xml.rels><?xml version="1.0" encoding="UTF-8" standalone="yes"?>
<Relationships xmlns="http://schemas.openxmlformats.org/package/2006/relationships"><Relationship Id="rId3" Type="http://schemas.openxmlformats.org/officeDocument/2006/relationships/notesSlide" Target="../notesSlides/notesSlide473.xml"/><Relationship Id="rId2" Type="http://schemas.openxmlformats.org/officeDocument/2006/relationships/slideLayout" Target="../slideLayouts/slideLayout7.xml"/><Relationship Id="rId1" Type="http://schemas.openxmlformats.org/officeDocument/2006/relationships/tags" Target="../tags/tag905.xml"/><Relationship Id="rId6" Type="http://schemas.openxmlformats.org/officeDocument/2006/relationships/chart" Target="../charts/chart71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79.xml.rels><?xml version="1.0" encoding="UTF-8" standalone="yes"?>
<Relationships xmlns="http://schemas.openxmlformats.org/package/2006/relationships"><Relationship Id="rId3" Type="http://schemas.openxmlformats.org/officeDocument/2006/relationships/notesSlide" Target="../notesSlides/notesSlide474.xml"/><Relationship Id="rId2" Type="http://schemas.openxmlformats.org/officeDocument/2006/relationships/slideLayout" Target="../slideLayouts/slideLayout7.xml"/><Relationship Id="rId1" Type="http://schemas.openxmlformats.org/officeDocument/2006/relationships/tags" Target="../tags/tag906.xml"/><Relationship Id="rId6" Type="http://schemas.openxmlformats.org/officeDocument/2006/relationships/chart" Target="../charts/chart71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8.xml"/></Relationships>
</file>

<file path=ppt/slides/_rels/slide880.xml.rels><?xml version="1.0" encoding="UTF-8" standalone="yes"?>
<Relationships xmlns="http://schemas.openxmlformats.org/package/2006/relationships"><Relationship Id="rId3" Type="http://schemas.openxmlformats.org/officeDocument/2006/relationships/notesSlide" Target="../notesSlides/notesSlide475.xml"/><Relationship Id="rId2" Type="http://schemas.openxmlformats.org/officeDocument/2006/relationships/slideLayout" Target="../slideLayouts/slideLayout7.xml"/><Relationship Id="rId1" Type="http://schemas.openxmlformats.org/officeDocument/2006/relationships/tags" Target="../tags/tag907.xml"/><Relationship Id="rId6" Type="http://schemas.openxmlformats.org/officeDocument/2006/relationships/chart" Target="../charts/chart71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81.xml.rels><?xml version="1.0" encoding="UTF-8" standalone="yes"?>
<Relationships xmlns="http://schemas.openxmlformats.org/package/2006/relationships"><Relationship Id="rId3" Type="http://schemas.openxmlformats.org/officeDocument/2006/relationships/notesSlide" Target="../notesSlides/notesSlide476.xml"/><Relationship Id="rId2" Type="http://schemas.openxmlformats.org/officeDocument/2006/relationships/slideLayout" Target="../slideLayouts/slideLayout7.xml"/><Relationship Id="rId1" Type="http://schemas.openxmlformats.org/officeDocument/2006/relationships/tags" Target="../tags/tag908.xml"/><Relationship Id="rId6" Type="http://schemas.openxmlformats.org/officeDocument/2006/relationships/chart" Target="../charts/chart71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82.xml.rels><?xml version="1.0" encoding="UTF-8" standalone="yes"?>
<Relationships xmlns="http://schemas.openxmlformats.org/package/2006/relationships"><Relationship Id="rId3" Type="http://schemas.openxmlformats.org/officeDocument/2006/relationships/notesSlide" Target="../notesSlides/notesSlide477.xml"/><Relationship Id="rId2" Type="http://schemas.openxmlformats.org/officeDocument/2006/relationships/slideLayout" Target="../slideLayouts/slideLayout7.xml"/><Relationship Id="rId1" Type="http://schemas.openxmlformats.org/officeDocument/2006/relationships/tags" Target="../tags/tag909.xml"/><Relationship Id="rId6" Type="http://schemas.openxmlformats.org/officeDocument/2006/relationships/chart" Target="../charts/chart71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83.xml.rels><?xml version="1.0" encoding="UTF-8" standalone="yes"?>
<Relationships xmlns="http://schemas.openxmlformats.org/package/2006/relationships"><Relationship Id="rId3" Type="http://schemas.openxmlformats.org/officeDocument/2006/relationships/notesSlide" Target="../notesSlides/notesSlide478.xml"/><Relationship Id="rId2" Type="http://schemas.openxmlformats.org/officeDocument/2006/relationships/slideLayout" Target="../slideLayouts/slideLayout7.xml"/><Relationship Id="rId1" Type="http://schemas.openxmlformats.org/officeDocument/2006/relationships/tags" Target="../tags/tag910.xml"/><Relationship Id="rId6" Type="http://schemas.openxmlformats.org/officeDocument/2006/relationships/chart" Target="../charts/chart71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84.xml.rels><?xml version="1.0" encoding="UTF-8" standalone="yes"?>
<Relationships xmlns="http://schemas.openxmlformats.org/package/2006/relationships"><Relationship Id="rId3" Type="http://schemas.openxmlformats.org/officeDocument/2006/relationships/notesSlide" Target="../notesSlides/notesSlide479.xml"/><Relationship Id="rId2" Type="http://schemas.openxmlformats.org/officeDocument/2006/relationships/slideLayout" Target="../slideLayouts/slideLayout7.xml"/><Relationship Id="rId1" Type="http://schemas.openxmlformats.org/officeDocument/2006/relationships/tags" Target="../tags/tag911.xml"/><Relationship Id="rId6" Type="http://schemas.openxmlformats.org/officeDocument/2006/relationships/chart" Target="../charts/chart72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85.xml.rels><?xml version="1.0" encoding="UTF-8" standalone="yes"?>
<Relationships xmlns="http://schemas.openxmlformats.org/package/2006/relationships"><Relationship Id="rId3" Type="http://schemas.openxmlformats.org/officeDocument/2006/relationships/notesSlide" Target="../notesSlides/notesSlide480.xml"/><Relationship Id="rId2" Type="http://schemas.openxmlformats.org/officeDocument/2006/relationships/slideLayout" Target="../slideLayouts/slideLayout7.xml"/><Relationship Id="rId1" Type="http://schemas.openxmlformats.org/officeDocument/2006/relationships/tags" Target="../tags/tag912.xml"/><Relationship Id="rId6" Type="http://schemas.openxmlformats.org/officeDocument/2006/relationships/chart" Target="../charts/chart72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86.xml.rels><?xml version="1.0" encoding="UTF-8" standalone="yes"?>
<Relationships xmlns="http://schemas.openxmlformats.org/package/2006/relationships"><Relationship Id="rId3" Type="http://schemas.openxmlformats.org/officeDocument/2006/relationships/notesSlide" Target="../notesSlides/notesSlide481.xml"/><Relationship Id="rId2" Type="http://schemas.openxmlformats.org/officeDocument/2006/relationships/slideLayout" Target="../slideLayouts/slideLayout7.xml"/><Relationship Id="rId1" Type="http://schemas.openxmlformats.org/officeDocument/2006/relationships/tags" Target="../tags/tag913.xml"/><Relationship Id="rId6" Type="http://schemas.openxmlformats.org/officeDocument/2006/relationships/chart" Target="../charts/chart72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87.xml.rels><?xml version="1.0" encoding="UTF-8" standalone="yes"?>
<Relationships xmlns="http://schemas.openxmlformats.org/package/2006/relationships"><Relationship Id="rId3" Type="http://schemas.openxmlformats.org/officeDocument/2006/relationships/notesSlide" Target="../notesSlides/notesSlide482.xml"/><Relationship Id="rId2" Type="http://schemas.openxmlformats.org/officeDocument/2006/relationships/slideLayout" Target="../slideLayouts/slideLayout7.xml"/><Relationship Id="rId1" Type="http://schemas.openxmlformats.org/officeDocument/2006/relationships/tags" Target="../tags/tag914.xml"/><Relationship Id="rId6" Type="http://schemas.openxmlformats.org/officeDocument/2006/relationships/chart" Target="../charts/chart72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88.xml.rels><?xml version="1.0" encoding="UTF-8" standalone="yes"?>
<Relationships xmlns="http://schemas.openxmlformats.org/package/2006/relationships"><Relationship Id="rId3" Type="http://schemas.openxmlformats.org/officeDocument/2006/relationships/notesSlide" Target="../notesSlides/notesSlide483.xml"/><Relationship Id="rId2" Type="http://schemas.openxmlformats.org/officeDocument/2006/relationships/slideLayout" Target="../slideLayouts/slideLayout7.xml"/><Relationship Id="rId1" Type="http://schemas.openxmlformats.org/officeDocument/2006/relationships/tags" Target="../tags/tag915.xml"/><Relationship Id="rId6" Type="http://schemas.openxmlformats.org/officeDocument/2006/relationships/chart" Target="../charts/chart72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89.xml.rels><?xml version="1.0" encoding="UTF-8" standalone="yes"?>
<Relationships xmlns="http://schemas.openxmlformats.org/package/2006/relationships"><Relationship Id="rId3" Type="http://schemas.openxmlformats.org/officeDocument/2006/relationships/notesSlide" Target="../notesSlides/notesSlide484.xml"/><Relationship Id="rId2" Type="http://schemas.openxmlformats.org/officeDocument/2006/relationships/slideLayout" Target="../slideLayouts/slideLayout7.xml"/><Relationship Id="rId1" Type="http://schemas.openxmlformats.org/officeDocument/2006/relationships/tags" Target="../tags/tag916.xml"/><Relationship Id="rId6" Type="http://schemas.openxmlformats.org/officeDocument/2006/relationships/chart" Target="../charts/chart72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9.xml"/></Relationships>
</file>

<file path=ppt/slides/_rels/slide890.xml.rels><?xml version="1.0" encoding="UTF-8" standalone="yes"?>
<Relationships xmlns="http://schemas.openxmlformats.org/package/2006/relationships"><Relationship Id="rId3" Type="http://schemas.openxmlformats.org/officeDocument/2006/relationships/notesSlide" Target="../notesSlides/notesSlide485.xml"/><Relationship Id="rId2" Type="http://schemas.openxmlformats.org/officeDocument/2006/relationships/slideLayout" Target="../slideLayouts/slideLayout7.xml"/><Relationship Id="rId1" Type="http://schemas.openxmlformats.org/officeDocument/2006/relationships/tags" Target="../tags/tag917.xml"/><Relationship Id="rId6" Type="http://schemas.openxmlformats.org/officeDocument/2006/relationships/chart" Target="../charts/chart72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91.xml.rels><?xml version="1.0" encoding="UTF-8" standalone="yes"?>
<Relationships xmlns="http://schemas.openxmlformats.org/package/2006/relationships"><Relationship Id="rId3" Type="http://schemas.openxmlformats.org/officeDocument/2006/relationships/notesSlide" Target="../notesSlides/notesSlide486.xml"/><Relationship Id="rId2" Type="http://schemas.openxmlformats.org/officeDocument/2006/relationships/slideLayout" Target="../slideLayouts/slideLayout7.xml"/><Relationship Id="rId1" Type="http://schemas.openxmlformats.org/officeDocument/2006/relationships/tags" Target="../tags/tag918.xml"/><Relationship Id="rId6" Type="http://schemas.openxmlformats.org/officeDocument/2006/relationships/chart" Target="../charts/chart72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92.xml.rels><?xml version="1.0" encoding="UTF-8" standalone="yes"?>
<Relationships xmlns="http://schemas.openxmlformats.org/package/2006/relationships"><Relationship Id="rId3" Type="http://schemas.openxmlformats.org/officeDocument/2006/relationships/notesSlide" Target="../notesSlides/notesSlide487.xml"/><Relationship Id="rId2" Type="http://schemas.openxmlformats.org/officeDocument/2006/relationships/slideLayout" Target="../slideLayouts/slideLayout7.xml"/><Relationship Id="rId1" Type="http://schemas.openxmlformats.org/officeDocument/2006/relationships/tags" Target="../tags/tag919.xml"/><Relationship Id="rId6" Type="http://schemas.openxmlformats.org/officeDocument/2006/relationships/chart" Target="../charts/chart72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93.xml.rels><?xml version="1.0" encoding="UTF-8" standalone="yes"?>
<Relationships xmlns="http://schemas.openxmlformats.org/package/2006/relationships"><Relationship Id="rId3" Type="http://schemas.openxmlformats.org/officeDocument/2006/relationships/notesSlide" Target="../notesSlides/notesSlide488.xml"/><Relationship Id="rId2" Type="http://schemas.openxmlformats.org/officeDocument/2006/relationships/slideLayout" Target="../slideLayouts/slideLayout7.xml"/><Relationship Id="rId1" Type="http://schemas.openxmlformats.org/officeDocument/2006/relationships/tags" Target="../tags/tag920.xml"/><Relationship Id="rId6" Type="http://schemas.openxmlformats.org/officeDocument/2006/relationships/chart" Target="../charts/chart72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94.xml.rels><?xml version="1.0" encoding="UTF-8" standalone="yes"?>
<Relationships xmlns="http://schemas.openxmlformats.org/package/2006/relationships"><Relationship Id="rId3" Type="http://schemas.openxmlformats.org/officeDocument/2006/relationships/notesSlide" Target="../notesSlides/notesSlide489.xml"/><Relationship Id="rId2" Type="http://schemas.openxmlformats.org/officeDocument/2006/relationships/slideLayout" Target="../slideLayouts/slideLayout7.xml"/><Relationship Id="rId1" Type="http://schemas.openxmlformats.org/officeDocument/2006/relationships/tags" Target="../tags/tag921.xml"/><Relationship Id="rId6" Type="http://schemas.openxmlformats.org/officeDocument/2006/relationships/chart" Target="../charts/chart73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95.xml.rels><?xml version="1.0" encoding="UTF-8" standalone="yes"?>
<Relationships xmlns="http://schemas.openxmlformats.org/package/2006/relationships"><Relationship Id="rId3" Type="http://schemas.openxmlformats.org/officeDocument/2006/relationships/notesSlide" Target="../notesSlides/notesSlide490.xml"/><Relationship Id="rId2" Type="http://schemas.openxmlformats.org/officeDocument/2006/relationships/slideLayout" Target="../slideLayouts/slideLayout7.xml"/><Relationship Id="rId1" Type="http://schemas.openxmlformats.org/officeDocument/2006/relationships/tags" Target="../tags/tag922.xml"/><Relationship Id="rId6" Type="http://schemas.openxmlformats.org/officeDocument/2006/relationships/chart" Target="../charts/chart73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96.xml.rels><?xml version="1.0" encoding="UTF-8" standalone="yes"?>
<Relationships xmlns="http://schemas.openxmlformats.org/package/2006/relationships"><Relationship Id="rId3" Type="http://schemas.openxmlformats.org/officeDocument/2006/relationships/notesSlide" Target="../notesSlides/notesSlide491.xml"/><Relationship Id="rId2" Type="http://schemas.openxmlformats.org/officeDocument/2006/relationships/slideLayout" Target="../slideLayouts/slideLayout7.xml"/><Relationship Id="rId1" Type="http://schemas.openxmlformats.org/officeDocument/2006/relationships/tags" Target="../tags/tag923.xml"/><Relationship Id="rId6" Type="http://schemas.openxmlformats.org/officeDocument/2006/relationships/chart" Target="../charts/chart73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97.xml.rels><?xml version="1.0" encoding="UTF-8" standalone="yes"?>
<Relationships xmlns="http://schemas.openxmlformats.org/package/2006/relationships"><Relationship Id="rId3" Type="http://schemas.openxmlformats.org/officeDocument/2006/relationships/notesSlide" Target="../notesSlides/notesSlide492.xml"/><Relationship Id="rId2" Type="http://schemas.openxmlformats.org/officeDocument/2006/relationships/slideLayout" Target="../slideLayouts/slideLayout7.xml"/><Relationship Id="rId1" Type="http://schemas.openxmlformats.org/officeDocument/2006/relationships/tags" Target="../tags/tag924.xml"/><Relationship Id="rId6" Type="http://schemas.openxmlformats.org/officeDocument/2006/relationships/chart" Target="../charts/chart73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98.xml.rels><?xml version="1.0" encoding="UTF-8" standalone="yes"?>
<Relationships xmlns="http://schemas.openxmlformats.org/package/2006/relationships"><Relationship Id="rId3" Type="http://schemas.openxmlformats.org/officeDocument/2006/relationships/notesSlide" Target="../notesSlides/notesSlide493.xml"/><Relationship Id="rId2" Type="http://schemas.openxmlformats.org/officeDocument/2006/relationships/slideLayout" Target="../slideLayouts/slideLayout7.xml"/><Relationship Id="rId1" Type="http://schemas.openxmlformats.org/officeDocument/2006/relationships/tags" Target="../tags/tag925.xml"/><Relationship Id="rId6" Type="http://schemas.openxmlformats.org/officeDocument/2006/relationships/chart" Target="../charts/chart73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99.xml.rels><?xml version="1.0" encoding="UTF-8" standalone="yes"?>
<Relationships xmlns="http://schemas.openxmlformats.org/package/2006/relationships"><Relationship Id="rId3" Type="http://schemas.openxmlformats.org/officeDocument/2006/relationships/notesSlide" Target="../notesSlides/notesSlide494.xml"/><Relationship Id="rId2" Type="http://schemas.openxmlformats.org/officeDocument/2006/relationships/slideLayout" Target="../slideLayouts/slideLayout7.xml"/><Relationship Id="rId1" Type="http://schemas.openxmlformats.org/officeDocument/2006/relationships/tags" Target="../tags/tag926.xml"/><Relationship Id="rId6" Type="http://schemas.openxmlformats.org/officeDocument/2006/relationships/chart" Target="../charts/chart73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9.xml"/></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90.xml"/></Relationships>
</file>

<file path=ppt/slides/_rels/slide900.xml.rels><?xml version="1.0" encoding="UTF-8" standalone="yes"?>
<Relationships xmlns="http://schemas.openxmlformats.org/package/2006/relationships"><Relationship Id="rId3" Type="http://schemas.openxmlformats.org/officeDocument/2006/relationships/notesSlide" Target="../notesSlides/notesSlide495.xml"/><Relationship Id="rId2" Type="http://schemas.openxmlformats.org/officeDocument/2006/relationships/slideLayout" Target="../slideLayouts/slideLayout7.xml"/><Relationship Id="rId1" Type="http://schemas.openxmlformats.org/officeDocument/2006/relationships/tags" Target="../tags/tag927.xml"/><Relationship Id="rId6" Type="http://schemas.openxmlformats.org/officeDocument/2006/relationships/chart" Target="../charts/chart73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01.xml.rels><?xml version="1.0" encoding="UTF-8" standalone="yes"?>
<Relationships xmlns="http://schemas.openxmlformats.org/package/2006/relationships"><Relationship Id="rId3" Type="http://schemas.openxmlformats.org/officeDocument/2006/relationships/notesSlide" Target="../notesSlides/notesSlide496.xml"/><Relationship Id="rId2" Type="http://schemas.openxmlformats.org/officeDocument/2006/relationships/slideLayout" Target="../slideLayouts/slideLayout7.xml"/><Relationship Id="rId1" Type="http://schemas.openxmlformats.org/officeDocument/2006/relationships/tags" Target="../tags/tag928.xml"/><Relationship Id="rId6" Type="http://schemas.openxmlformats.org/officeDocument/2006/relationships/chart" Target="../charts/chart73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02.xml.rels><?xml version="1.0" encoding="UTF-8" standalone="yes"?>
<Relationships xmlns="http://schemas.openxmlformats.org/package/2006/relationships"><Relationship Id="rId3" Type="http://schemas.openxmlformats.org/officeDocument/2006/relationships/notesSlide" Target="../notesSlides/notesSlide497.xml"/><Relationship Id="rId2" Type="http://schemas.openxmlformats.org/officeDocument/2006/relationships/slideLayout" Target="../slideLayouts/slideLayout7.xml"/><Relationship Id="rId1" Type="http://schemas.openxmlformats.org/officeDocument/2006/relationships/tags" Target="../tags/tag929.xml"/><Relationship Id="rId6" Type="http://schemas.openxmlformats.org/officeDocument/2006/relationships/chart" Target="../charts/chart73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03.xml.rels><?xml version="1.0" encoding="UTF-8" standalone="yes"?>
<Relationships xmlns="http://schemas.openxmlformats.org/package/2006/relationships"><Relationship Id="rId3" Type="http://schemas.openxmlformats.org/officeDocument/2006/relationships/notesSlide" Target="../notesSlides/notesSlide498.xml"/><Relationship Id="rId2" Type="http://schemas.openxmlformats.org/officeDocument/2006/relationships/slideLayout" Target="../slideLayouts/slideLayout7.xml"/><Relationship Id="rId1" Type="http://schemas.openxmlformats.org/officeDocument/2006/relationships/tags" Target="../tags/tag930.xml"/><Relationship Id="rId6" Type="http://schemas.openxmlformats.org/officeDocument/2006/relationships/chart" Target="../charts/chart73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04.xml.rels><?xml version="1.0" encoding="UTF-8" standalone="yes"?>
<Relationships xmlns="http://schemas.openxmlformats.org/package/2006/relationships"><Relationship Id="rId3" Type="http://schemas.openxmlformats.org/officeDocument/2006/relationships/notesSlide" Target="../notesSlides/notesSlide499.xml"/><Relationship Id="rId2" Type="http://schemas.openxmlformats.org/officeDocument/2006/relationships/slideLayout" Target="../slideLayouts/slideLayout7.xml"/><Relationship Id="rId1" Type="http://schemas.openxmlformats.org/officeDocument/2006/relationships/tags" Target="../tags/tag931.xml"/><Relationship Id="rId6" Type="http://schemas.openxmlformats.org/officeDocument/2006/relationships/chart" Target="../charts/chart74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05.xml.rels><?xml version="1.0" encoding="UTF-8" standalone="yes"?>
<Relationships xmlns="http://schemas.openxmlformats.org/package/2006/relationships"><Relationship Id="rId3" Type="http://schemas.openxmlformats.org/officeDocument/2006/relationships/notesSlide" Target="../notesSlides/notesSlide500.xml"/><Relationship Id="rId2" Type="http://schemas.openxmlformats.org/officeDocument/2006/relationships/slideLayout" Target="../slideLayouts/slideLayout7.xml"/><Relationship Id="rId1" Type="http://schemas.openxmlformats.org/officeDocument/2006/relationships/tags" Target="../tags/tag932.xml"/><Relationship Id="rId6" Type="http://schemas.openxmlformats.org/officeDocument/2006/relationships/chart" Target="../charts/chart74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3.xml"/><Relationship Id="rId4" Type="http://schemas.openxmlformats.org/officeDocument/2006/relationships/image" Target="../media/image28.emf"/></Relationships>
</file>

<file path=ppt/slides/_rels/slide9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4.xml"/><Relationship Id="rId4" Type="http://schemas.openxmlformats.org/officeDocument/2006/relationships/image" Target="../media/image28.emf"/></Relationships>
</file>

<file path=ppt/slides/_rels/slide9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5.xml"/><Relationship Id="rId4" Type="http://schemas.openxmlformats.org/officeDocument/2006/relationships/image" Target="../media/image28.emf"/></Relationships>
</file>

<file path=ppt/slides/_rels/slide9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6.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91.xml"/></Relationships>
</file>

<file path=ppt/slides/_rels/slide9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7.xml"/><Relationship Id="rId4" Type="http://schemas.openxmlformats.org/officeDocument/2006/relationships/image" Target="../media/image28.emf"/></Relationships>
</file>

<file path=ppt/slides/_rels/slide9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8.xml"/><Relationship Id="rId4" Type="http://schemas.openxmlformats.org/officeDocument/2006/relationships/image" Target="../media/image28.emf"/></Relationships>
</file>

<file path=ppt/slides/_rels/slide9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9.xml"/><Relationship Id="rId4" Type="http://schemas.openxmlformats.org/officeDocument/2006/relationships/image" Target="../media/image28.emf"/></Relationships>
</file>

<file path=ppt/slides/_rels/slide9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0.xml"/><Relationship Id="rId4" Type="http://schemas.openxmlformats.org/officeDocument/2006/relationships/image" Target="../media/image28.emf"/></Relationships>
</file>

<file path=ppt/slides/_rels/slide9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1.xml"/><Relationship Id="rId4" Type="http://schemas.openxmlformats.org/officeDocument/2006/relationships/image" Target="../media/image28.emf"/></Relationships>
</file>

<file path=ppt/slides/_rels/slide9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2.xml"/><Relationship Id="rId4" Type="http://schemas.openxmlformats.org/officeDocument/2006/relationships/image" Target="../media/image28.emf"/></Relationships>
</file>

<file path=ppt/slides/_rels/slide9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3.xml"/><Relationship Id="rId4" Type="http://schemas.openxmlformats.org/officeDocument/2006/relationships/image" Target="../media/image28.emf"/></Relationships>
</file>

<file path=ppt/slides/_rels/slide9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4.xml"/><Relationship Id="rId4" Type="http://schemas.openxmlformats.org/officeDocument/2006/relationships/image" Target="../media/image28.emf"/></Relationships>
</file>

<file path=ppt/slides/_rels/slide9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5.xml"/><Relationship Id="rId4" Type="http://schemas.openxmlformats.org/officeDocument/2006/relationships/image" Target="../media/image28.emf"/></Relationships>
</file>

<file path=ppt/slides/_rels/slide9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6.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7.xml"/><Relationship Id="rId1" Type="http://schemas.openxmlformats.org/officeDocument/2006/relationships/tags" Target="../tags/tag11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92.xml"/></Relationships>
</file>

<file path=ppt/slides/_rels/slide9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7.xml"/><Relationship Id="rId4" Type="http://schemas.openxmlformats.org/officeDocument/2006/relationships/image" Target="../media/image28.emf"/></Relationships>
</file>

<file path=ppt/slides/_rels/slide9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8.xml"/><Relationship Id="rId4" Type="http://schemas.openxmlformats.org/officeDocument/2006/relationships/image" Target="../media/image28.emf"/></Relationships>
</file>

<file path=ppt/slides/_rels/slide9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9.xml"/><Relationship Id="rId4" Type="http://schemas.openxmlformats.org/officeDocument/2006/relationships/image" Target="../media/image28.emf"/></Relationships>
</file>

<file path=ppt/slides/_rels/slide9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0.xml"/><Relationship Id="rId4" Type="http://schemas.openxmlformats.org/officeDocument/2006/relationships/image" Target="../media/image28.emf"/></Relationships>
</file>

<file path=ppt/slides/_rels/slide9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1.xml"/><Relationship Id="rId4" Type="http://schemas.openxmlformats.org/officeDocument/2006/relationships/image" Target="../media/image28.emf"/></Relationships>
</file>

<file path=ppt/slides/_rels/slide9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2.xml"/><Relationship Id="rId4" Type="http://schemas.openxmlformats.org/officeDocument/2006/relationships/image" Target="../media/image28.emf"/></Relationships>
</file>

<file path=ppt/slides/_rels/slide9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3.xml"/><Relationship Id="rId4" Type="http://schemas.openxmlformats.org/officeDocument/2006/relationships/image" Target="../media/image28.emf"/></Relationships>
</file>

<file path=ppt/slides/_rels/slide9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4.xml"/><Relationship Id="rId4" Type="http://schemas.openxmlformats.org/officeDocument/2006/relationships/image" Target="../media/image28.emf"/></Relationships>
</file>

<file path=ppt/slides/_rels/slide9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5.xml"/><Relationship Id="rId4" Type="http://schemas.openxmlformats.org/officeDocument/2006/relationships/image" Target="../media/image28.emf"/></Relationships>
</file>

<file path=ppt/slides/_rels/slide9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6.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8" Type="http://schemas.openxmlformats.org/officeDocument/2006/relationships/chart" Target="../charts/chart95.xml"/><Relationship Id="rId3" Type="http://schemas.openxmlformats.org/officeDocument/2006/relationships/notesSlide" Target="../notesSlides/notesSlide93.xml"/><Relationship Id="rId7" Type="http://schemas.openxmlformats.org/officeDocument/2006/relationships/chart" Target="../charts/chart94.xml"/><Relationship Id="rId2" Type="http://schemas.openxmlformats.org/officeDocument/2006/relationships/slideLayout" Target="../slideLayouts/slideLayout7.xml"/><Relationship Id="rId1" Type="http://schemas.openxmlformats.org/officeDocument/2006/relationships/tags" Target="../tags/tag120.xml"/><Relationship Id="rId6" Type="http://schemas.openxmlformats.org/officeDocument/2006/relationships/chart" Target="../charts/chart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7.xml"/><Relationship Id="rId4" Type="http://schemas.openxmlformats.org/officeDocument/2006/relationships/image" Target="../media/image28.emf"/></Relationships>
</file>

<file path=ppt/slides/_rels/slide9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8.xml"/><Relationship Id="rId4" Type="http://schemas.openxmlformats.org/officeDocument/2006/relationships/image" Target="../media/image28.emf"/></Relationships>
</file>

<file path=ppt/slides/_rels/slide9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9.xml"/><Relationship Id="rId4" Type="http://schemas.openxmlformats.org/officeDocument/2006/relationships/image" Target="../media/image28.emf"/></Relationships>
</file>

<file path=ppt/slides/_rels/slide9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0.xml"/><Relationship Id="rId4" Type="http://schemas.openxmlformats.org/officeDocument/2006/relationships/image" Target="../media/image28.emf"/></Relationships>
</file>

<file path=ppt/slides/_rels/slide9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1.xml"/><Relationship Id="rId4" Type="http://schemas.openxmlformats.org/officeDocument/2006/relationships/image" Target="../media/image28.emf"/></Relationships>
</file>

<file path=ppt/slides/_rels/slide9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2.xml"/><Relationship Id="rId4" Type="http://schemas.openxmlformats.org/officeDocument/2006/relationships/image" Target="../media/image28.emf"/></Relationships>
</file>

<file path=ppt/slides/_rels/slide9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3.xml"/><Relationship Id="rId4" Type="http://schemas.openxmlformats.org/officeDocument/2006/relationships/image" Target="../media/image28.emf"/></Relationships>
</file>

<file path=ppt/slides/_rels/slide9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4.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8" Type="http://schemas.openxmlformats.org/officeDocument/2006/relationships/chart" Target="../charts/chart98.xml"/><Relationship Id="rId3" Type="http://schemas.openxmlformats.org/officeDocument/2006/relationships/notesSlide" Target="../notesSlides/notesSlide94.xml"/><Relationship Id="rId7" Type="http://schemas.openxmlformats.org/officeDocument/2006/relationships/chart" Target="../charts/chart97.xml"/><Relationship Id="rId2" Type="http://schemas.openxmlformats.org/officeDocument/2006/relationships/slideLayout" Target="../slideLayouts/slideLayout7.xml"/><Relationship Id="rId1" Type="http://schemas.openxmlformats.org/officeDocument/2006/relationships/tags" Target="../tags/tag121.xml"/><Relationship Id="rId6" Type="http://schemas.openxmlformats.org/officeDocument/2006/relationships/chart" Target="../charts/chart9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5.xml.rels><?xml version="1.0" encoding="UTF-8" standalone="yes"?>
<Relationships xmlns="http://schemas.openxmlformats.org/package/2006/relationships"><Relationship Id="rId8" Type="http://schemas.openxmlformats.org/officeDocument/2006/relationships/chart" Target="../charts/chart101.xml"/><Relationship Id="rId3" Type="http://schemas.openxmlformats.org/officeDocument/2006/relationships/notesSlide" Target="../notesSlides/notesSlide95.xml"/><Relationship Id="rId7" Type="http://schemas.openxmlformats.org/officeDocument/2006/relationships/chart" Target="../charts/chart100.xml"/><Relationship Id="rId2" Type="http://schemas.openxmlformats.org/officeDocument/2006/relationships/slideLayout" Target="../slideLayouts/slideLayout7.xml"/><Relationship Id="rId1" Type="http://schemas.openxmlformats.org/officeDocument/2006/relationships/tags" Target="../tags/tag122.xml"/><Relationship Id="rId6" Type="http://schemas.openxmlformats.org/officeDocument/2006/relationships/chart" Target="../charts/chart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6.xml.rels><?xml version="1.0" encoding="UTF-8" standalone="yes"?>
<Relationships xmlns="http://schemas.openxmlformats.org/package/2006/relationships"><Relationship Id="rId8" Type="http://schemas.openxmlformats.org/officeDocument/2006/relationships/chart" Target="../charts/chart104.xml"/><Relationship Id="rId3" Type="http://schemas.openxmlformats.org/officeDocument/2006/relationships/notesSlide" Target="../notesSlides/notesSlide96.xml"/><Relationship Id="rId7" Type="http://schemas.openxmlformats.org/officeDocument/2006/relationships/chart" Target="../charts/chart103.xml"/><Relationship Id="rId2" Type="http://schemas.openxmlformats.org/officeDocument/2006/relationships/slideLayout" Target="../slideLayouts/slideLayout7.xml"/><Relationship Id="rId1" Type="http://schemas.openxmlformats.org/officeDocument/2006/relationships/tags" Target="../tags/tag123.xml"/><Relationship Id="rId6" Type="http://schemas.openxmlformats.org/officeDocument/2006/relationships/chart" Target="../charts/chart10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7.xml.rels><?xml version="1.0" encoding="UTF-8" standalone="yes"?>
<Relationships xmlns="http://schemas.openxmlformats.org/package/2006/relationships"><Relationship Id="rId8" Type="http://schemas.openxmlformats.org/officeDocument/2006/relationships/chart" Target="../charts/chart107.xml"/><Relationship Id="rId3" Type="http://schemas.openxmlformats.org/officeDocument/2006/relationships/notesSlide" Target="../notesSlides/notesSlide97.xml"/><Relationship Id="rId7" Type="http://schemas.openxmlformats.org/officeDocument/2006/relationships/chart" Target="../charts/chart106.xml"/><Relationship Id="rId2" Type="http://schemas.openxmlformats.org/officeDocument/2006/relationships/slideLayout" Target="../slideLayouts/slideLayout7.xml"/><Relationship Id="rId1" Type="http://schemas.openxmlformats.org/officeDocument/2006/relationships/tags" Target="../tags/tag124.xml"/><Relationship Id="rId6" Type="http://schemas.openxmlformats.org/officeDocument/2006/relationships/chart" Target="../charts/chart1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8.xml.rels><?xml version="1.0" encoding="UTF-8" standalone="yes"?>
<Relationships xmlns="http://schemas.openxmlformats.org/package/2006/relationships"><Relationship Id="rId8" Type="http://schemas.openxmlformats.org/officeDocument/2006/relationships/chart" Target="../charts/chart110.xml"/><Relationship Id="rId3" Type="http://schemas.openxmlformats.org/officeDocument/2006/relationships/notesSlide" Target="../notesSlides/notesSlide98.xml"/><Relationship Id="rId7" Type="http://schemas.openxmlformats.org/officeDocument/2006/relationships/chart" Target="../charts/chart109.xml"/><Relationship Id="rId2" Type="http://schemas.openxmlformats.org/officeDocument/2006/relationships/slideLayout" Target="../slideLayouts/slideLayout7.xml"/><Relationship Id="rId1" Type="http://schemas.openxmlformats.org/officeDocument/2006/relationships/tags" Target="../tags/tag125.xml"/><Relationship Id="rId6" Type="http://schemas.openxmlformats.org/officeDocument/2006/relationships/chart" Target="../charts/chart1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9.xml.rels><?xml version="1.0" encoding="UTF-8" standalone="yes"?>
<Relationships xmlns="http://schemas.openxmlformats.org/package/2006/relationships"><Relationship Id="rId8" Type="http://schemas.openxmlformats.org/officeDocument/2006/relationships/chart" Target="../charts/chart113.xml"/><Relationship Id="rId3" Type="http://schemas.openxmlformats.org/officeDocument/2006/relationships/notesSlide" Target="../notesSlides/notesSlide99.xml"/><Relationship Id="rId7" Type="http://schemas.openxmlformats.org/officeDocument/2006/relationships/chart" Target="../charts/chart112.xml"/><Relationship Id="rId2" Type="http://schemas.openxmlformats.org/officeDocument/2006/relationships/slideLayout" Target="../slideLayouts/slideLayout7.xml"/><Relationship Id="rId1" Type="http://schemas.openxmlformats.org/officeDocument/2006/relationships/tags" Target="../tags/tag126.xml"/><Relationship Id="rId6" Type="http://schemas.openxmlformats.org/officeDocument/2006/relationships/chart" Target="../charts/chart111.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70713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94200"/>
            <a:ext cx="2375325" cy="126750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094200"/>
            <a:ext cx="2375326" cy="126750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70713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04068137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Effervescents Sans Alcool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9420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2895086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72145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8526"/>
            <a:ext cx="2375325" cy="125318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108526"/>
            <a:ext cx="2375326" cy="125318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72145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18879435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Rosé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852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72017509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NICOLAS QCA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6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09026776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NICOLAS RHO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7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831315895"/>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NICOLAS ES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35843124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NICOLAS AQU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66044313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CA B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7672882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CA A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0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65180367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CA D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2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58302884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CA E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1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52916106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CA C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2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7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5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63082375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Effervescents | Malard Nicolas | NICOLAS PAC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83"/>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71102">
                <a:tc>
                  <a:txBody>
                    <a:bodyPr/>
                    <a:lstStyle/>
                    <a:p>
                      <a:pPr algn="ctr">
                        <a:defRPr sz="800">
                          <a:latin typeface="Nexa Book"/>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71102">
                <a:tc>
                  <a:txBody>
                    <a:bodyPr/>
                    <a:lstStyle/>
                    <a:p>
                      <a:pPr algn="ctr">
                        <a:defRPr sz="800">
                          <a:latin typeface="Nexa Book"/>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71102">
                <a:tc>
                  <a:txBody>
                    <a:bodyPr/>
                    <a:lstStyle/>
                    <a:p>
                      <a:pPr algn="ctr">
                        <a:defRPr sz="800">
                          <a:latin typeface="Nexa Book"/>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71102">
                <a:tc>
                  <a:txBody>
                    <a:bodyPr/>
                    <a:lstStyle/>
                    <a:p>
                      <a:pPr algn="ctr">
                        <a:defRPr sz="800">
                          <a:latin typeface="Nexa Book"/>
                        </a:defRPr>
                      </a:pPr>
                      <a:r>
                        <a:t>Mousseux Bordelai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71102">
                <a:tc>
                  <a:txBody>
                    <a:bodyPr/>
                    <a:lstStyle/>
                    <a:p>
                      <a:pPr algn="ctr">
                        <a:defRPr sz="800">
                          <a:latin typeface="Nexa Book"/>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71102">
                <a:tc>
                  <a:txBody>
                    <a:bodyPr/>
                    <a:lstStyle/>
                    <a:p>
                      <a:pPr algn="ctr">
                        <a:defRPr sz="800">
                          <a:latin typeface="Nexa Book"/>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71102">
                <a:tc>
                  <a:txBody>
                    <a:bodyPr/>
                    <a:lstStyle/>
                    <a:p>
                      <a:pPr algn="ctr">
                        <a:defRPr sz="800">
                          <a:latin typeface="Nexa Book"/>
                        </a:defRPr>
                      </a:pPr>
                      <a:r>
                        <a:t>Mousseux Espagno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71102">
                <a:tc>
                  <a:txBody>
                    <a:bodyPr/>
                    <a:lstStyle/>
                    <a:p>
                      <a:pPr algn="ctr">
                        <a:defRPr sz="800">
                          <a:latin typeface="Nexa Book"/>
                        </a:defRPr>
                      </a:pPr>
                      <a:r>
                        <a:t>Demi-Se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71102">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7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71102">
                <a:tc>
                  <a:txBody>
                    <a:bodyPr/>
                    <a:lstStyle/>
                    <a:p>
                      <a:pPr algn="ctr">
                        <a:defRPr sz="800">
                          <a:latin typeface="Nexa Book"/>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71102">
                <a:tc>
                  <a:txBody>
                    <a:bodyPr/>
                    <a:lstStyle/>
                    <a:p>
                      <a:pPr algn="ctr">
                        <a:defRPr sz="800">
                          <a:latin typeface="Nexa Book"/>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71102">
                <a:tc>
                  <a:txBody>
                    <a:bodyPr/>
                    <a:lstStyle/>
                    <a:p>
                      <a:pPr algn="ctr">
                        <a:defRPr sz="800">
                          <a:latin typeface="Nexa Book"/>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71102">
                <a:tc>
                  <a:txBody>
                    <a:bodyPr/>
                    <a:lstStyle/>
                    <a:p>
                      <a:pPr algn="ctr">
                        <a:defRPr sz="800">
                          <a:latin typeface="Nexa Book"/>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6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71102">
                <a:tc>
                  <a:txBody>
                    <a:bodyPr/>
                    <a:lstStyle/>
                    <a:p>
                      <a:pPr algn="ctr">
                        <a:defRPr sz="800">
                          <a:latin typeface="Nexa Book"/>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71102">
                <a:tc>
                  <a:txBody>
                    <a:bodyPr/>
                    <a:lstStyle/>
                    <a:p>
                      <a:pPr algn="ctr">
                        <a:defRPr sz="800">
                          <a:latin typeface="Nexa Book"/>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71102">
                <a:tc>
                  <a:txBody>
                    <a:bodyPr/>
                    <a:lstStyle/>
                    <a:p>
                      <a:pPr algn="ctr">
                        <a:defRPr sz="800">
                          <a:latin typeface="Nexa Book"/>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8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71102">
                <a:tc>
                  <a:txBody>
                    <a:bodyPr/>
                    <a:lstStyle/>
                    <a:p>
                      <a:pPr algn="ctr">
                        <a:defRPr sz="800">
                          <a:latin typeface="Nexa Book"/>
                        </a:defRPr>
                      </a:pPr>
                      <a:r>
                        <a:t>Brut Natu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71102">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8972705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70989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96963"/>
            <a:ext cx="2375325" cy="126474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096963"/>
            <a:ext cx="2375326" cy="126474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70989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94073880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Mousseux Bourgogn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9696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174353101"/>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Effervescents | Malard Nicolas | NICOLAS CC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83"/>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71102">
                <a:tc>
                  <a:txBody>
                    <a:bodyPr/>
                    <a:lstStyle/>
                    <a:p>
                      <a:pPr algn="ctr">
                        <a:defRPr sz="800">
                          <a:latin typeface="Nexa Book"/>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22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71102">
                <a:tc>
                  <a:txBody>
                    <a:bodyPr/>
                    <a:lstStyle/>
                    <a:p>
                      <a:pPr algn="ctr">
                        <a:defRPr sz="800">
                          <a:latin typeface="Nexa Book"/>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71102">
                <a:tc>
                  <a:txBody>
                    <a:bodyPr/>
                    <a:lstStyle/>
                    <a:p>
                      <a:pPr algn="ctr">
                        <a:defRPr sz="800">
                          <a:latin typeface="Nexa Book"/>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71102">
                <a:tc>
                  <a:txBody>
                    <a:bodyPr/>
                    <a:lstStyle/>
                    <a:p>
                      <a:pPr algn="ctr">
                        <a:defRPr sz="800">
                          <a:latin typeface="Nexa Book"/>
                        </a:defRPr>
                      </a:pPr>
                      <a:r>
                        <a:t>Mousseux Bordelai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71102">
                <a:tc>
                  <a:txBody>
                    <a:bodyPr/>
                    <a:lstStyle/>
                    <a:p>
                      <a:pPr algn="ctr">
                        <a:defRPr sz="800">
                          <a:latin typeface="Nexa Book"/>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71102">
                <a:tc>
                  <a:txBody>
                    <a:bodyPr/>
                    <a:lstStyle/>
                    <a:p>
                      <a:pPr algn="ctr">
                        <a:defRPr sz="800">
                          <a:latin typeface="Nexa Book"/>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71102">
                <a:tc>
                  <a:txBody>
                    <a:bodyPr/>
                    <a:lstStyle/>
                    <a:p>
                      <a:pPr algn="ctr">
                        <a:defRPr sz="800">
                          <a:latin typeface="Nexa Book"/>
                        </a:defRPr>
                      </a:pPr>
                      <a:r>
                        <a:t>Mousseux Espagno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71102">
                <a:tc>
                  <a:txBody>
                    <a:bodyPr/>
                    <a:lstStyle/>
                    <a:p>
                      <a:pPr algn="ctr">
                        <a:defRPr sz="800">
                          <a:latin typeface="Nexa Book"/>
                        </a:defRPr>
                      </a:pPr>
                      <a:r>
                        <a:t>Demi-Se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71102">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7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71102">
                <a:tc>
                  <a:txBody>
                    <a:bodyPr/>
                    <a:lstStyle/>
                    <a:p>
                      <a:pPr algn="ctr">
                        <a:defRPr sz="800">
                          <a:latin typeface="Nexa Book"/>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71102">
                <a:tc>
                  <a:txBody>
                    <a:bodyPr/>
                    <a:lstStyle/>
                    <a:p>
                      <a:pPr algn="ctr">
                        <a:defRPr sz="800">
                          <a:latin typeface="Nexa Book"/>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71102">
                <a:tc>
                  <a:txBody>
                    <a:bodyPr/>
                    <a:lstStyle/>
                    <a:p>
                      <a:pPr algn="ctr">
                        <a:defRPr sz="800">
                          <a:latin typeface="Nexa Book"/>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71102">
                <a:tc>
                  <a:txBody>
                    <a:bodyPr/>
                    <a:lstStyle/>
                    <a:p>
                      <a:pPr algn="ctr">
                        <a:defRPr sz="800">
                          <a:latin typeface="Nexa Book"/>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71102">
                <a:tc>
                  <a:txBody>
                    <a:bodyPr/>
                    <a:lstStyle/>
                    <a:p>
                      <a:pPr algn="ctr">
                        <a:defRPr sz="800">
                          <a:latin typeface="Nexa Book"/>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71102">
                <a:tc>
                  <a:txBody>
                    <a:bodyPr/>
                    <a:lstStyle/>
                    <a:p>
                      <a:pPr algn="ctr">
                        <a:defRPr sz="800">
                          <a:latin typeface="Nexa Book"/>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71102">
                <a:tc>
                  <a:txBody>
                    <a:bodyPr/>
                    <a:lstStyle/>
                    <a:p>
                      <a:pPr algn="ctr">
                        <a:defRPr sz="800">
                          <a:latin typeface="Nexa Book"/>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71102">
                <a:tc>
                  <a:txBody>
                    <a:bodyPr/>
                    <a:lstStyle/>
                    <a:p>
                      <a:pPr algn="ctr">
                        <a:defRPr sz="800">
                          <a:latin typeface="Nexa Book"/>
                        </a:defRPr>
                      </a:pPr>
                      <a:r>
                        <a:t>Brut Natu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71102">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68800423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Effervescents | Malard Nicolas | NICOLAS QC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83"/>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71102">
                <a:tc>
                  <a:txBody>
                    <a:bodyPr/>
                    <a:lstStyle/>
                    <a:p>
                      <a:pPr algn="ctr">
                        <a:defRPr sz="800">
                          <a:latin typeface="Nexa Book"/>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77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71102">
                <a:tc>
                  <a:txBody>
                    <a:bodyPr/>
                    <a:lstStyle/>
                    <a:p>
                      <a:pPr algn="ctr">
                        <a:defRPr sz="800">
                          <a:latin typeface="Nexa Book"/>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71102">
                <a:tc>
                  <a:txBody>
                    <a:bodyPr/>
                    <a:lstStyle/>
                    <a:p>
                      <a:pPr algn="ctr">
                        <a:defRPr sz="800">
                          <a:latin typeface="Nexa Book"/>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71102">
                <a:tc>
                  <a:txBody>
                    <a:bodyPr/>
                    <a:lstStyle/>
                    <a:p>
                      <a:pPr algn="ctr">
                        <a:defRPr sz="800">
                          <a:latin typeface="Nexa Book"/>
                        </a:defRPr>
                      </a:pPr>
                      <a:r>
                        <a:t>Mousseux Bordelai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71102">
                <a:tc>
                  <a:txBody>
                    <a:bodyPr/>
                    <a:lstStyle/>
                    <a:p>
                      <a:pPr algn="ctr">
                        <a:defRPr sz="800">
                          <a:latin typeface="Nexa Book"/>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71102">
                <a:tc>
                  <a:txBody>
                    <a:bodyPr/>
                    <a:lstStyle/>
                    <a:p>
                      <a:pPr algn="ctr">
                        <a:defRPr sz="800">
                          <a:latin typeface="Nexa Book"/>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71102">
                <a:tc>
                  <a:txBody>
                    <a:bodyPr/>
                    <a:lstStyle/>
                    <a:p>
                      <a:pPr algn="ctr">
                        <a:defRPr sz="800">
                          <a:latin typeface="Nexa Book"/>
                        </a:defRPr>
                      </a:pPr>
                      <a:r>
                        <a:t>Mousseux Espagno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71102">
                <a:tc>
                  <a:txBody>
                    <a:bodyPr/>
                    <a:lstStyle/>
                    <a:p>
                      <a:pPr algn="ctr">
                        <a:defRPr sz="800">
                          <a:latin typeface="Nexa Book"/>
                        </a:defRPr>
                      </a:pPr>
                      <a:r>
                        <a:t>Demi-Se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71102">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71102">
                <a:tc>
                  <a:txBody>
                    <a:bodyPr/>
                    <a:lstStyle/>
                    <a:p>
                      <a:pPr algn="ctr">
                        <a:defRPr sz="800">
                          <a:latin typeface="Nexa Book"/>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71102">
                <a:tc>
                  <a:txBody>
                    <a:bodyPr/>
                    <a:lstStyle/>
                    <a:p>
                      <a:pPr algn="ctr">
                        <a:defRPr sz="800">
                          <a:latin typeface="Nexa Book"/>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71102">
                <a:tc>
                  <a:txBody>
                    <a:bodyPr/>
                    <a:lstStyle/>
                    <a:p>
                      <a:pPr algn="ctr">
                        <a:defRPr sz="800">
                          <a:latin typeface="Nexa Book"/>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71102">
                <a:tc>
                  <a:txBody>
                    <a:bodyPr/>
                    <a:lstStyle/>
                    <a:p>
                      <a:pPr algn="ctr">
                        <a:defRPr sz="800">
                          <a:latin typeface="Nexa Book"/>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71102">
                <a:tc>
                  <a:txBody>
                    <a:bodyPr/>
                    <a:lstStyle/>
                    <a:p>
                      <a:pPr algn="ctr">
                        <a:defRPr sz="800">
                          <a:latin typeface="Nexa Book"/>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6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71102">
                <a:tc>
                  <a:txBody>
                    <a:bodyPr/>
                    <a:lstStyle/>
                    <a:p>
                      <a:pPr algn="ctr">
                        <a:defRPr sz="800">
                          <a:latin typeface="Nexa Book"/>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6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71102">
                <a:tc>
                  <a:txBody>
                    <a:bodyPr/>
                    <a:lstStyle/>
                    <a:p>
                      <a:pPr algn="ctr">
                        <a:defRPr sz="800">
                          <a:latin typeface="Nexa Book"/>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71102">
                <a:tc>
                  <a:txBody>
                    <a:bodyPr/>
                    <a:lstStyle/>
                    <a:p>
                      <a:pPr algn="ctr">
                        <a:defRPr sz="800">
                          <a:latin typeface="Nexa Book"/>
                        </a:defRPr>
                      </a:pPr>
                      <a:r>
                        <a:t>Brut Natu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71102">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8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83558922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Effervescents | Malard Nicolas | NICOLAS IDF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83"/>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71102">
                <a:tc>
                  <a:txBody>
                    <a:bodyPr/>
                    <a:lstStyle/>
                    <a:p>
                      <a:pPr algn="ctr">
                        <a:defRPr sz="800">
                          <a:latin typeface="Nexa Book"/>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71102">
                <a:tc>
                  <a:txBody>
                    <a:bodyPr/>
                    <a:lstStyle/>
                    <a:p>
                      <a:pPr algn="ctr">
                        <a:defRPr sz="800">
                          <a:latin typeface="Nexa Book"/>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71102">
                <a:tc>
                  <a:txBody>
                    <a:bodyPr/>
                    <a:lstStyle/>
                    <a:p>
                      <a:pPr algn="ctr">
                        <a:defRPr sz="800">
                          <a:latin typeface="Nexa Book"/>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71102">
                <a:tc>
                  <a:txBody>
                    <a:bodyPr/>
                    <a:lstStyle/>
                    <a:p>
                      <a:pPr algn="ctr">
                        <a:defRPr sz="800">
                          <a:latin typeface="Nexa Book"/>
                        </a:defRPr>
                      </a:pPr>
                      <a:r>
                        <a:t>Mousseux Bordelai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71102">
                <a:tc>
                  <a:txBody>
                    <a:bodyPr/>
                    <a:lstStyle/>
                    <a:p>
                      <a:pPr algn="ctr">
                        <a:defRPr sz="800">
                          <a:latin typeface="Nexa Book"/>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71102">
                <a:tc>
                  <a:txBody>
                    <a:bodyPr/>
                    <a:lstStyle/>
                    <a:p>
                      <a:pPr algn="ctr">
                        <a:defRPr sz="800">
                          <a:latin typeface="Nexa Book"/>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71102">
                <a:tc>
                  <a:txBody>
                    <a:bodyPr/>
                    <a:lstStyle/>
                    <a:p>
                      <a:pPr algn="ctr">
                        <a:defRPr sz="800">
                          <a:latin typeface="Nexa Book"/>
                        </a:defRPr>
                      </a:pPr>
                      <a:r>
                        <a:t>Mousseux Espagno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8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71102">
                <a:tc>
                  <a:txBody>
                    <a:bodyPr/>
                    <a:lstStyle/>
                    <a:p>
                      <a:pPr algn="ctr">
                        <a:defRPr sz="800">
                          <a:latin typeface="Nexa Book"/>
                        </a:defRPr>
                      </a:pPr>
                      <a:r>
                        <a:t>Demi-Se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71102">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71102">
                <a:tc>
                  <a:txBody>
                    <a:bodyPr/>
                    <a:lstStyle/>
                    <a:p>
                      <a:pPr algn="ctr">
                        <a:defRPr sz="800">
                          <a:latin typeface="Nexa Book"/>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71102">
                <a:tc>
                  <a:txBody>
                    <a:bodyPr/>
                    <a:lstStyle/>
                    <a:p>
                      <a:pPr algn="ctr">
                        <a:defRPr sz="800">
                          <a:latin typeface="Nexa Book"/>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71102">
                <a:tc>
                  <a:txBody>
                    <a:bodyPr/>
                    <a:lstStyle/>
                    <a:p>
                      <a:pPr algn="ctr">
                        <a:defRPr sz="800">
                          <a:latin typeface="Nexa Book"/>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71102">
                <a:tc>
                  <a:txBody>
                    <a:bodyPr/>
                    <a:lstStyle/>
                    <a:p>
                      <a:pPr algn="ctr">
                        <a:defRPr sz="800">
                          <a:latin typeface="Nexa Book"/>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71102">
                <a:tc>
                  <a:txBody>
                    <a:bodyPr/>
                    <a:lstStyle/>
                    <a:p>
                      <a:pPr algn="ctr">
                        <a:defRPr sz="800">
                          <a:latin typeface="Nexa Book"/>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6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71102">
                <a:tc>
                  <a:txBody>
                    <a:bodyPr/>
                    <a:lstStyle/>
                    <a:p>
                      <a:pPr algn="ctr">
                        <a:defRPr sz="800">
                          <a:latin typeface="Nexa Book"/>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71102">
                <a:tc>
                  <a:txBody>
                    <a:bodyPr/>
                    <a:lstStyle/>
                    <a:p>
                      <a:pPr algn="ctr">
                        <a:defRPr sz="800">
                          <a:latin typeface="Nexa Book"/>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71102">
                <a:tc>
                  <a:txBody>
                    <a:bodyPr/>
                    <a:lstStyle/>
                    <a:p>
                      <a:pPr algn="ctr">
                        <a:defRPr sz="800">
                          <a:latin typeface="Nexa Book"/>
                        </a:defRPr>
                      </a:pPr>
                      <a:r>
                        <a:t>Brut Natu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71102">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7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63081999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Effervescents | Malard Nicolas | NICOLAS VCN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83"/>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71102">
                <a:tc>
                  <a:txBody>
                    <a:bodyPr/>
                    <a:lstStyle/>
                    <a:p>
                      <a:pPr algn="ctr">
                        <a:defRPr sz="800">
                          <a:latin typeface="Nexa Book"/>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6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71102">
                <a:tc>
                  <a:txBody>
                    <a:bodyPr/>
                    <a:lstStyle/>
                    <a:p>
                      <a:pPr algn="ctr">
                        <a:defRPr sz="800">
                          <a:latin typeface="Nexa Book"/>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71102">
                <a:tc>
                  <a:txBody>
                    <a:bodyPr/>
                    <a:lstStyle/>
                    <a:p>
                      <a:pPr algn="ctr">
                        <a:defRPr sz="800">
                          <a:latin typeface="Nexa Book"/>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71102">
                <a:tc>
                  <a:txBody>
                    <a:bodyPr/>
                    <a:lstStyle/>
                    <a:p>
                      <a:pPr algn="ctr">
                        <a:defRPr sz="800">
                          <a:latin typeface="Nexa Book"/>
                        </a:defRPr>
                      </a:pPr>
                      <a:r>
                        <a:t>Mousseux Bordelai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71102">
                <a:tc>
                  <a:txBody>
                    <a:bodyPr/>
                    <a:lstStyle/>
                    <a:p>
                      <a:pPr algn="ctr">
                        <a:defRPr sz="800">
                          <a:latin typeface="Nexa Book"/>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71102">
                <a:tc>
                  <a:txBody>
                    <a:bodyPr/>
                    <a:lstStyle/>
                    <a:p>
                      <a:pPr algn="ctr">
                        <a:defRPr sz="800">
                          <a:latin typeface="Nexa Book"/>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71102">
                <a:tc>
                  <a:txBody>
                    <a:bodyPr/>
                    <a:lstStyle/>
                    <a:p>
                      <a:pPr algn="ctr">
                        <a:defRPr sz="800">
                          <a:latin typeface="Nexa Book"/>
                        </a:defRPr>
                      </a:pPr>
                      <a:r>
                        <a:t>Mousseux Espagno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71102">
                <a:tc>
                  <a:txBody>
                    <a:bodyPr/>
                    <a:lstStyle/>
                    <a:p>
                      <a:pPr algn="ctr">
                        <a:defRPr sz="800">
                          <a:latin typeface="Nexa Book"/>
                        </a:defRPr>
                      </a:pPr>
                      <a:r>
                        <a:t>Demi-Se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71102">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71102">
                <a:tc>
                  <a:txBody>
                    <a:bodyPr/>
                    <a:lstStyle/>
                    <a:p>
                      <a:pPr algn="ctr">
                        <a:defRPr sz="800">
                          <a:latin typeface="Nexa Book"/>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71102">
                <a:tc>
                  <a:txBody>
                    <a:bodyPr/>
                    <a:lstStyle/>
                    <a:p>
                      <a:pPr algn="ctr">
                        <a:defRPr sz="800">
                          <a:latin typeface="Nexa Book"/>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71102">
                <a:tc>
                  <a:txBody>
                    <a:bodyPr/>
                    <a:lstStyle/>
                    <a:p>
                      <a:pPr algn="ctr">
                        <a:defRPr sz="800">
                          <a:latin typeface="Nexa Book"/>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71102">
                <a:tc>
                  <a:txBody>
                    <a:bodyPr/>
                    <a:lstStyle/>
                    <a:p>
                      <a:pPr algn="ctr">
                        <a:defRPr sz="800">
                          <a:latin typeface="Nexa Book"/>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71102">
                <a:tc>
                  <a:txBody>
                    <a:bodyPr/>
                    <a:lstStyle/>
                    <a:p>
                      <a:pPr algn="ctr">
                        <a:defRPr sz="800">
                          <a:latin typeface="Nexa Book"/>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71102">
                <a:tc>
                  <a:txBody>
                    <a:bodyPr/>
                    <a:lstStyle/>
                    <a:p>
                      <a:pPr algn="ctr">
                        <a:defRPr sz="800">
                          <a:latin typeface="Nexa Book"/>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71102">
                <a:tc>
                  <a:txBody>
                    <a:bodyPr/>
                    <a:lstStyle/>
                    <a:p>
                      <a:pPr algn="ctr">
                        <a:defRPr sz="800">
                          <a:latin typeface="Nexa Book"/>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5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71102">
                <a:tc>
                  <a:txBody>
                    <a:bodyPr/>
                    <a:lstStyle/>
                    <a:p>
                      <a:pPr algn="ctr">
                        <a:defRPr sz="800">
                          <a:latin typeface="Nexa Book"/>
                        </a:defRPr>
                      </a:pPr>
                      <a:r>
                        <a:t>Brut Natu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71102">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3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905421076"/>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Effervescents | Malard Nicolas | NICOLAS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83"/>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71102">
                <a:tc>
                  <a:txBody>
                    <a:bodyPr/>
                    <a:lstStyle/>
                    <a:p>
                      <a:pPr algn="ctr">
                        <a:defRPr sz="800">
                          <a:latin typeface="Nexa Book"/>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3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71102">
                <a:tc>
                  <a:txBody>
                    <a:bodyPr/>
                    <a:lstStyle/>
                    <a:p>
                      <a:pPr algn="ctr">
                        <a:defRPr sz="800">
                          <a:latin typeface="Nexa Book"/>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71102">
                <a:tc>
                  <a:txBody>
                    <a:bodyPr/>
                    <a:lstStyle/>
                    <a:p>
                      <a:pPr algn="ctr">
                        <a:defRPr sz="800">
                          <a:latin typeface="Nexa Book"/>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71102">
                <a:tc>
                  <a:txBody>
                    <a:bodyPr/>
                    <a:lstStyle/>
                    <a:p>
                      <a:pPr algn="ctr">
                        <a:defRPr sz="800">
                          <a:latin typeface="Nexa Book"/>
                        </a:defRPr>
                      </a:pPr>
                      <a:r>
                        <a:t>Mousseux Bordelai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71102">
                <a:tc>
                  <a:txBody>
                    <a:bodyPr/>
                    <a:lstStyle/>
                    <a:p>
                      <a:pPr algn="ctr">
                        <a:defRPr sz="800">
                          <a:latin typeface="Nexa Book"/>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71102">
                <a:tc>
                  <a:txBody>
                    <a:bodyPr/>
                    <a:lstStyle/>
                    <a:p>
                      <a:pPr algn="ctr">
                        <a:defRPr sz="800">
                          <a:latin typeface="Nexa Book"/>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71102">
                <a:tc>
                  <a:txBody>
                    <a:bodyPr/>
                    <a:lstStyle/>
                    <a:p>
                      <a:pPr algn="ctr">
                        <a:defRPr sz="800">
                          <a:latin typeface="Nexa Book"/>
                        </a:defRPr>
                      </a:pPr>
                      <a:r>
                        <a:t>Mousseux Espagno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71102">
                <a:tc>
                  <a:txBody>
                    <a:bodyPr/>
                    <a:lstStyle/>
                    <a:p>
                      <a:pPr algn="ctr">
                        <a:defRPr sz="800">
                          <a:latin typeface="Nexa Book"/>
                        </a:defRPr>
                      </a:pPr>
                      <a:r>
                        <a:t>Demi-Se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71102">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71102">
                <a:tc>
                  <a:txBody>
                    <a:bodyPr/>
                    <a:lstStyle/>
                    <a:p>
                      <a:pPr algn="ctr">
                        <a:defRPr sz="800">
                          <a:latin typeface="Nexa Book"/>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71102">
                <a:tc>
                  <a:txBody>
                    <a:bodyPr/>
                    <a:lstStyle/>
                    <a:p>
                      <a:pPr algn="ctr">
                        <a:defRPr sz="800">
                          <a:latin typeface="Nexa Book"/>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71102">
                <a:tc>
                  <a:txBody>
                    <a:bodyPr/>
                    <a:lstStyle/>
                    <a:p>
                      <a:pPr algn="ctr">
                        <a:defRPr sz="800">
                          <a:latin typeface="Nexa Book"/>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71102">
                <a:tc>
                  <a:txBody>
                    <a:bodyPr/>
                    <a:lstStyle/>
                    <a:p>
                      <a:pPr algn="ctr">
                        <a:defRPr sz="800">
                          <a:latin typeface="Nexa Book"/>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71102">
                <a:tc>
                  <a:txBody>
                    <a:bodyPr/>
                    <a:lstStyle/>
                    <a:p>
                      <a:pPr algn="ctr">
                        <a:defRPr sz="800">
                          <a:latin typeface="Nexa Book"/>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71102">
                <a:tc>
                  <a:txBody>
                    <a:bodyPr/>
                    <a:lstStyle/>
                    <a:p>
                      <a:pPr algn="ctr">
                        <a:defRPr sz="800">
                          <a:latin typeface="Nexa Book"/>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71102">
                <a:tc>
                  <a:txBody>
                    <a:bodyPr/>
                    <a:lstStyle/>
                    <a:p>
                      <a:pPr algn="ctr">
                        <a:defRPr sz="800">
                          <a:latin typeface="Nexa Book"/>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71102">
                <a:tc>
                  <a:txBody>
                    <a:bodyPr/>
                    <a:lstStyle/>
                    <a:p>
                      <a:pPr algn="ctr">
                        <a:defRPr sz="800">
                          <a:latin typeface="Nexa Book"/>
                        </a:defRPr>
                      </a:pPr>
                      <a:r>
                        <a:t>Brut Natu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71102">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68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562071205"/>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Effervescents | Malard Nicolas | NICOLAS QCN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83"/>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71102">
                <a:tc>
                  <a:txBody>
                    <a:bodyPr/>
                    <a:lstStyle/>
                    <a:p>
                      <a:pPr algn="ctr">
                        <a:defRPr sz="800">
                          <a:latin typeface="Nexa Book"/>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71102">
                <a:tc>
                  <a:txBody>
                    <a:bodyPr/>
                    <a:lstStyle/>
                    <a:p>
                      <a:pPr algn="ctr">
                        <a:defRPr sz="800">
                          <a:latin typeface="Nexa Book"/>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71102">
                <a:tc>
                  <a:txBody>
                    <a:bodyPr/>
                    <a:lstStyle/>
                    <a:p>
                      <a:pPr algn="ctr">
                        <a:defRPr sz="800">
                          <a:latin typeface="Nexa Book"/>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71102">
                <a:tc>
                  <a:txBody>
                    <a:bodyPr/>
                    <a:lstStyle/>
                    <a:p>
                      <a:pPr algn="ctr">
                        <a:defRPr sz="800">
                          <a:latin typeface="Nexa Book"/>
                        </a:defRPr>
                      </a:pPr>
                      <a:r>
                        <a:t>Mousseux Bordelai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71102">
                <a:tc>
                  <a:txBody>
                    <a:bodyPr/>
                    <a:lstStyle/>
                    <a:p>
                      <a:pPr algn="ctr">
                        <a:defRPr sz="800">
                          <a:latin typeface="Nexa Book"/>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71102">
                <a:tc>
                  <a:txBody>
                    <a:bodyPr/>
                    <a:lstStyle/>
                    <a:p>
                      <a:pPr algn="ctr">
                        <a:defRPr sz="800">
                          <a:latin typeface="Nexa Book"/>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71102">
                <a:tc>
                  <a:txBody>
                    <a:bodyPr/>
                    <a:lstStyle/>
                    <a:p>
                      <a:pPr algn="ctr">
                        <a:defRPr sz="800">
                          <a:latin typeface="Nexa Book"/>
                        </a:defRPr>
                      </a:pPr>
                      <a:r>
                        <a:t>Mousseux Espagno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6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71102">
                <a:tc>
                  <a:txBody>
                    <a:bodyPr/>
                    <a:lstStyle/>
                    <a:p>
                      <a:pPr algn="ctr">
                        <a:defRPr sz="800">
                          <a:latin typeface="Nexa Book"/>
                        </a:defRPr>
                      </a:pPr>
                      <a:r>
                        <a:t>Demi-Se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71102">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71102">
                <a:tc>
                  <a:txBody>
                    <a:bodyPr/>
                    <a:lstStyle/>
                    <a:p>
                      <a:pPr algn="ctr">
                        <a:defRPr sz="800">
                          <a:latin typeface="Nexa Book"/>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71102">
                <a:tc>
                  <a:txBody>
                    <a:bodyPr/>
                    <a:lstStyle/>
                    <a:p>
                      <a:pPr algn="ctr">
                        <a:defRPr sz="800">
                          <a:latin typeface="Nexa Book"/>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71102">
                <a:tc>
                  <a:txBody>
                    <a:bodyPr/>
                    <a:lstStyle/>
                    <a:p>
                      <a:pPr algn="ctr">
                        <a:defRPr sz="800">
                          <a:latin typeface="Nexa Book"/>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71102">
                <a:tc>
                  <a:txBody>
                    <a:bodyPr/>
                    <a:lstStyle/>
                    <a:p>
                      <a:pPr algn="ctr">
                        <a:defRPr sz="800">
                          <a:latin typeface="Nexa Book"/>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71102">
                <a:tc>
                  <a:txBody>
                    <a:bodyPr/>
                    <a:lstStyle/>
                    <a:p>
                      <a:pPr algn="ctr">
                        <a:defRPr sz="800">
                          <a:latin typeface="Nexa Book"/>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71102">
                <a:tc>
                  <a:txBody>
                    <a:bodyPr/>
                    <a:lstStyle/>
                    <a:p>
                      <a:pPr algn="ctr">
                        <a:defRPr sz="800">
                          <a:latin typeface="Nexa Book"/>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71102">
                <a:tc>
                  <a:txBody>
                    <a:bodyPr/>
                    <a:lstStyle/>
                    <a:p>
                      <a:pPr algn="ctr">
                        <a:defRPr sz="800">
                          <a:latin typeface="Nexa Book"/>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71102">
                <a:tc>
                  <a:txBody>
                    <a:bodyPr/>
                    <a:lstStyle/>
                    <a:p>
                      <a:pPr algn="ctr">
                        <a:defRPr sz="800">
                          <a:latin typeface="Nexa Book"/>
                        </a:defRPr>
                      </a:pPr>
                      <a:r>
                        <a:t>Brut Natu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71102">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9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188888633"/>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Effervescents | Malard Nicolas | NICOLAS QCA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83"/>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71102">
                <a:tc>
                  <a:txBody>
                    <a:bodyPr/>
                    <a:lstStyle/>
                    <a:p>
                      <a:pPr algn="ctr">
                        <a:defRPr sz="800">
                          <a:latin typeface="Nexa Book"/>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2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71102">
                <a:tc>
                  <a:txBody>
                    <a:bodyPr/>
                    <a:lstStyle/>
                    <a:p>
                      <a:pPr algn="ctr">
                        <a:defRPr sz="800">
                          <a:latin typeface="Nexa Book"/>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71102">
                <a:tc>
                  <a:txBody>
                    <a:bodyPr/>
                    <a:lstStyle/>
                    <a:p>
                      <a:pPr algn="ctr">
                        <a:defRPr sz="800">
                          <a:latin typeface="Nexa Book"/>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71102">
                <a:tc>
                  <a:txBody>
                    <a:bodyPr/>
                    <a:lstStyle/>
                    <a:p>
                      <a:pPr algn="ctr">
                        <a:defRPr sz="800">
                          <a:latin typeface="Nexa Book"/>
                        </a:defRPr>
                      </a:pPr>
                      <a:r>
                        <a:t>Mousseux Bordelai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71102">
                <a:tc>
                  <a:txBody>
                    <a:bodyPr/>
                    <a:lstStyle/>
                    <a:p>
                      <a:pPr algn="ctr">
                        <a:defRPr sz="800">
                          <a:latin typeface="Nexa Book"/>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71102">
                <a:tc>
                  <a:txBody>
                    <a:bodyPr/>
                    <a:lstStyle/>
                    <a:p>
                      <a:pPr algn="ctr">
                        <a:defRPr sz="800">
                          <a:latin typeface="Nexa Book"/>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71102">
                <a:tc>
                  <a:txBody>
                    <a:bodyPr/>
                    <a:lstStyle/>
                    <a:p>
                      <a:pPr algn="ctr">
                        <a:defRPr sz="800">
                          <a:latin typeface="Nexa Book"/>
                        </a:defRPr>
                      </a:pPr>
                      <a:r>
                        <a:t>Mousseux Espagno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71102">
                <a:tc>
                  <a:txBody>
                    <a:bodyPr/>
                    <a:lstStyle/>
                    <a:p>
                      <a:pPr algn="ctr">
                        <a:defRPr sz="800">
                          <a:latin typeface="Nexa Book"/>
                        </a:defRPr>
                      </a:pPr>
                      <a:r>
                        <a:t>Demi-Se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71102">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71102">
                <a:tc>
                  <a:txBody>
                    <a:bodyPr/>
                    <a:lstStyle/>
                    <a:p>
                      <a:pPr algn="ctr">
                        <a:defRPr sz="800">
                          <a:latin typeface="Nexa Book"/>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71102">
                <a:tc>
                  <a:txBody>
                    <a:bodyPr/>
                    <a:lstStyle/>
                    <a:p>
                      <a:pPr algn="ctr">
                        <a:defRPr sz="800">
                          <a:latin typeface="Nexa Book"/>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71102">
                <a:tc>
                  <a:txBody>
                    <a:bodyPr/>
                    <a:lstStyle/>
                    <a:p>
                      <a:pPr algn="ctr">
                        <a:defRPr sz="800">
                          <a:latin typeface="Nexa Book"/>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71102">
                <a:tc>
                  <a:txBody>
                    <a:bodyPr/>
                    <a:lstStyle/>
                    <a:p>
                      <a:pPr algn="ctr">
                        <a:defRPr sz="800">
                          <a:latin typeface="Nexa Book"/>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3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71102">
                <a:tc>
                  <a:txBody>
                    <a:bodyPr/>
                    <a:lstStyle/>
                    <a:p>
                      <a:pPr algn="ctr">
                        <a:defRPr sz="800">
                          <a:latin typeface="Nexa Book"/>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71102">
                <a:tc>
                  <a:txBody>
                    <a:bodyPr/>
                    <a:lstStyle/>
                    <a:p>
                      <a:pPr algn="ctr">
                        <a:defRPr sz="800">
                          <a:latin typeface="Nexa Book"/>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71102">
                <a:tc>
                  <a:txBody>
                    <a:bodyPr/>
                    <a:lstStyle/>
                    <a:p>
                      <a:pPr algn="ctr">
                        <a:defRPr sz="800">
                          <a:latin typeface="Nexa Book"/>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86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71102">
                <a:tc>
                  <a:txBody>
                    <a:bodyPr/>
                    <a:lstStyle/>
                    <a:p>
                      <a:pPr algn="ctr">
                        <a:defRPr sz="800">
                          <a:latin typeface="Nexa Book"/>
                        </a:defRPr>
                      </a:pPr>
                      <a:r>
                        <a:t>Brut Natu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71102">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6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66871496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Effervescents | Malard Nicolas | NICOLAS RHO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83"/>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71102">
                <a:tc>
                  <a:txBody>
                    <a:bodyPr/>
                    <a:lstStyle/>
                    <a:p>
                      <a:pPr algn="ctr">
                        <a:defRPr sz="800">
                          <a:latin typeface="Nexa Book"/>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40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71102">
                <a:tc>
                  <a:txBody>
                    <a:bodyPr/>
                    <a:lstStyle/>
                    <a:p>
                      <a:pPr algn="ctr">
                        <a:defRPr sz="800">
                          <a:latin typeface="Nexa Book"/>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71102">
                <a:tc>
                  <a:txBody>
                    <a:bodyPr/>
                    <a:lstStyle/>
                    <a:p>
                      <a:pPr algn="ctr">
                        <a:defRPr sz="800">
                          <a:latin typeface="Nexa Book"/>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71102">
                <a:tc>
                  <a:txBody>
                    <a:bodyPr/>
                    <a:lstStyle/>
                    <a:p>
                      <a:pPr algn="ctr">
                        <a:defRPr sz="800">
                          <a:latin typeface="Nexa Book"/>
                        </a:defRPr>
                      </a:pPr>
                      <a:r>
                        <a:t>Mousseux Bordelai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71102">
                <a:tc>
                  <a:txBody>
                    <a:bodyPr/>
                    <a:lstStyle/>
                    <a:p>
                      <a:pPr algn="ctr">
                        <a:defRPr sz="800">
                          <a:latin typeface="Nexa Book"/>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71102">
                <a:tc>
                  <a:txBody>
                    <a:bodyPr/>
                    <a:lstStyle/>
                    <a:p>
                      <a:pPr algn="ctr">
                        <a:defRPr sz="800">
                          <a:latin typeface="Nexa Book"/>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71102">
                <a:tc>
                  <a:txBody>
                    <a:bodyPr/>
                    <a:lstStyle/>
                    <a:p>
                      <a:pPr algn="ctr">
                        <a:defRPr sz="800">
                          <a:latin typeface="Nexa Book"/>
                        </a:defRPr>
                      </a:pPr>
                      <a:r>
                        <a:t>Mousseux Espagno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71102">
                <a:tc>
                  <a:txBody>
                    <a:bodyPr/>
                    <a:lstStyle/>
                    <a:p>
                      <a:pPr algn="ctr">
                        <a:defRPr sz="800">
                          <a:latin typeface="Nexa Book"/>
                        </a:defRPr>
                      </a:pPr>
                      <a:r>
                        <a:t>Demi-Se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71102">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7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71102">
                <a:tc>
                  <a:txBody>
                    <a:bodyPr/>
                    <a:lstStyle/>
                    <a:p>
                      <a:pPr algn="ctr">
                        <a:defRPr sz="800">
                          <a:latin typeface="Nexa Book"/>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71102">
                <a:tc>
                  <a:txBody>
                    <a:bodyPr/>
                    <a:lstStyle/>
                    <a:p>
                      <a:pPr algn="ctr">
                        <a:defRPr sz="800">
                          <a:latin typeface="Nexa Book"/>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71102">
                <a:tc>
                  <a:txBody>
                    <a:bodyPr/>
                    <a:lstStyle/>
                    <a:p>
                      <a:pPr algn="ctr">
                        <a:defRPr sz="800">
                          <a:latin typeface="Nexa Book"/>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71102">
                <a:tc>
                  <a:txBody>
                    <a:bodyPr/>
                    <a:lstStyle/>
                    <a:p>
                      <a:pPr algn="ctr">
                        <a:defRPr sz="800">
                          <a:latin typeface="Nexa Book"/>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71102">
                <a:tc>
                  <a:txBody>
                    <a:bodyPr/>
                    <a:lstStyle/>
                    <a:p>
                      <a:pPr algn="ctr">
                        <a:defRPr sz="800">
                          <a:latin typeface="Nexa Book"/>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71102">
                <a:tc>
                  <a:txBody>
                    <a:bodyPr/>
                    <a:lstStyle/>
                    <a:p>
                      <a:pPr algn="ctr">
                        <a:defRPr sz="800">
                          <a:latin typeface="Nexa Book"/>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71102">
                <a:tc>
                  <a:txBody>
                    <a:bodyPr/>
                    <a:lstStyle/>
                    <a:p>
                      <a:pPr algn="ctr">
                        <a:defRPr sz="800">
                          <a:latin typeface="Nexa Book"/>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0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71102">
                <a:tc>
                  <a:txBody>
                    <a:bodyPr/>
                    <a:lstStyle/>
                    <a:p>
                      <a:pPr algn="ctr">
                        <a:defRPr sz="800">
                          <a:latin typeface="Nexa Book"/>
                        </a:defRPr>
                      </a:pPr>
                      <a:r>
                        <a:t>Brut Natu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71102">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23100000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Effervescents | Malard Nicolas | NICOLAS ES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83"/>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71102">
                <a:tc>
                  <a:txBody>
                    <a:bodyPr/>
                    <a:lstStyle/>
                    <a:p>
                      <a:pPr algn="ctr">
                        <a:defRPr sz="800">
                          <a:latin typeface="Nexa Book"/>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6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71102">
                <a:tc>
                  <a:txBody>
                    <a:bodyPr/>
                    <a:lstStyle/>
                    <a:p>
                      <a:pPr algn="ctr">
                        <a:defRPr sz="800">
                          <a:latin typeface="Nexa Book"/>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71102">
                <a:tc>
                  <a:txBody>
                    <a:bodyPr/>
                    <a:lstStyle/>
                    <a:p>
                      <a:pPr algn="ctr">
                        <a:defRPr sz="800">
                          <a:latin typeface="Nexa Book"/>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71102">
                <a:tc>
                  <a:txBody>
                    <a:bodyPr/>
                    <a:lstStyle/>
                    <a:p>
                      <a:pPr algn="ctr">
                        <a:defRPr sz="800">
                          <a:latin typeface="Nexa Book"/>
                        </a:defRPr>
                      </a:pPr>
                      <a:r>
                        <a:t>Mousseux Bordelai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71102">
                <a:tc>
                  <a:txBody>
                    <a:bodyPr/>
                    <a:lstStyle/>
                    <a:p>
                      <a:pPr algn="ctr">
                        <a:defRPr sz="800">
                          <a:latin typeface="Nexa Book"/>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71102">
                <a:tc>
                  <a:txBody>
                    <a:bodyPr/>
                    <a:lstStyle/>
                    <a:p>
                      <a:pPr algn="ctr">
                        <a:defRPr sz="800">
                          <a:latin typeface="Nexa Book"/>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71102">
                <a:tc>
                  <a:txBody>
                    <a:bodyPr/>
                    <a:lstStyle/>
                    <a:p>
                      <a:pPr algn="ctr">
                        <a:defRPr sz="800">
                          <a:latin typeface="Nexa Book"/>
                        </a:defRPr>
                      </a:pPr>
                      <a:r>
                        <a:t>Mousseux Espagno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71102">
                <a:tc>
                  <a:txBody>
                    <a:bodyPr/>
                    <a:lstStyle/>
                    <a:p>
                      <a:pPr algn="ctr">
                        <a:defRPr sz="800">
                          <a:latin typeface="Nexa Book"/>
                        </a:defRPr>
                      </a:pPr>
                      <a:r>
                        <a:t>Demi-Se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8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71102">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71102">
                <a:tc>
                  <a:txBody>
                    <a:bodyPr/>
                    <a:lstStyle/>
                    <a:p>
                      <a:pPr algn="ctr">
                        <a:defRPr sz="800">
                          <a:latin typeface="Nexa Book"/>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71102">
                <a:tc>
                  <a:txBody>
                    <a:bodyPr/>
                    <a:lstStyle/>
                    <a:p>
                      <a:pPr algn="ctr">
                        <a:defRPr sz="800">
                          <a:latin typeface="Nexa Book"/>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71102">
                <a:tc>
                  <a:txBody>
                    <a:bodyPr/>
                    <a:lstStyle/>
                    <a:p>
                      <a:pPr algn="ctr">
                        <a:defRPr sz="800">
                          <a:latin typeface="Nexa Book"/>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2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71102">
                <a:tc>
                  <a:txBody>
                    <a:bodyPr/>
                    <a:lstStyle/>
                    <a:p>
                      <a:pPr algn="ctr">
                        <a:defRPr sz="800">
                          <a:latin typeface="Nexa Book"/>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8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71102">
                <a:tc>
                  <a:txBody>
                    <a:bodyPr/>
                    <a:lstStyle/>
                    <a:p>
                      <a:pPr algn="ctr">
                        <a:defRPr sz="800">
                          <a:latin typeface="Nexa Book"/>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71102">
                <a:tc>
                  <a:txBody>
                    <a:bodyPr/>
                    <a:lstStyle/>
                    <a:p>
                      <a:pPr algn="ctr">
                        <a:defRPr sz="800">
                          <a:latin typeface="Nexa Book"/>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8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71102">
                <a:tc>
                  <a:txBody>
                    <a:bodyPr/>
                    <a:lstStyle/>
                    <a:p>
                      <a:pPr algn="ctr">
                        <a:defRPr sz="800">
                          <a:latin typeface="Nexa Book"/>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43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71102">
                <a:tc>
                  <a:txBody>
                    <a:bodyPr/>
                    <a:lstStyle/>
                    <a:p>
                      <a:pPr algn="ctr">
                        <a:defRPr sz="800">
                          <a:latin typeface="Nexa Book"/>
                        </a:defRPr>
                      </a:pPr>
                      <a:r>
                        <a:t>Brut Natu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8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71102">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879652147"/>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Effervescents | Malard Nicolas | NICOLAS AQU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83"/>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71102">
                <a:tc>
                  <a:txBody>
                    <a:bodyPr/>
                    <a:lstStyle/>
                    <a:p>
                      <a:pPr algn="ctr">
                        <a:defRPr sz="800">
                          <a:latin typeface="Nexa Book"/>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4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71102">
                <a:tc>
                  <a:txBody>
                    <a:bodyPr/>
                    <a:lstStyle/>
                    <a:p>
                      <a:pPr algn="ctr">
                        <a:defRPr sz="800">
                          <a:latin typeface="Nexa Book"/>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71102">
                <a:tc>
                  <a:txBody>
                    <a:bodyPr/>
                    <a:lstStyle/>
                    <a:p>
                      <a:pPr algn="ctr">
                        <a:defRPr sz="800">
                          <a:latin typeface="Nexa Book"/>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71102">
                <a:tc>
                  <a:txBody>
                    <a:bodyPr/>
                    <a:lstStyle/>
                    <a:p>
                      <a:pPr algn="ctr">
                        <a:defRPr sz="800">
                          <a:latin typeface="Nexa Book"/>
                        </a:defRPr>
                      </a:pPr>
                      <a:r>
                        <a:t>Mousseux Bordelai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71102">
                <a:tc>
                  <a:txBody>
                    <a:bodyPr/>
                    <a:lstStyle/>
                    <a:p>
                      <a:pPr algn="ctr">
                        <a:defRPr sz="800">
                          <a:latin typeface="Nexa Book"/>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71102">
                <a:tc>
                  <a:txBody>
                    <a:bodyPr/>
                    <a:lstStyle/>
                    <a:p>
                      <a:pPr algn="ctr">
                        <a:defRPr sz="800">
                          <a:latin typeface="Nexa Book"/>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71102">
                <a:tc>
                  <a:txBody>
                    <a:bodyPr/>
                    <a:lstStyle/>
                    <a:p>
                      <a:pPr algn="ctr">
                        <a:defRPr sz="800">
                          <a:latin typeface="Nexa Book"/>
                        </a:defRPr>
                      </a:pPr>
                      <a:r>
                        <a:t>Mousseux Espagno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71102">
                <a:tc>
                  <a:txBody>
                    <a:bodyPr/>
                    <a:lstStyle/>
                    <a:p>
                      <a:pPr algn="ctr">
                        <a:defRPr sz="800">
                          <a:latin typeface="Nexa Book"/>
                        </a:defRPr>
                      </a:pPr>
                      <a:r>
                        <a:t>Demi-Se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71102">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71102">
                <a:tc>
                  <a:txBody>
                    <a:bodyPr/>
                    <a:lstStyle/>
                    <a:p>
                      <a:pPr algn="ctr">
                        <a:defRPr sz="800">
                          <a:latin typeface="Nexa Book"/>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71102">
                <a:tc>
                  <a:txBody>
                    <a:bodyPr/>
                    <a:lstStyle/>
                    <a:p>
                      <a:pPr algn="ctr">
                        <a:defRPr sz="800">
                          <a:latin typeface="Nexa Book"/>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71102">
                <a:tc>
                  <a:txBody>
                    <a:bodyPr/>
                    <a:lstStyle/>
                    <a:p>
                      <a:pPr algn="ctr">
                        <a:defRPr sz="800">
                          <a:latin typeface="Nexa Book"/>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71102">
                <a:tc>
                  <a:txBody>
                    <a:bodyPr/>
                    <a:lstStyle/>
                    <a:p>
                      <a:pPr algn="ctr">
                        <a:defRPr sz="800">
                          <a:latin typeface="Nexa Book"/>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71102">
                <a:tc>
                  <a:txBody>
                    <a:bodyPr/>
                    <a:lstStyle/>
                    <a:p>
                      <a:pPr algn="ctr">
                        <a:defRPr sz="800">
                          <a:latin typeface="Nexa Book"/>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71102">
                <a:tc>
                  <a:txBody>
                    <a:bodyPr/>
                    <a:lstStyle/>
                    <a:p>
                      <a:pPr algn="ctr">
                        <a:defRPr sz="800">
                          <a:latin typeface="Nexa Book"/>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71102">
                <a:tc>
                  <a:txBody>
                    <a:bodyPr/>
                    <a:lstStyle/>
                    <a:p>
                      <a:pPr algn="ctr">
                        <a:defRPr sz="800">
                          <a:latin typeface="Nexa Book"/>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71102">
                <a:tc>
                  <a:txBody>
                    <a:bodyPr/>
                    <a:lstStyle/>
                    <a:p>
                      <a:pPr algn="ctr">
                        <a:defRPr sz="800">
                          <a:latin typeface="Nexa Book"/>
                        </a:defRPr>
                      </a:pPr>
                      <a:r>
                        <a:t>Brut Natu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71102">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590706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70567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92748"/>
            <a:ext cx="2375325" cy="126896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092748"/>
            <a:ext cx="2375326" cy="126896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70567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06429106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Mousseux Italien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9274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1203207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Effervescents | Malard Nicolas | CA B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83"/>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71102">
                <a:tc>
                  <a:txBody>
                    <a:bodyPr/>
                    <a:lstStyle/>
                    <a:p>
                      <a:pPr algn="ctr">
                        <a:defRPr sz="800">
                          <a:latin typeface="Nexa Book"/>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71102">
                <a:tc>
                  <a:txBody>
                    <a:bodyPr/>
                    <a:lstStyle/>
                    <a:p>
                      <a:pPr algn="ctr">
                        <a:defRPr sz="800">
                          <a:latin typeface="Nexa Book"/>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71102">
                <a:tc>
                  <a:txBody>
                    <a:bodyPr/>
                    <a:lstStyle/>
                    <a:p>
                      <a:pPr algn="ctr">
                        <a:defRPr sz="800">
                          <a:latin typeface="Nexa Book"/>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71102">
                <a:tc>
                  <a:txBody>
                    <a:bodyPr/>
                    <a:lstStyle/>
                    <a:p>
                      <a:pPr algn="ctr">
                        <a:defRPr sz="800">
                          <a:latin typeface="Nexa Book"/>
                        </a:defRPr>
                      </a:pPr>
                      <a:r>
                        <a:t>Mousseux Bordelai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71102">
                <a:tc>
                  <a:txBody>
                    <a:bodyPr/>
                    <a:lstStyle/>
                    <a:p>
                      <a:pPr algn="ctr">
                        <a:defRPr sz="800">
                          <a:latin typeface="Nexa Book"/>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71102">
                <a:tc>
                  <a:txBody>
                    <a:bodyPr/>
                    <a:lstStyle/>
                    <a:p>
                      <a:pPr algn="ctr">
                        <a:defRPr sz="800">
                          <a:latin typeface="Nexa Book"/>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71102">
                <a:tc>
                  <a:txBody>
                    <a:bodyPr/>
                    <a:lstStyle/>
                    <a:p>
                      <a:pPr algn="ctr">
                        <a:defRPr sz="800">
                          <a:latin typeface="Nexa Book"/>
                        </a:defRPr>
                      </a:pPr>
                      <a:r>
                        <a:t>Mousseux Espagno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7500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71102">
                <a:tc>
                  <a:txBody>
                    <a:bodyPr/>
                    <a:lstStyle/>
                    <a:p>
                      <a:pPr algn="ctr">
                        <a:defRPr sz="800">
                          <a:latin typeface="Nexa Book"/>
                        </a:defRPr>
                      </a:pPr>
                      <a:r>
                        <a:t>Demi-Se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71102">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71102">
                <a:tc>
                  <a:txBody>
                    <a:bodyPr/>
                    <a:lstStyle/>
                    <a:p>
                      <a:pPr algn="ctr">
                        <a:defRPr sz="800">
                          <a:latin typeface="Nexa Book"/>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71102">
                <a:tc>
                  <a:txBody>
                    <a:bodyPr/>
                    <a:lstStyle/>
                    <a:p>
                      <a:pPr algn="ctr">
                        <a:defRPr sz="800">
                          <a:latin typeface="Nexa Book"/>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71102">
                <a:tc>
                  <a:txBody>
                    <a:bodyPr/>
                    <a:lstStyle/>
                    <a:p>
                      <a:pPr algn="ctr">
                        <a:defRPr sz="800">
                          <a:latin typeface="Nexa Book"/>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71102">
                <a:tc>
                  <a:txBody>
                    <a:bodyPr/>
                    <a:lstStyle/>
                    <a:p>
                      <a:pPr algn="ctr">
                        <a:defRPr sz="800">
                          <a:latin typeface="Nexa Book"/>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71102">
                <a:tc>
                  <a:txBody>
                    <a:bodyPr/>
                    <a:lstStyle/>
                    <a:p>
                      <a:pPr algn="ctr">
                        <a:defRPr sz="800">
                          <a:latin typeface="Nexa Book"/>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71102">
                <a:tc>
                  <a:txBody>
                    <a:bodyPr/>
                    <a:lstStyle/>
                    <a:p>
                      <a:pPr algn="ctr">
                        <a:defRPr sz="800">
                          <a:latin typeface="Nexa Book"/>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71102">
                <a:tc>
                  <a:txBody>
                    <a:bodyPr/>
                    <a:lstStyle/>
                    <a:p>
                      <a:pPr algn="ctr">
                        <a:defRPr sz="800">
                          <a:latin typeface="Nexa Book"/>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71102">
                <a:tc>
                  <a:txBody>
                    <a:bodyPr/>
                    <a:lstStyle/>
                    <a:p>
                      <a:pPr algn="ctr">
                        <a:defRPr sz="800">
                          <a:latin typeface="Nexa Book"/>
                        </a:defRPr>
                      </a:pPr>
                      <a:r>
                        <a:t>Brut Natu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71102">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406977766"/>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Effervescents | Malard Nicolas | CA A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83"/>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71102">
                <a:tc>
                  <a:txBody>
                    <a:bodyPr/>
                    <a:lstStyle/>
                    <a:p>
                      <a:pPr algn="ctr">
                        <a:defRPr sz="800">
                          <a:latin typeface="Nexa Book"/>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71102">
                <a:tc>
                  <a:txBody>
                    <a:bodyPr/>
                    <a:lstStyle/>
                    <a:p>
                      <a:pPr algn="ctr">
                        <a:defRPr sz="800">
                          <a:latin typeface="Nexa Book"/>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71102">
                <a:tc>
                  <a:txBody>
                    <a:bodyPr/>
                    <a:lstStyle/>
                    <a:p>
                      <a:pPr algn="ctr">
                        <a:defRPr sz="800">
                          <a:latin typeface="Nexa Book"/>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71102">
                <a:tc>
                  <a:txBody>
                    <a:bodyPr/>
                    <a:lstStyle/>
                    <a:p>
                      <a:pPr algn="ctr">
                        <a:defRPr sz="800">
                          <a:latin typeface="Nexa Book"/>
                        </a:defRPr>
                      </a:pPr>
                      <a:r>
                        <a:t>Mousseux Bordelai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4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71102">
                <a:tc>
                  <a:txBody>
                    <a:bodyPr/>
                    <a:lstStyle/>
                    <a:p>
                      <a:pPr algn="ctr">
                        <a:defRPr sz="800">
                          <a:latin typeface="Nexa Book"/>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71102">
                <a:tc>
                  <a:txBody>
                    <a:bodyPr/>
                    <a:lstStyle/>
                    <a:p>
                      <a:pPr algn="ctr">
                        <a:defRPr sz="800">
                          <a:latin typeface="Nexa Book"/>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71102">
                <a:tc>
                  <a:txBody>
                    <a:bodyPr/>
                    <a:lstStyle/>
                    <a:p>
                      <a:pPr algn="ctr">
                        <a:defRPr sz="800">
                          <a:latin typeface="Nexa Book"/>
                        </a:defRPr>
                      </a:pPr>
                      <a:r>
                        <a:t>Mousseux Espagno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7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71102">
                <a:tc>
                  <a:txBody>
                    <a:bodyPr/>
                    <a:lstStyle/>
                    <a:p>
                      <a:pPr algn="ctr">
                        <a:defRPr sz="800">
                          <a:latin typeface="Nexa Book"/>
                        </a:defRPr>
                      </a:pPr>
                      <a:r>
                        <a:t>Demi-Se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71102">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71102">
                <a:tc>
                  <a:txBody>
                    <a:bodyPr/>
                    <a:lstStyle/>
                    <a:p>
                      <a:pPr algn="ctr">
                        <a:defRPr sz="800">
                          <a:latin typeface="Nexa Book"/>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71102">
                <a:tc>
                  <a:txBody>
                    <a:bodyPr/>
                    <a:lstStyle/>
                    <a:p>
                      <a:pPr algn="ctr">
                        <a:defRPr sz="800">
                          <a:latin typeface="Nexa Book"/>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71102">
                <a:tc>
                  <a:txBody>
                    <a:bodyPr/>
                    <a:lstStyle/>
                    <a:p>
                      <a:pPr algn="ctr">
                        <a:defRPr sz="800">
                          <a:latin typeface="Nexa Book"/>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71102">
                <a:tc>
                  <a:txBody>
                    <a:bodyPr/>
                    <a:lstStyle/>
                    <a:p>
                      <a:pPr algn="ctr">
                        <a:defRPr sz="800">
                          <a:latin typeface="Nexa Book"/>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71102">
                <a:tc>
                  <a:txBody>
                    <a:bodyPr/>
                    <a:lstStyle/>
                    <a:p>
                      <a:pPr algn="ctr">
                        <a:defRPr sz="800">
                          <a:latin typeface="Nexa Book"/>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71102">
                <a:tc>
                  <a:txBody>
                    <a:bodyPr/>
                    <a:lstStyle/>
                    <a:p>
                      <a:pPr algn="ctr">
                        <a:defRPr sz="800">
                          <a:latin typeface="Nexa Book"/>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71102">
                <a:tc>
                  <a:txBody>
                    <a:bodyPr/>
                    <a:lstStyle/>
                    <a:p>
                      <a:pPr algn="ctr">
                        <a:defRPr sz="800">
                          <a:latin typeface="Nexa Book"/>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71102">
                <a:tc>
                  <a:txBody>
                    <a:bodyPr/>
                    <a:lstStyle/>
                    <a:p>
                      <a:pPr algn="ctr">
                        <a:defRPr sz="800">
                          <a:latin typeface="Nexa Book"/>
                        </a:defRPr>
                      </a:pPr>
                      <a:r>
                        <a:t>Brut Natu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71102">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0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725889244"/>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Effervescents | Malard Nicolas | CA D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83"/>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71102">
                <a:tc>
                  <a:txBody>
                    <a:bodyPr/>
                    <a:lstStyle/>
                    <a:p>
                      <a:pPr algn="ctr">
                        <a:defRPr sz="800">
                          <a:latin typeface="Nexa Book"/>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5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71102">
                <a:tc>
                  <a:txBody>
                    <a:bodyPr/>
                    <a:lstStyle/>
                    <a:p>
                      <a:pPr algn="ctr">
                        <a:defRPr sz="800">
                          <a:latin typeface="Nexa Book"/>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71102">
                <a:tc>
                  <a:txBody>
                    <a:bodyPr/>
                    <a:lstStyle/>
                    <a:p>
                      <a:pPr algn="ctr">
                        <a:defRPr sz="800">
                          <a:latin typeface="Nexa Book"/>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71102">
                <a:tc>
                  <a:txBody>
                    <a:bodyPr/>
                    <a:lstStyle/>
                    <a:p>
                      <a:pPr algn="ctr">
                        <a:defRPr sz="800">
                          <a:latin typeface="Nexa Book"/>
                        </a:defRPr>
                      </a:pPr>
                      <a:r>
                        <a:t>Mousseux Bordelai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71102">
                <a:tc>
                  <a:txBody>
                    <a:bodyPr/>
                    <a:lstStyle/>
                    <a:p>
                      <a:pPr algn="ctr">
                        <a:defRPr sz="800">
                          <a:latin typeface="Nexa Book"/>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71102">
                <a:tc>
                  <a:txBody>
                    <a:bodyPr/>
                    <a:lstStyle/>
                    <a:p>
                      <a:pPr algn="ctr">
                        <a:defRPr sz="800">
                          <a:latin typeface="Nexa Book"/>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71102">
                <a:tc>
                  <a:txBody>
                    <a:bodyPr/>
                    <a:lstStyle/>
                    <a:p>
                      <a:pPr algn="ctr">
                        <a:defRPr sz="800">
                          <a:latin typeface="Nexa Book"/>
                        </a:defRPr>
                      </a:pPr>
                      <a:r>
                        <a:t>Mousseux Espagno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1666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71102">
                <a:tc>
                  <a:txBody>
                    <a:bodyPr/>
                    <a:lstStyle/>
                    <a:p>
                      <a:pPr algn="ctr">
                        <a:defRPr sz="800">
                          <a:latin typeface="Nexa Book"/>
                        </a:defRPr>
                      </a:pPr>
                      <a:r>
                        <a:t>Demi-Se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71102">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71102">
                <a:tc>
                  <a:txBody>
                    <a:bodyPr/>
                    <a:lstStyle/>
                    <a:p>
                      <a:pPr algn="ctr">
                        <a:defRPr sz="800">
                          <a:latin typeface="Nexa Book"/>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71102">
                <a:tc>
                  <a:txBody>
                    <a:bodyPr/>
                    <a:lstStyle/>
                    <a:p>
                      <a:pPr algn="ctr">
                        <a:defRPr sz="800">
                          <a:latin typeface="Nexa Book"/>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71102">
                <a:tc>
                  <a:txBody>
                    <a:bodyPr/>
                    <a:lstStyle/>
                    <a:p>
                      <a:pPr algn="ctr">
                        <a:defRPr sz="800">
                          <a:latin typeface="Nexa Book"/>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71102">
                <a:tc>
                  <a:txBody>
                    <a:bodyPr/>
                    <a:lstStyle/>
                    <a:p>
                      <a:pPr algn="ctr">
                        <a:defRPr sz="800">
                          <a:latin typeface="Nexa Book"/>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71102">
                <a:tc>
                  <a:txBody>
                    <a:bodyPr/>
                    <a:lstStyle/>
                    <a:p>
                      <a:pPr algn="ctr">
                        <a:defRPr sz="800">
                          <a:latin typeface="Nexa Book"/>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71102">
                <a:tc>
                  <a:txBody>
                    <a:bodyPr/>
                    <a:lstStyle/>
                    <a:p>
                      <a:pPr algn="ctr">
                        <a:defRPr sz="800">
                          <a:latin typeface="Nexa Book"/>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71102">
                <a:tc>
                  <a:txBody>
                    <a:bodyPr/>
                    <a:lstStyle/>
                    <a:p>
                      <a:pPr algn="ctr">
                        <a:defRPr sz="800">
                          <a:latin typeface="Nexa Book"/>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71102">
                <a:tc>
                  <a:txBody>
                    <a:bodyPr/>
                    <a:lstStyle/>
                    <a:p>
                      <a:pPr algn="ctr">
                        <a:defRPr sz="800">
                          <a:latin typeface="Nexa Book"/>
                        </a:defRPr>
                      </a:pPr>
                      <a:r>
                        <a:t>Brut Natu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71102">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2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187964086"/>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Effervescents | Malard Nicolas | CA E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83"/>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71102">
                <a:tc>
                  <a:txBody>
                    <a:bodyPr/>
                    <a:lstStyle/>
                    <a:p>
                      <a:pPr algn="ctr">
                        <a:defRPr sz="800">
                          <a:latin typeface="Nexa Book"/>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4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71102">
                <a:tc>
                  <a:txBody>
                    <a:bodyPr/>
                    <a:lstStyle/>
                    <a:p>
                      <a:pPr algn="ctr">
                        <a:defRPr sz="800">
                          <a:latin typeface="Nexa Book"/>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71102">
                <a:tc>
                  <a:txBody>
                    <a:bodyPr/>
                    <a:lstStyle/>
                    <a:p>
                      <a:pPr algn="ctr">
                        <a:defRPr sz="800">
                          <a:latin typeface="Nexa Book"/>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71102">
                <a:tc>
                  <a:txBody>
                    <a:bodyPr/>
                    <a:lstStyle/>
                    <a:p>
                      <a:pPr algn="ctr">
                        <a:defRPr sz="800">
                          <a:latin typeface="Nexa Book"/>
                        </a:defRPr>
                      </a:pPr>
                      <a:r>
                        <a:t>Mousseux Bordelai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71102">
                <a:tc>
                  <a:txBody>
                    <a:bodyPr/>
                    <a:lstStyle/>
                    <a:p>
                      <a:pPr algn="ctr">
                        <a:defRPr sz="800">
                          <a:latin typeface="Nexa Book"/>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71102">
                <a:tc>
                  <a:txBody>
                    <a:bodyPr/>
                    <a:lstStyle/>
                    <a:p>
                      <a:pPr algn="ctr">
                        <a:defRPr sz="800">
                          <a:latin typeface="Nexa Book"/>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71102">
                <a:tc>
                  <a:txBody>
                    <a:bodyPr/>
                    <a:lstStyle/>
                    <a:p>
                      <a:pPr algn="ctr">
                        <a:defRPr sz="800">
                          <a:latin typeface="Nexa Book"/>
                        </a:defRPr>
                      </a:pPr>
                      <a:r>
                        <a:t>Mousseux Espagno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71102">
                <a:tc>
                  <a:txBody>
                    <a:bodyPr/>
                    <a:lstStyle/>
                    <a:p>
                      <a:pPr algn="ctr">
                        <a:defRPr sz="800">
                          <a:latin typeface="Nexa Book"/>
                        </a:defRPr>
                      </a:pPr>
                      <a:r>
                        <a:t>Demi-Se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71102">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71102">
                <a:tc>
                  <a:txBody>
                    <a:bodyPr/>
                    <a:lstStyle/>
                    <a:p>
                      <a:pPr algn="ctr">
                        <a:defRPr sz="800">
                          <a:latin typeface="Nexa Book"/>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71102">
                <a:tc>
                  <a:txBody>
                    <a:bodyPr/>
                    <a:lstStyle/>
                    <a:p>
                      <a:pPr algn="ctr">
                        <a:defRPr sz="800">
                          <a:latin typeface="Nexa Book"/>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71102">
                <a:tc>
                  <a:txBody>
                    <a:bodyPr/>
                    <a:lstStyle/>
                    <a:p>
                      <a:pPr algn="ctr">
                        <a:defRPr sz="800">
                          <a:latin typeface="Nexa Book"/>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71102">
                <a:tc>
                  <a:txBody>
                    <a:bodyPr/>
                    <a:lstStyle/>
                    <a:p>
                      <a:pPr algn="ctr">
                        <a:defRPr sz="800">
                          <a:latin typeface="Nexa Book"/>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71102">
                <a:tc>
                  <a:txBody>
                    <a:bodyPr/>
                    <a:lstStyle/>
                    <a:p>
                      <a:pPr algn="ctr">
                        <a:defRPr sz="800">
                          <a:latin typeface="Nexa Book"/>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71102">
                <a:tc>
                  <a:txBody>
                    <a:bodyPr/>
                    <a:lstStyle/>
                    <a:p>
                      <a:pPr algn="ctr">
                        <a:defRPr sz="800">
                          <a:latin typeface="Nexa Book"/>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71102">
                <a:tc>
                  <a:txBody>
                    <a:bodyPr/>
                    <a:lstStyle/>
                    <a:p>
                      <a:pPr algn="ctr">
                        <a:defRPr sz="800">
                          <a:latin typeface="Nexa Book"/>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71102">
                <a:tc>
                  <a:txBody>
                    <a:bodyPr/>
                    <a:lstStyle/>
                    <a:p>
                      <a:pPr algn="ctr">
                        <a:defRPr sz="800">
                          <a:latin typeface="Nexa Book"/>
                        </a:defRPr>
                      </a:pPr>
                      <a:r>
                        <a:t>Brut Natu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71102">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1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38648274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Effervescents | Malard Nicolas | CA C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83"/>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71102">
                <a:tc>
                  <a:txBody>
                    <a:bodyPr/>
                    <a:lstStyle/>
                    <a:p>
                      <a:pPr algn="ctr">
                        <a:defRPr sz="800">
                          <a:latin typeface="Nexa Book"/>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8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71102">
                <a:tc>
                  <a:txBody>
                    <a:bodyPr/>
                    <a:lstStyle/>
                    <a:p>
                      <a:pPr algn="ctr">
                        <a:defRPr sz="800">
                          <a:latin typeface="Nexa Book"/>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71102">
                <a:tc>
                  <a:txBody>
                    <a:bodyPr/>
                    <a:lstStyle/>
                    <a:p>
                      <a:pPr algn="ctr">
                        <a:defRPr sz="800">
                          <a:latin typeface="Nexa Book"/>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71102">
                <a:tc>
                  <a:txBody>
                    <a:bodyPr/>
                    <a:lstStyle/>
                    <a:p>
                      <a:pPr algn="ctr">
                        <a:defRPr sz="800">
                          <a:latin typeface="Nexa Book"/>
                        </a:defRPr>
                      </a:pPr>
                      <a:r>
                        <a:t>Mousseux Bordelai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71102">
                <a:tc>
                  <a:txBody>
                    <a:bodyPr/>
                    <a:lstStyle/>
                    <a:p>
                      <a:pPr algn="ctr">
                        <a:defRPr sz="800">
                          <a:latin typeface="Nexa Book"/>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71102">
                <a:tc>
                  <a:txBody>
                    <a:bodyPr/>
                    <a:lstStyle/>
                    <a:p>
                      <a:pPr algn="ctr">
                        <a:defRPr sz="800">
                          <a:latin typeface="Nexa Book"/>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71102">
                <a:tc>
                  <a:txBody>
                    <a:bodyPr/>
                    <a:lstStyle/>
                    <a:p>
                      <a:pPr algn="ctr">
                        <a:defRPr sz="800">
                          <a:latin typeface="Nexa Book"/>
                        </a:defRPr>
                      </a:pPr>
                      <a:r>
                        <a:t>Mousseux Espagno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7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71102">
                <a:tc>
                  <a:txBody>
                    <a:bodyPr/>
                    <a:lstStyle/>
                    <a:p>
                      <a:pPr algn="ctr">
                        <a:defRPr sz="800">
                          <a:latin typeface="Nexa Book"/>
                        </a:defRPr>
                      </a:pPr>
                      <a:r>
                        <a:t>Demi-Se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71102">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2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7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71102">
                <a:tc>
                  <a:txBody>
                    <a:bodyPr/>
                    <a:lstStyle/>
                    <a:p>
                      <a:pPr algn="ctr">
                        <a:defRPr sz="800">
                          <a:latin typeface="Nexa Book"/>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71102">
                <a:tc>
                  <a:txBody>
                    <a:bodyPr/>
                    <a:lstStyle/>
                    <a:p>
                      <a:pPr algn="ctr">
                        <a:defRPr sz="800">
                          <a:latin typeface="Nexa Book"/>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71102">
                <a:tc>
                  <a:txBody>
                    <a:bodyPr/>
                    <a:lstStyle/>
                    <a:p>
                      <a:pPr algn="ctr">
                        <a:defRPr sz="800">
                          <a:latin typeface="Nexa Book"/>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71102">
                <a:tc>
                  <a:txBody>
                    <a:bodyPr/>
                    <a:lstStyle/>
                    <a:p>
                      <a:pPr algn="ctr">
                        <a:defRPr sz="800">
                          <a:latin typeface="Nexa Book"/>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7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71102">
                <a:tc>
                  <a:txBody>
                    <a:bodyPr/>
                    <a:lstStyle/>
                    <a:p>
                      <a:pPr algn="ctr">
                        <a:defRPr sz="800">
                          <a:latin typeface="Nexa Book"/>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71102">
                <a:tc>
                  <a:txBody>
                    <a:bodyPr/>
                    <a:lstStyle/>
                    <a:p>
                      <a:pPr algn="ctr">
                        <a:defRPr sz="800">
                          <a:latin typeface="Nexa Book"/>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71102">
                <a:tc>
                  <a:txBody>
                    <a:bodyPr/>
                    <a:lstStyle/>
                    <a:p>
                      <a:pPr algn="ctr">
                        <a:defRPr sz="800">
                          <a:latin typeface="Nexa Book"/>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71102">
                <a:tc>
                  <a:txBody>
                    <a:bodyPr/>
                    <a:lstStyle/>
                    <a:p>
                      <a:pPr algn="ctr">
                        <a:defRPr sz="800">
                          <a:latin typeface="Nexa Book"/>
                        </a:defRPr>
                      </a:pPr>
                      <a:r>
                        <a:t>Brut Natu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71102">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5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6053568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NICOLAS CC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839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839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839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839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839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839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839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839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839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8395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8395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57727115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NICOLAS QC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241165930"/>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NICOLAS PA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55307257"/>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NICOLAS IDF</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330778476"/>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NICOLAS QC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8983144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71156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98630"/>
            <a:ext cx="2375325" cy="126307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098630"/>
            <a:ext cx="2375326" cy="126307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71156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08139493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Mousseux Val De Loir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9863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185429688"/>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NICOLA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61478182"/>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NICOLAS Q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17102372"/>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NICOLAS V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85793064"/>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NICOLAS RHO</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60126626"/>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NICOLAS ES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67159925"/>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NICOLAS AQ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470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470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470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470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470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470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470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470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470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7798769"/>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CA 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71769719"/>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CA 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932664442"/>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CA 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564816358"/>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CA 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448062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71417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1241"/>
            <a:ext cx="2375325" cy="126046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101241"/>
            <a:ext cx="2375326" cy="126046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71417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88134910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Mousseux Bordelai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124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680180513"/>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CA B</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877715952"/>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NICOLAS Q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98919596"/>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NICOLA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294924186"/>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NICOLAS V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80785287"/>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NICOLAS CC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839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839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839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839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839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839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839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839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839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8395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8395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248276804"/>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NICOLAS QC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938677446"/>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NICOLAS QC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327109395"/>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NICOLAS PA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77022560"/>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NICOLAS IDF</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11433283"/>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NICOLAS RHO</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5197468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71791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4981"/>
            <a:ext cx="2375325" cy="125672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104981"/>
            <a:ext cx="2375326" cy="125672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71791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80948251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Mousseux Alsac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498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487690965"/>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NICOLAS AQ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470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470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470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470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470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470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470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470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470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69917660"/>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NICOLAS ES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577482118"/>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CA 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944742666"/>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CA 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89016238"/>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CA B</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256783463"/>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CA 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515288"/>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CA 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968358692"/>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NICOLAS Q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 BS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481843984"/>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NICOLA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 BS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41164318"/>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NICOLAS V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 BS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836943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432060" y="1387069"/>
            <a:ext cx="2895579" cy="172160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8671"/>
            <a:ext cx="1855072" cy="125303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432060" y="3108671"/>
            <a:ext cx="2895579" cy="125303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855072" cy="172160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35523576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Effervescents Sans Alcool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867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99371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610535514"/>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NICOLAS QC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670396381"/>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NICOLAS QC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200133213"/>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NICOLAS CC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69381648"/>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NICOLAS IDF</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 BS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72668249"/>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NICOLAS PA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92712325"/>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NICOLAS ES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805832498"/>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NICOLAS RHO</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031824190"/>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NICOLAS AQ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380146788"/>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CA 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18749680"/>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CA B</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099669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72125" y="1387069"/>
            <a:ext cx="2355514" cy="171703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4107"/>
            <a:ext cx="2395137" cy="125760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72125" y="3104107"/>
            <a:ext cx="2355514" cy="125760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95137" cy="171703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49662038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Cru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410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3378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15918702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CA 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882123803"/>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CA 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 BS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084149547"/>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CA 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154013435"/>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NICOLAS V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 ET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06625141"/>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NICOLA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 ET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92994133"/>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NICOLAS Q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 ET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9882136"/>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NICOLAS QC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09999312"/>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NICOLAS QC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46217922"/>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NICOLAS CC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69802160"/>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NICOLAS IDF</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 ET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6415493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554323" y="1387069"/>
            <a:ext cx="2773316" cy="171838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5454"/>
            <a:ext cx="1977335" cy="125625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554323" y="3105454"/>
            <a:ext cx="2773316" cy="125625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977335" cy="171838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73555976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Blanc De Blanc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545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11598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730373392"/>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NICOLAS PA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06614894"/>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NICOLAS RHO</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90045425"/>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NICOLAS ES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88850876"/>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NICOLAS AQ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510355839"/>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CA 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78003203"/>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CA B</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147096788"/>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CA 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 ET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694524005"/>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CA 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 ET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971126855"/>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CA 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 ET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975847748"/>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rus | NICOLAS V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 CRU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500389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856907" y="1387069"/>
            <a:ext cx="2470732" cy="171452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1598"/>
            <a:ext cx="2279919" cy="126011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856907" y="3101598"/>
            <a:ext cx="2470732" cy="126011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279919" cy="171452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2403687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Extra Bru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159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18564"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085112227"/>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rus | NICOLAS Q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 CRU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75142303"/>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rus | NICOLA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 CRU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74413875"/>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rus | NICOLAS QC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73348219"/>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rus | NICOLAS QC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801816642"/>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rus | NICOLAS PA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49602642"/>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rus | NICOLAS IDF</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 CRU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35583839"/>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rus | NICOLAS AQ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638284336"/>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rus | NICOLAS RHO</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16537959"/>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rus | CA 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293400654"/>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rus | CA B</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504653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71763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4707"/>
            <a:ext cx="2375325" cy="125700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104707"/>
            <a:ext cx="2375326" cy="125700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71763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27667000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Cru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470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9207986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30840" y="1387069"/>
            <a:ext cx="2396799" cy="170155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88626"/>
            <a:ext cx="2353852" cy="127308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30840" y="3088626"/>
            <a:ext cx="2396799" cy="127308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53852" cy="170155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96469427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Mousseux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8862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9249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181796108"/>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rus | CA 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701515921"/>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rus | CA 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 CRU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48202385"/>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rus | CA 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 CRU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40256695"/>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NICOLAS Q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 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581068041"/>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NICOLA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 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984152"/>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NICOLAS V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 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09078853"/>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NICOLAS QC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842103728"/>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NICOLAS QC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850462348"/>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NICOLAS CC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58372482"/>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NICOLAS IDF</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 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219087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274006" y="1387069"/>
            <a:ext cx="3053633" cy="171858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5650"/>
            <a:ext cx="1697018" cy="125605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274006" y="3105650"/>
            <a:ext cx="3053633" cy="125605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697018" cy="171858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28872284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Effervescent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565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835663"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124069199"/>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NICOLAS PA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29416835"/>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NICOLAS RHO</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01744941"/>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NICOLAS AQ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10725038"/>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NICOLAS ES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903128252"/>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CA 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05473165"/>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CA B</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52770332"/>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CA 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 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204586805"/>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CA 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 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28704688"/>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CA 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 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37727950"/>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NICOLAS CC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839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839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839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839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839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839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839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839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839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8395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8395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8195619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707059" y="1387069"/>
            <a:ext cx="2620580" cy="172196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9037"/>
            <a:ext cx="2130071" cy="125267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707059" y="3109037"/>
            <a:ext cx="2620580" cy="125267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130071" cy="172196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19082009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Brut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903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26871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277635618"/>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NICOLAS QC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23875492"/>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NICOLAS PA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37775691"/>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NICOLAS IDF</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059815628"/>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NICOLAS QC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573147469"/>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NICOLA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77712063"/>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NICOLAS Q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569187635"/>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NICOLAS V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44269313"/>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NICOLAS RHO</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648075863"/>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NICOLAS ES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776051176"/>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NICOLAS AQ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470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470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470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470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470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470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470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470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470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525330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457677" y="1387069"/>
            <a:ext cx="2869962" cy="172047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7544"/>
            <a:ext cx="1880689" cy="125416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457677" y="3107544"/>
            <a:ext cx="2869962" cy="125416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880689" cy="172047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5671947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Champagn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754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019334"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858771946"/>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CA 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24823686"/>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CA 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13085173"/>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CA 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580948960"/>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CA 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790437228"/>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CA B</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502225251"/>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NICOLAS Q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584984644"/>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NICOLA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908477"/>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NICOLAS V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16673463"/>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NICOLAS CC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839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839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839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839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839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839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839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839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839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8395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8395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541654207"/>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NICOLAS QC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021168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341131" y="1387069"/>
            <a:ext cx="2986508" cy="171980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6875"/>
            <a:ext cx="1764143" cy="125483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341131" y="3106875"/>
            <a:ext cx="2986508" cy="125483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764143" cy="171980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11342691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Millesim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687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90278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0818430"/>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NICOLAS QC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32482428"/>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NICOLAS PA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541537059"/>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NICOLAS IDF</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47259770"/>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NICOLAS RHO</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518758724"/>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NICOLAS AQ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470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470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470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470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470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470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470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470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470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27357661"/>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NICOLAS ES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209840366"/>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CA 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78431648"/>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CA 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81087740"/>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CA B</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847476155"/>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CA 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527404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332290" y="1387069"/>
            <a:ext cx="2995349" cy="17208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7893"/>
            <a:ext cx="1755302" cy="12538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332290" y="3107893"/>
            <a:ext cx="2995349" cy="125381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755302" cy="172082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01932876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Rosé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789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89394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769704276"/>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CA 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74143783"/>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NICOLAS Q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 BS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74206823"/>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NICOLA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 BS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0483"/>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NICOLAS V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 BS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147644584"/>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NICOLAS QC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42033155"/>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NICOLAS QC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44631522"/>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NICOLAS CC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788638159"/>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NICOLAS IDF</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 BS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48950498"/>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NICOLAS PA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917753971"/>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NICOLAS ES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8355924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83790" y="1387069"/>
            <a:ext cx="2343849" cy="170443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91507"/>
            <a:ext cx="2406802" cy="127020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83790" y="3091507"/>
            <a:ext cx="2343849" cy="127020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406802" cy="170443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5481751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Mousseux Bourgogn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9150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4544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896568783"/>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NICOLAS RHO</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796602134"/>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NICOLAS AQ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65886572"/>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CA 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38041706"/>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CA B</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614306136"/>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CA 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34379671"/>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CA 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 BS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52274486"/>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CA 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18944571"/>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NICOLAS V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 ET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76431423"/>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NICOLA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 ET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030535691"/>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NICOLAS Q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 ET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77312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90042" y="1387069"/>
            <a:ext cx="2337597" cy="169713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84207"/>
            <a:ext cx="2413054" cy="127750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90042" y="3084207"/>
            <a:ext cx="2337597" cy="127750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413054" cy="169713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87165863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Mousseux Italien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8420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5169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449472447"/>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NICOLAS QC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547310656"/>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NICOLAS QC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96711531"/>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NICOLAS CC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521826466"/>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NICOLAS IDF</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 ET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508253492"/>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NICOLAS PA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93142052"/>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NICOLAS RHO</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687942042"/>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NICOLAS ES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718148011"/>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NICOLAS AQ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27999846"/>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CA 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974133079"/>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CA B</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364743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31481" y="1387069"/>
            <a:ext cx="2396158" cy="172103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8104"/>
            <a:ext cx="2354493" cy="125360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31481" y="3108104"/>
            <a:ext cx="2396158" cy="125360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54493" cy="172103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38136859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Mousseux Val De Loir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810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9313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019504745"/>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CA 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 ET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02582555"/>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CA 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 ET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41293083"/>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CA 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 ET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799248390"/>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rus | NICOLAS V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 CRU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513002902"/>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rus | NICOLAS Q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 CRU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953363300"/>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rus | NICOLA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 CRU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19544841"/>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rus | NICOLAS QC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74966103"/>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rus | NICOLAS QC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193164734"/>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rus | NICOLAS PA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12982899"/>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rus | NICOLAS IDF</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 CRU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7947848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117173" y="1387069"/>
            <a:ext cx="2210466" cy="171448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1551"/>
            <a:ext cx="2540185" cy="126015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117173" y="3101551"/>
            <a:ext cx="2210466" cy="126015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540185" cy="171448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60836501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Mousseux Bordelai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155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67883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592509534"/>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rus | NICOLAS AQ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845449107"/>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rus | NICOLAS RHO</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951414842"/>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rus | CA 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517389089"/>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rus | CA B</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4630027"/>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rus | CA 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100703111"/>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rus | CA 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 CRU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253898556"/>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rus | CA 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 CRU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68406620"/>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NICOLAS Q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 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06019281"/>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NICOLA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 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37960402"/>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NICOLAS V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 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5097686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72176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8834"/>
            <a:ext cx="2375325" cy="125287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108834"/>
            <a:ext cx="2375326" cy="125287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72176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85591817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Blanc De Blanc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883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47384153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873103" y="1387069"/>
            <a:ext cx="2454536" cy="171698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4055"/>
            <a:ext cx="2296115" cy="125765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873103" y="3104055"/>
            <a:ext cx="2454536" cy="125765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296115" cy="171698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59162036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Mousseux Alsac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405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3476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680104415"/>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NICOLAS QC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08139504"/>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NICOLAS QC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657700401"/>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NICOLAS CC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18967501"/>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NICOLAS IDF</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 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17267981"/>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NICOLAS PA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633873009"/>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NICOLAS RHO</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61974265"/>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NICOLAS AQ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547063623"/>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NICOLAS ES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03723810"/>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CA 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021136410"/>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CA B</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719410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354704" y="1387069"/>
            <a:ext cx="1972935" cy="168816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75238"/>
            <a:ext cx="2777716" cy="128647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354704" y="3075238"/>
            <a:ext cx="1972935" cy="128647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777716" cy="168816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07462884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gion | Malard Nicolas | Effervescents Sans Alcool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7523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16361"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737166754"/>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CA 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 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216591809"/>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CA 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 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56258647"/>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CA 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 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91542287"/>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3</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 per Vol (NS/Vol) and Gross Margin (GM%) | regio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49" cy="3547872"/>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3767359">
                  <a:extLst>
                    <a:ext uri="{9D8B030D-6E8A-4147-A177-3AD203B41FA5}">
                      <a16:colId xmlns:a16="http://schemas.microsoft.com/office/drawing/2014/main" val="2214050810"/>
                    </a:ext>
                  </a:extLst>
                </a:gridCol>
                <a:gridCol w="3767359">
                  <a:extLst>
                    <a:ext uri="{9D8B030D-6E8A-4147-A177-3AD203B41FA5}">
                      <a16:colId xmlns:a16="http://schemas.microsoft.com/office/drawing/2014/main" val="704225536"/>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NICOLA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426821">
                <a:tc rowSpan="2">
                  <a:txBody>
                    <a:bodyPr/>
                    <a:lstStyle/>
                    <a:p>
                      <a:pPr algn="l">
                        <a:defRPr sz="1000" b="0">
                          <a:latin typeface="Nexa Bold"/>
                        </a:defRPr>
                      </a:pPr>
                      <a:r>
                        <a:t>Sector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9.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426821">
                <a:tc rowSpan="2">
                  <a:txBody>
                    <a:bodyPr/>
                    <a:lstStyle/>
                    <a:p>
                      <a:pPr algn="l">
                        <a:defRPr sz="1000" b="0">
                          <a:latin typeface="Nexa Bold"/>
                        </a:defRPr>
                      </a:pPr>
                      <a:r>
                        <a:t>Champagn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7.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426821">
                <a:tc rowSpan="2">
                  <a:txBody>
                    <a:bodyPr/>
                    <a:lstStyle/>
                    <a:p>
                      <a:pPr algn="l">
                        <a:defRPr sz="1000" b="0">
                          <a:latin typeface="Nexa Bold"/>
                        </a:defRPr>
                      </a:pPr>
                      <a:r>
                        <a:t>Mousseux</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1.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2101013524"/>
                  </a:ext>
                </a:extLst>
              </a:tr>
              <a:tr h="426821">
                <a:tc rowSpan="2">
                  <a:txBody>
                    <a:bodyPr/>
                    <a:lstStyle/>
                    <a:p>
                      <a:pPr algn="l">
                        <a:defRPr sz="1000" b="0">
                          <a:latin typeface="Nexa Bold"/>
                        </a:defRPr>
                      </a:pPr>
                      <a:r>
                        <a:t>Effervescents Sans Alcoo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4.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653788713"/>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4</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 per Vol (NS/Vol) and Gross Margin (GM%) | channel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61" cy="3547872"/>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753473">
                  <a:extLst>
                    <a:ext uri="{9D8B030D-6E8A-4147-A177-3AD203B41FA5}">
                      <a16:colId xmlns:a16="http://schemas.microsoft.com/office/drawing/2014/main" val="2214050810"/>
                    </a:ext>
                  </a:extLst>
                </a:gridCol>
                <a:gridCol w="753473">
                  <a:extLst>
                    <a:ext uri="{9D8B030D-6E8A-4147-A177-3AD203B41FA5}">
                      <a16:colId xmlns:a16="http://schemas.microsoft.com/office/drawing/2014/main" val="704225536"/>
                    </a:ext>
                  </a:extLst>
                </a:gridCol>
                <a:gridCol w="753473">
                  <a:extLst>
                    <a:ext uri="{9D8B030D-6E8A-4147-A177-3AD203B41FA5}">
                      <a16:colId xmlns:a16="http://schemas.microsoft.com/office/drawing/2014/main" val="1285391802"/>
                    </a:ext>
                  </a:extLst>
                </a:gridCol>
                <a:gridCol w="753473">
                  <a:extLst>
                    <a:ext uri="{9D8B030D-6E8A-4147-A177-3AD203B41FA5}">
                      <a16:colId xmlns:a16="http://schemas.microsoft.com/office/drawing/2014/main" val="3180695831"/>
                    </a:ext>
                  </a:extLst>
                </a:gridCol>
                <a:gridCol w="753473">
                  <a:extLst>
                    <a:ext uri="{9D8B030D-6E8A-4147-A177-3AD203B41FA5}">
                      <a16:colId xmlns:a16="http://schemas.microsoft.com/office/drawing/2014/main" val="3841440830"/>
                    </a:ext>
                  </a:extLst>
                </a:gridCol>
                <a:gridCol w="753473">
                  <a:extLst>
                    <a:ext uri="{9D8B030D-6E8A-4147-A177-3AD203B41FA5}">
                      <a16:colId xmlns:a16="http://schemas.microsoft.com/office/drawing/2014/main" val="3330568015"/>
                    </a:ext>
                  </a:extLst>
                </a:gridCol>
                <a:gridCol w="753473">
                  <a:extLst>
                    <a:ext uri="{9D8B030D-6E8A-4147-A177-3AD203B41FA5}">
                      <a16:colId xmlns:a16="http://schemas.microsoft.com/office/drawing/2014/main" val="3707381308"/>
                    </a:ext>
                  </a:extLst>
                </a:gridCol>
                <a:gridCol w="753473">
                  <a:extLst>
                    <a:ext uri="{9D8B030D-6E8A-4147-A177-3AD203B41FA5}">
                      <a16:colId xmlns:a16="http://schemas.microsoft.com/office/drawing/2014/main" val="4072370141"/>
                    </a:ext>
                  </a:extLst>
                </a:gridCol>
                <a:gridCol w="753473">
                  <a:extLst>
                    <a:ext uri="{9D8B030D-6E8A-4147-A177-3AD203B41FA5}">
                      <a16:colId xmlns:a16="http://schemas.microsoft.com/office/drawing/2014/main" val="226346896"/>
                    </a:ext>
                  </a:extLst>
                </a:gridCol>
                <a:gridCol w="753473">
                  <a:extLst>
                    <a:ext uri="{9D8B030D-6E8A-4147-A177-3AD203B41FA5}">
                      <a16:colId xmlns:a16="http://schemas.microsoft.com/office/drawing/2014/main" val="4016487860"/>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NICOLAS CC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ICOLAS QC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ICOLAS VC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ICOLAS QC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NICOLAS QCA</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426821">
                <a:tc rowSpan="2">
                  <a:txBody>
                    <a:bodyPr/>
                    <a:lstStyle/>
                    <a:p>
                      <a:pPr algn="l">
                        <a:defRPr sz="1000" b="0">
                          <a:latin typeface="Nexa Bold"/>
                        </a:defRPr>
                      </a:pPr>
                      <a:r>
                        <a:t>Sector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1.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7.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6.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426821">
                <a:tc rowSpan="2">
                  <a:txBody>
                    <a:bodyPr/>
                    <a:lstStyle/>
                    <a:p>
                      <a:pPr algn="l">
                        <a:defRPr sz="1000" b="0">
                          <a:latin typeface="Nexa Bold"/>
                        </a:defRPr>
                      </a:pPr>
                      <a:r>
                        <a:t>Champagn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9.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6.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6.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426821">
                <a:tc rowSpan="2">
                  <a:txBody>
                    <a:bodyPr/>
                    <a:lstStyle/>
                    <a:p>
                      <a:pPr algn="l">
                        <a:defRPr sz="1000" b="0">
                          <a:latin typeface="Nexa Bold"/>
                        </a:defRPr>
                      </a:pPr>
                      <a:r>
                        <a:t>Mousseux</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1.0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1.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1.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1.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1.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2101013524"/>
                  </a:ext>
                </a:extLst>
              </a:tr>
              <a:tr h="426821">
                <a:tc rowSpan="2">
                  <a:txBody>
                    <a:bodyPr/>
                    <a:lstStyle/>
                    <a:p>
                      <a:pPr algn="l">
                        <a:defRPr sz="1000" b="0">
                          <a:latin typeface="Nexa Bold"/>
                        </a:defRPr>
                      </a:pPr>
                      <a:r>
                        <a:t>Effervescents Sans Alcoo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4.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4.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2.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4.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8.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031462326"/>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 per Vol (NS/Vol) and Gross Margin (GM%) | regio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49" cy="3547856"/>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3767359">
                  <a:extLst>
                    <a:ext uri="{9D8B030D-6E8A-4147-A177-3AD203B41FA5}">
                      <a16:colId xmlns:a16="http://schemas.microsoft.com/office/drawing/2014/main" val="2214050810"/>
                    </a:ext>
                  </a:extLst>
                </a:gridCol>
                <a:gridCol w="3767359">
                  <a:extLst>
                    <a:ext uri="{9D8B030D-6E8A-4147-A177-3AD203B41FA5}">
                      <a16:colId xmlns:a16="http://schemas.microsoft.com/office/drawing/2014/main" val="704225536"/>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NICOLA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142273">
                <a:tc rowSpan="2">
                  <a:txBody>
                    <a:bodyPr/>
                    <a:lstStyle/>
                    <a:p>
                      <a:pPr algn="l">
                        <a:defRPr sz="1000" b="0">
                          <a:latin typeface="Nexa Bold"/>
                        </a:defRPr>
                      </a:pPr>
                      <a:r>
                        <a:t>Segment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42273">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9.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42273">
                <a:tc rowSpan="2">
                  <a:txBody>
                    <a:bodyPr/>
                    <a:lstStyle/>
                    <a:p>
                      <a:pPr algn="l">
                        <a:defRPr sz="1000" b="0">
                          <a:latin typeface="Nexa Bold"/>
                        </a:defRPr>
                      </a:pPr>
                      <a:r>
                        <a:t>Bru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42273">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43.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21310849"/>
                  </a:ext>
                </a:extLst>
              </a:tr>
              <a:tr h="142273">
                <a:tc rowSpan="2">
                  <a:txBody>
                    <a:bodyPr/>
                    <a:lstStyle/>
                    <a:p>
                      <a:pPr algn="l">
                        <a:defRPr sz="1000" b="0">
                          <a:latin typeface="Nexa Bold"/>
                        </a:defRPr>
                      </a:pPr>
                      <a:r>
                        <a:t>Blanc De Blanc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42273">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80.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3582290"/>
                  </a:ext>
                </a:extLst>
              </a:tr>
              <a:tr h="142273">
                <a:tc rowSpan="2">
                  <a:txBody>
                    <a:bodyPr/>
                    <a:lstStyle/>
                    <a:p>
                      <a:pPr algn="l">
                        <a:defRPr sz="1000" b="0">
                          <a:latin typeface="Nexa Bold"/>
                        </a:defRPr>
                      </a:pPr>
                      <a:r>
                        <a:t>Rosé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42273">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61.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41263048"/>
                  </a:ext>
                </a:extLst>
              </a:tr>
              <a:tr h="142273">
                <a:tc rowSpan="2">
                  <a:txBody>
                    <a:bodyPr/>
                    <a:lstStyle/>
                    <a:p>
                      <a:pPr algn="l">
                        <a:defRPr sz="1000" b="0">
                          <a:latin typeface="Nexa Bold"/>
                        </a:defRPr>
                      </a:pPr>
                      <a:r>
                        <a:t>Cru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42273">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33.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42273">
                <a:tc rowSpan="2">
                  <a:txBody>
                    <a:bodyPr/>
                    <a:lstStyle/>
                    <a:p>
                      <a:pPr algn="l">
                        <a:defRPr sz="1000" b="0">
                          <a:latin typeface="Nexa Bold"/>
                        </a:defRPr>
                      </a:pPr>
                      <a:r>
                        <a:t>Millesim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07878423"/>
                  </a:ext>
                </a:extLst>
              </a:tr>
              <a:tr h="142273">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43.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08670860"/>
                  </a:ext>
                </a:extLst>
              </a:tr>
              <a:tr h="142273">
                <a:tc rowSpan="2">
                  <a:txBody>
                    <a:bodyPr/>
                    <a:lstStyle/>
                    <a:p>
                      <a:pPr algn="l">
                        <a:defRPr sz="1000" b="0">
                          <a:latin typeface="Nexa Bold"/>
                        </a:defRPr>
                      </a:pPr>
                      <a:r>
                        <a:t>Extra Bru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142273">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6.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36566305"/>
                  </a:ext>
                </a:extLst>
              </a:tr>
              <a:tr h="142273">
                <a:tc rowSpan="2">
                  <a:txBody>
                    <a:bodyPr/>
                    <a:lstStyle/>
                    <a:p>
                      <a:pPr algn="l">
                        <a:defRPr sz="1000" b="0">
                          <a:latin typeface="Nexa Bold"/>
                        </a:defRPr>
                      </a:pPr>
                      <a:r>
                        <a:t>Mousseux Italien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142273">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9.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381319100"/>
                  </a:ext>
                </a:extLst>
              </a:tr>
              <a:tr h="142273">
                <a:tc rowSpan="2">
                  <a:txBody>
                    <a:bodyPr/>
                    <a:lstStyle/>
                    <a:p>
                      <a:pPr algn="l">
                        <a:defRPr sz="1000" b="0">
                          <a:latin typeface="Nexa Bold"/>
                        </a:defRPr>
                      </a:pPr>
                      <a:r>
                        <a:t>Mousseux Val De Loir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142273">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2.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1802921023"/>
                  </a:ext>
                </a:extLst>
              </a:tr>
              <a:tr h="142273">
                <a:tc rowSpan="2">
                  <a:txBody>
                    <a:bodyPr/>
                    <a:lstStyle/>
                    <a:p>
                      <a:pPr algn="l">
                        <a:defRPr sz="1000" b="0">
                          <a:latin typeface="Nexa Bold"/>
                        </a:defRPr>
                      </a:pPr>
                      <a:r>
                        <a:t>Effervescents Sans Alcoo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142273">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4.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3530452889"/>
                  </a:ext>
                </a:extLst>
              </a:tr>
              <a:tr h="142273">
                <a:tc rowSpan="2">
                  <a:txBody>
                    <a:bodyPr/>
                    <a:lstStyle/>
                    <a:p>
                      <a:pPr algn="l">
                        <a:defRPr sz="1000" b="0">
                          <a:latin typeface="Nexa Bold"/>
                        </a:defRPr>
                      </a:pPr>
                      <a:r>
                        <a:t>Mousseux Bourgog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142273">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3.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2101013524"/>
                  </a:ext>
                </a:extLst>
              </a:tr>
              <a:tr h="142273">
                <a:tc rowSpan="2">
                  <a:txBody>
                    <a:bodyPr/>
                    <a:lstStyle/>
                    <a:p>
                      <a:pPr algn="l">
                        <a:defRPr sz="1000" b="0">
                          <a:latin typeface="Nexa Bold"/>
                        </a:defRPr>
                      </a:pPr>
                      <a:r>
                        <a:t>Mousseux Alsac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142273">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6.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874347746"/>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 per Vol (NS/Vol) and Gross Margin (GM%) | channel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61" cy="3547856"/>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753473">
                  <a:extLst>
                    <a:ext uri="{9D8B030D-6E8A-4147-A177-3AD203B41FA5}">
                      <a16:colId xmlns:a16="http://schemas.microsoft.com/office/drawing/2014/main" val="2214050810"/>
                    </a:ext>
                  </a:extLst>
                </a:gridCol>
                <a:gridCol w="753473">
                  <a:extLst>
                    <a:ext uri="{9D8B030D-6E8A-4147-A177-3AD203B41FA5}">
                      <a16:colId xmlns:a16="http://schemas.microsoft.com/office/drawing/2014/main" val="704225536"/>
                    </a:ext>
                  </a:extLst>
                </a:gridCol>
                <a:gridCol w="753473">
                  <a:extLst>
                    <a:ext uri="{9D8B030D-6E8A-4147-A177-3AD203B41FA5}">
                      <a16:colId xmlns:a16="http://schemas.microsoft.com/office/drawing/2014/main" val="1285391802"/>
                    </a:ext>
                  </a:extLst>
                </a:gridCol>
                <a:gridCol w="753473">
                  <a:extLst>
                    <a:ext uri="{9D8B030D-6E8A-4147-A177-3AD203B41FA5}">
                      <a16:colId xmlns:a16="http://schemas.microsoft.com/office/drawing/2014/main" val="3180695831"/>
                    </a:ext>
                  </a:extLst>
                </a:gridCol>
                <a:gridCol w="753473">
                  <a:extLst>
                    <a:ext uri="{9D8B030D-6E8A-4147-A177-3AD203B41FA5}">
                      <a16:colId xmlns:a16="http://schemas.microsoft.com/office/drawing/2014/main" val="3841440830"/>
                    </a:ext>
                  </a:extLst>
                </a:gridCol>
                <a:gridCol w="753473">
                  <a:extLst>
                    <a:ext uri="{9D8B030D-6E8A-4147-A177-3AD203B41FA5}">
                      <a16:colId xmlns:a16="http://schemas.microsoft.com/office/drawing/2014/main" val="3330568015"/>
                    </a:ext>
                  </a:extLst>
                </a:gridCol>
                <a:gridCol w="753473">
                  <a:extLst>
                    <a:ext uri="{9D8B030D-6E8A-4147-A177-3AD203B41FA5}">
                      <a16:colId xmlns:a16="http://schemas.microsoft.com/office/drawing/2014/main" val="3707381308"/>
                    </a:ext>
                  </a:extLst>
                </a:gridCol>
                <a:gridCol w="753473">
                  <a:extLst>
                    <a:ext uri="{9D8B030D-6E8A-4147-A177-3AD203B41FA5}">
                      <a16:colId xmlns:a16="http://schemas.microsoft.com/office/drawing/2014/main" val="4072370141"/>
                    </a:ext>
                  </a:extLst>
                </a:gridCol>
                <a:gridCol w="753473">
                  <a:extLst>
                    <a:ext uri="{9D8B030D-6E8A-4147-A177-3AD203B41FA5}">
                      <a16:colId xmlns:a16="http://schemas.microsoft.com/office/drawing/2014/main" val="226346896"/>
                    </a:ext>
                  </a:extLst>
                </a:gridCol>
                <a:gridCol w="753473">
                  <a:extLst>
                    <a:ext uri="{9D8B030D-6E8A-4147-A177-3AD203B41FA5}">
                      <a16:colId xmlns:a16="http://schemas.microsoft.com/office/drawing/2014/main" val="4016487860"/>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NICOLAS CC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ICOLAS QC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ICOLAS VC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ICOLAS QC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NICOLAS QCA</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42273">
                <a:tc rowSpan="2">
                  <a:txBody>
                    <a:bodyPr/>
                    <a:lstStyle/>
                    <a:p>
                      <a:pPr algn="l">
                        <a:defRPr sz="1000" b="0">
                          <a:latin typeface="Nexa Bold"/>
                        </a:defRPr>
                      </a:pPr>
                      <a:r>
                        <a:t>Segment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42273">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41.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7.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6.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42273">
                <a:tc rowSpan="2">
                  <a:txBody>
                    <a:bodyPr/>
                    <a:lstStyle/>
                    <a:p>
                      <a:pPr algn="l">
                        <a:defRPr sz="1000" b="0">
                          <a:latin typeface="Nexa Bold"/>
                        </a:defRPr>
                      </a:pPr>
                      <a:r>
                        <a:t>Bru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42273">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45.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3.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6.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21310849"/>
                  </a:ext>
                </a:extLst>
              </a:tr>
              <a:tr h="142273">
                <a:tc rowSpan="2">
                  <a:txBody>
                    <a:bodyPr/>
                    <a:lstStyle/>
                    <a:p>
                      <a:pPr algn="l">
                        <a:defRPr sz="1000" b="0">
                          <a:latin typeface="Nexa Bold"/>
                        </a:defRPr>
                      </a:pPr>
                      <a:r>
                        <a:t>Blanc De Blanc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42273">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87.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6.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4.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6.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1.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3582290"/>
                  </a:ext>
                </a:extLst>
              </a:tr>
              <a:tr h="142273">
                <a:tc rowSpan="2">
                  <a:txBody>
                    <a:bodyPr/>
                    <a:lstStyle/>
                    <a:p>
                      <a:pPr algn="l">
                        <a:defRPr sz="1000" b="0">
                          <a:latin typeface="Nexa Bold"/>
                        </a:defRPr>
                      </a:pPr>
                      <a:r>
                        <a:t>Rosé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42273">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61.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2.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6.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1.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5.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41263048"/>
                  </a:ext>
                </a:extLst>
              </a:tr>
              <a:tr h="142273">
                <a:tc rowSpan="2">
                  <a:txBody>
                    <a:bodyPr/>
                    <a:lstStyle/>
                    <a:p>
                      <a:pPr algn="l">
                        <a:defRPr sz="1000" b="0">
                          <a:latin typeface="Nexa Bold"/>
                        </a:defRPr>
                      </a:pPr>
                      <a:r>
                        <a:t>Millesim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42273">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144.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57.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71.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42273">
                <a:tc rowSpan="2">
                  <a:txBody>
                    <a:bodyPr/>
                    <a:lstStyle/>
                    <a:p>
                      <a:pPr algn="l">
                        <a:defRPr sz="1000" b="0">
                          <a:latin typeface="Nexa Bold"/>
                        </a:defRPr>
                      </a:pPr>
                      <a:r>
                        <a:t>Extra Bru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07878423"/>
                  </a:ext>
                </a:extLst>
              </a:tr>
              <a:tr h="142273">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6.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3.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6.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7.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08670860"/>
                  </a:ext>
                </a:extLst>
              </a:tr>
              <a:tr h="142273">
                <a:tc rowSpan="2">
                  <a:txBody>
                    <a:bodyPr/>
                    <a:lstStyle/>
                    <a:p>
                      <a:pPr algn="l">
                        <a:defRPr sz="1000" b="0">
                          <a:latin typeface="Nexa Bold"/>
                        </a:defRPr>
                      </a:pPr>
                      <a:r>
                        <a:t>Cru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142273">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7.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6.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2.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36566305"/>
                  </a:ext>
                </a:extLst>
              </a:tr>
              <a:tr h="142273">
                <a:tc rowSpan="2">
                  <a:txBody>
                    <a:bodyPr/>
                    <a:lstStyle/>
                    <a:p>
                      <a:pPr algn="l">
                        <a:defRPr sz="1000" b="0">
                          <a:latin typeface="Nexa Bold"/>
                        </a:defRPr>
                      </a:pPr>
                      <a:r>
                        <a:t>Mousseux Italien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142273">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9.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9.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9.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9.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9.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381319100"/>
                  </a:ext>
                </a:extLst>
              </a:tr>
              <a:tr h="142273">
                <a:tc rowSpan="2">
                  <a:txBody>
                    <a:bodyPr/>
                    <a:lstStyle/>
                    <a:p>
                      <a:pPr algn="l">
                        <a:defRPr sz="1000" b="0">
                          <a:latin typeface="Nexa Bold"/>
                        </a:defRPr>
                      </a:pPr>
                      <a:r>
                        <a:t>Mousseux Val De Loir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142273">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2.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8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2.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8.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1802921023"/>
                  </a:ext>
                </a:extLst>
              </a:tr>
              <a:tr h="142273">
                <a:tc rowSpan="2">
                  <a:txBody>
                    <a:bodyPr/>
                    <a:lstStyle/>
                    <a:p>
                      <a:pPr algn="l">
                        <a:defRPr sz="1000" b="0">
                          <a:latin typeface="Nexa Bold"/>
                        </a:defRPr>
                      </a:pPr>
                      <a:r>
                        <a:t>Mousseux Autr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142273">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1.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5.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4.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2.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3530452889"/>
                  </a:ext>
                </a:extLst>
              </a:tr>
              <a:tr h="142273">
                <a:tc rowSpan="2">
                  <a:txBody>
                    <a:bodyPr/>
                    <a:lstStyle/>
                    <a:p>
                      <a:pPr algn="l">
                        <a:defRPr sz="1000" b="0">
                          <a:latin typeface="Nexa Bold"/>
                        </a:defRPr>
                      </a:pPr>
                      <a:r>
                        <a:t>Mousseux Alsac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142273">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4.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2.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3.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54.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142273">
                <a:tc rowSpan="2">
                  <a:txBody>
                    <a:bodyPr/>
                    <a:lstStyle/>
                    <a:p>
                      <a:pPr algn="l">
                        <a:defRPr sz="1000" b="0">
                          <a:latin typeface="Nexa Bold"/>
                        </a:defRPr>
                      </a:pPr>
                      <a:r>
                        <a:t>Effervescents Sans Alcoo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142273">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4.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3.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9.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6.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836234302"/>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 per Vol (NS/Vol) and Gross Margin (GM%) | channel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61" cy="3547872"/>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753473">
                  <a:extLst>
                    <a:ext uri="{9D8B030D-6E8A-4147-A177-3AD203B41FA5}">
                      <a16:colId xmlns:a16="http://schemas.microsoft.com/office/drawing/2014/main" val="2214050810"/>
                    </a:ext>
                  </a:extLst>
                </a:gridCol>
                <a:gridCol w="753473">
                  <a:extLst>
                    <a:ext uri="{9D8B030D-6E8A-4147-A177-3AD203B41FA5}">
                      <a16:colId xmlns:a16="http://schemas.microsoft.com/office/drawing/2014/main" val="704225536"/>
                    </a:ext>
                  </a:extLst>
                </a:gridCol>
                <a:gridCol w="753473">
                  <a:extLst>
                    <a:ext uri="{9D8B030D-6E8A-4147-A177-3AD203B41FA5}">
                      <a16:colId xmlns:a16="http://schemas.microsoft.com/office/drawing/2014/main" val="1285391802"/>
                    </a:ext>
                  </a:extLst>
                </a:gridCol>
                <a:gridCol w="753473">
                  <a:extLst>
                    <a:ext uri="{9D8B030D-6E8A-4147-A177-3AD203B41FA5}">
                      <a16:colId xmlns:a16="http://schemas.microsoft.com/office/drawing/2014/main" val="3180695831"/>
                    </a:ext>
                  </a:extLst>
                </a:gridCol>
                <a:gridCol w="753473">
                  <a:extLst>
                    <a:ext uri="{9D8B030D-6E8A-4147-A177-3AD203B41FA5}">
                      <a16:colId xmlns:a16="http://schemas.microsoft.com/office/drawing/2014/main" val="3841440830"/>
                    </a:ext>
                  </a:extLst>
                </a:gridCol>
                <a:gridCol w="753473">
                  <a:extLst>
                    <a:ext uri="{9D8B030D-6E8A-4147-A177-3AD203B41FA5}">
                      <a16:colId xmlns:a16="http://schemas.microsoft.com/office/drawing/2014/main" val="3330568015"/>
                    </a:ext>
                  </a:extLst>
                </a:gridCol>
                <a:gridCol w="753473">
                  <a:extLst>
                    <a:ext uri="{9D8B030D-6E8A-4147-A177-3AD203B41FA5}">
                      <a16:colId xmlns:a16="http://schemas.microsoft.com/office/drawing/2014/main" val="3707381308"/>
                    </a:ext>
                  </a:extLst>
                </a:gridCol>
                <a:gridCol w="753473">
                  <a:extLst>
                    <a:ext uri="{9D8B030D-6E8A-4147-A177-3AD203B41FA5}">
                      <a16:colId xmlns:a16="http://schemas.microsoft.com/office/drawing/2014/main" val="4072370141"/>
                    </a:ext>
                  </a:extLst>
                </a:gridCol>
                <a:gridCol w="753473">
                  <a:extLst>
                    <a:ext uri="{9D8B030D-6E8A-4147-A177-3AD203B41FA5}">
                      <a16:colId xmlns:a16="http://schemas.microsoft.com/office/drawing/2014/main" val="226346896"/>
                    </a:ext>
                  </a:extLst>
                </a:gridCol>
                <a:gridCol w="753473">
                  <a:extLst>
                    <a:ext uri="{9D8B030D-6E8A-4147-A177-3AD203B41FA5}">
                      <a16:colId xmlns:a16="http://schemas.microsoft.com/office/drawing/2014/main" val="4016487860"/>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NICOLAS PAC</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ICOLAS IDF</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ICOLAS RHO</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ICOLAS ES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NICOLAS AQU</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426821">
                <a:tc rowSpan="2">
                  <a:txBody>
                    <a:bodyPr/>
                    <a:lstStyle/>
                    <a:p>
                      <a:pPr algn="l">
                        <a:defRPr sz="1000" b="0">
                          <a:latin typeface="Nexa Bold"/>
                        </a:defRPr>
                      </a:pPr>
                      <a:r>
                        <a:t>Sector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6.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426821">
                <a:tc rowSpan="2">
                  <a:txBody>
                    <a:bodyPr/>
                    <a:lstStyle/>
                    <a:p>
                      <a:pPr algn="l">
                        <a:defRPr sz="1000" b="0">
                          <a:latin typeface="Nexa Bold"/>
                        </a:defRPr>
                      </a:pPr>
                      <a:r>
                        <a:t>Champagn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9.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7.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426821">
                <a:tc rowSpan="2">
                  <a:txBody>
                    <a:bodyPr/>
                    <a:lstStyle/>
                    <a:p>
                      <a:pPr algn="l">
                        <a:defRPr sz="1000" b="0">
                          <a:latin typeface="Nexa Bold"/>
                        </a:defRPr>
                      </a:pPr>
                      <a:r>
                        <a:t>Mousseux</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0.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1.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0.9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2.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2101013524"/>
                  </a:ext>
                </a:extLst>
              </a:tr>
              <a:tr h="426821">
                <a:tc rowSpan="2">
                  <a:txBody>
                    <a:bodyPr/>
                    <a:lstStyle/>
                    <a:p>
                      <a:pPr algn="l">
                        <a:defRPr sz="1000" b="0">
                          <a:latin typeface="Nexa Bold"/>
                        </a:defRPr>
                      </a:pPr>
                      <a:r>
                        <a:t>Effervescents Sans Alcoo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4.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4.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3.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2.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1.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410964676"/>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 per Vol (NS/Vol) and Gross Margin (GM%) | channel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61" cy="3547856"/>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753473">
                  <a:extLst>
                    <a:ext uri="{9D8B030D-6E8A-4147-A177-3AD203B41FA5}">
                      <a16:colId xmlns:a16="http://schemas.microsoft.com/office/drawing/2014/main" val="2214050810"/>
                    </a:ext>
                  </a:extLst>
                </a:gridCol>
                <a:gridCol w="753473">
                  <a:extLst>
                    <a:ext uri="{9D8B030D-6E8A-4147-A177-3AD203B41FA5}">
                      <a16:colId xmlns:a16="http://schemas.microsoft.com/office/drawing/2014/main" val="704225536"/>
                    </a:ext>
                  </a:extLst>
                </a:gridCol>
                <a:gridCol w="753473">
                  <a:extLst>
                    <a:ext uri="{9D8B030D-6E8A-4147-A177-3AD203B41FA5}">
                      <a16:colId xmlns:a16="http://schemas.microsoft.com/office/drawing/2014/main" val="1285391802"/>
                    </a:ext>
                  </a:extLst>
                </a:gridCol>
                <a:gridCol w="753473">
                  <a:extLst>
                    <a:ext uri="{9D8B030D-6E8A-4147-A177-3AD203B41FA5}">
                      <a16:colId xmlns:a16="http://schemas.microsoft.com/office/drawing/2014/main" val="3180695831"/>
                    </a:ext>
                  </a:extLst>
                </a:gridCol>
                <a:gridCol w="753473">
                  <a:extLst>
                    <a:ext uri="{9D8B030D-6E8A-4147-A177-3AD203B41FA5}">
                      <a16:colId xmlns:a16="http://schemas.microsoft.com/office/drawing/2014/main" val="3841440830"/>
                    </a:ext>
                  </a:extLst>
                </a:gridCol>
                <a:gridCol w="753473">
                  <a:extLst>
                    <a:ext uri="{9D8B030D-6E8A-4147-A177-3AD203B41FA5}">
                      <a16:colId xmlns:a16="http://schemas.microsoft.com/office/drawing/2014/main" val="3330568015"/>
                    </a:ext>
                  </a:extLst>
                </a:gridCol>
                <a:gridCol w="753473">
                  <a:extLst>
                    <a:ext uri="{9D8B030D-6E8A-4147-A177-3AD203B41FA5}">
                      <a16:colId xmlns:a16="http://schemas.microsoft.com/office/drawing/2014/main" val="3707381308"/>
                    </a:ext>
                  </a:extLst>
                </a:gridCol>
                <a:gridCol w="753473">
                  <a:extLst>
                    <a:ext uri="{9D8B030D-6E8A-4147-A177-3AD203B41FA5}">
                      <a16:colId xmlns:a16="http://schemas.microsoft.com/office/drawing/2014/main" val="4072370141"/>
                    </a:ext>
                  </a:extLst>
                </a:gridCol>
                <a:gridCol w="753473">
                  <a:extLst>
                    <a:ext uri="{9D8B030D-6E8A-4147-A177-3AD203B41FA5}">
                      <a16:colId xmlns:a16="http://schemas.microsoft.com/office/drawing/2014/main" val="226346896"/>
                    </a:ext>
                  </a:extLst>
                </a:gridCol>
                <a:gridCol w="753473">
                  <a:extLst>
                    <a:ext uri="{9D8B030D-6E8A-4147-A177-3AD203B41FA5}">
                      <a16:colId xmlns:a16="http://schemas.microsoft.com/office/drawing/2014/main" val="4016487860"/>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NICOLAS PAC</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ICOLAS IDF</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ICOLAS RHO</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ICOLAS ES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NICOLAS AQU</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42273">
                <a:tc rowSpan="2">
                  <a:txBody>
                    <a:bodyPr/>
                    <a:lstStyle/>
                    <a:p>
                      <a:pPr algn="l">
                        <a:defRPr sz="1000" b="0">
                          <a:latin typeface="Nexa Bold"/>
                        </a:defRPr>
                      </a:pPr>
                      <a:r>
                        <a:t>Segment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42273">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42.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6.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42273">
                <a:tc rowSpan="2">
                  <a:txBody>
                    <a:bodyPr/>
                    <a:lstStyle/>
                    <a:p>
                      <a:pPr algn="l">
                        <a:defRPr sz="1000" b="0">
                          <a:latin typeface="Nexa Bold"/>
                        </a:defRPr>
                      </a:pPr>
                      <a:r>
                        <a:t>Bru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42273">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43.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3.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9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21310849"/>
                  </a:ext>
                </a:extLst>
              </a:tr>
              <a:tr h="142273">
                <a:tc rowSpan="2">
                  <a:txBody>
                    <a:bodyPr/>
                    <a:lstStyle/>
                    <a:p>
                      <a:pPr algn="l">
                        <a:defRPr sz="1000" b="0">
                          <a:latin typeface="Nexa Bold"/>
                        </a:defRPr>
                      </a:pPr>
                      <a:r>
                        <a:t>Blanc De Blanc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42273">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88.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1.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0.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4.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3582290"/>
                  </a:ext>
                </a:extLst>
              </a:tr>
              <a:tr h="142273">
                <a:tc rowSpan="2">
                  <a:txBody>
                    <a:bodyPr/>
                    <a:lstStyle/>
                    <a:p>
                      <a:pPr algn="l">
                        <a:defRPr sz="1000" b="0">
                          <a:latin typeface="Nexa Bold"/>
                        </a:defRPr>
                      </a:pPr>
                      <a:r>
                        <a:t>Rosé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42273">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62.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3.0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9.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5.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41263048"/>
                  </a:ext>
                </a:extLst>
              </a:tr>
              <a:tr h="142273">
                <a:tc rowSpan="2">
                  <a:txBody>
                    <a:bodyPr/>
                    <a:lstStyle/>
                    <a:p>
                      <a:pPr algn="l">
                        <a:defRPr sz="1000" b="0">
                          <a:latin typeface="Nexa Bold"/>
                        </a:defRPr>
                      </a:pPr>
                      <a:r>
                        <a:t>Millesim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42273">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178.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46.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42273">
                <a:tc rowSpan="2">
                  <a:txBody>
                    <a:bodyPr/>
                    <a:lstStyle/>
                    <a:p>
                      <a:pPr algn="l">
                        <a:defRPr sz="1000" b="0">
                          <a:latin typeface="Nexa Bold"/>
                        </a:defRPr>
                      </a:pPr>
                      <a:r>
                        <a:t>Mousseux Italien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07878423"/>
                  </a:ext>
                </a:extLst>
              </a:tr>
              <a:tr h="142273">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9.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6.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7.0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44.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08670860"/>
                  </a:ext>
                </a:extLst>
              </a:tr>
              <a:tr h="142273">
                <a:tc rowSpan="2">
                  <a:txBody>
                    <a:bodyPr/>
                    <a:lstStyle/>
                    <a:p>
                      <a:pPr algn="l">
                        <a:defRPr sz="1000" b="0">
                          <a:latin typeface="Nexa Bold"/>
                        </a:defRPr>
                      </a:pPr>
                      <a:r>
                        <a:t>Cru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142273">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45.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3.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3236566305"/>
                  </a:ext>
                </a:extLst>
              </a:tr>
              <a:tr h="142273">
                <a:tc rowSpan="2">
                  <a:txBody>
                    <a:bodyPr/>
                    <a:lstStyle/>
                    <a:p>
                      <a:pPr algn="l">
                        <a:defRPr sz="1000" b="0">
                          <a:latin typeface="Nexa Bold"/>
                        </a:defRPr>
                      </a:pPr>
                      <a:r>
                        <a:t>Extra Bru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142273">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7.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6.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6.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6.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142273">
                <a:tc rowSpan="2">
                  <a:txBody>
                    <a:bodyPr/>
                    <a:lstStyle/>
                    <a:p>
                      <a:pPr algn="l">
                        <a:defRPr sz="1000" b="0">
                          <a:latin typeface="Nexa Bold"/>
                        </a:defRPr>
                      </a:pPr>
                      <a:r>
                        <a:t>Effervescents Sans Alcoo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142273">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4.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2.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2.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1.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142273">
                <a:tc rowSpan="2">
                  <a:txBody>
                    <a:bodyPr/>
                    <a:lstStyle/>
                    <a:p>
                      <a:pPr algn="l">
                        <a:defRPr sz="1000" b="0">
                          <a:latin typeface="Nexa Bold"/>
                        </a:defRPr>
                      </a:pPr>
                      <a:r>
                        <a:t>Mousseux Val De Loir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142273">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2.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4.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3.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8.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1.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3530452889"/>
                  </a:ext>
                </a:extLst>
              </a:tr>
              <a:tr h="142273">
                <a:tc rowSpan="2">
                  <a:txBody>
                    <a:bodyPr/>
                    <a:lstStyle/>
                    <a:p>
                      <a:pPr algn="l">
                        <a:defRPr sz="1000" b="0">
                          <a:latin typeface="Nexa Bold"/>
                        </a:defRPr>
                      </a:pPr>
                      <a:r>
                        <a:t>Mousseux Bourgog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142273">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3.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3.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3.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2.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8.9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2101013524"/>
                  </a:ext>
                </a:extLst>
              </a:tr>
              <a:tr h="142273">
                <a:tc rowSpan="2">
                  <a:txBody>
                    <a:bodyPr/>
                    <a:lstStyle/>
                    <a:p>
                      <a:pPr algn="l">
                        <a:defRPr sz="1000" b="0">
                          <a:latin typeface="Nexa Bold"/>
                        </a:defRPr>
                      </a:pPr>
                      <a:r>
                        <a:t>Mousseux Autr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142273">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2.0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44.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846554185"/>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 per Vol (NS/Vol) and Gross Margin (GM%) | channel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61" cy="3547872"/>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753473">
                  <a:extLst>
                    <a:ext uri="{9D8B030D-6E8A-4147-A177-3AD203B41FA5}">
                      <a16:colId xmlns:a16="http://schemas.microsoft.com/office/drawing/2014/main" val="2214050810"/>
                    </a:ext>
                  </a:extLst>
                </a:gridCol>
                <a:gridCol w="753473">
                  <a:extLst>
                    <a:ext uri="{9D8B030D-6E8A-4147-A177-3AD203B41FA5}">
                      <a16:colId xmlns:a16="http://schemas.microsoft.com/office/drawing/2014/main" val="704225536"/>
                    </a:ext>
                  </a:extLst>
                </a:gridCol>
                <a:gridCol w="753473">
                  <a:extLst>
                    <a:ext uri="{9D8B030D-6E8A-4147-A177-3AD203B41FA5}">
                      <a16:colId xmlns:a16="http://schemas.microsoft.com/office/drawing/2014/main" val="1285391802"/>
                    </a:ext>
                  </a:extLst>
                </a:gridCol>
                <a:gridCol w="753473">
                  <a:extLst>
                    <a:ext uri="{9D8B030D-6E8A-4147-A177-3AD203B41FA5}">
                      <a16:colId xmlns:a16="http://schemas.microsoft.com/office/drawing/2014/main" val="3180695831"/>
                    </a:ext>
                  </a:extLst>
                </a:gridCol>
                <a:gridCol w="753473">
                  <a:extLst>
                    <a:ext uri="{9D8B030D-6E8A-4147-A177-3AD203B41FA5}">
                      <a16:colId xmlns:a16="http://schemas.microsoft.com/office/drawing/2014/main" val="3841440830"/>
                    </a:ext>
                  </a:extLst>
                </a:gridCol>
                <a:gridCol w="753473">
                  <a:extLst>
                    <a:ext uri="{9D8B030D-6E8A-4147-A177-3AD203B41FA5}">
                      <a16:colId xmlns:a16="http://schemas.microsoft.com/office/drawing/2014/main" val="3330568015"/>
                    </a:ext>
                  </a:extLst>
                </a:gridCol>
                <a:gridCol w="753473">
                  <a:extLst>
                    <a:ext uri="{9D8B030D-6E8A-4147-A177-3AD203B41FA5}">
                      <a16:colId xmlns:a16="http://schemas.microsoft.com/office/drawing/2014/main" val="3707381308"/>
                    </a:ext>
                  </a:extLst>
                </a:gridCol>
                <a:gridCol w="753473">
                  <a:extLst>
                    <a:ext uri="{9D8B030D-6E8A-4147-A177-3AD203B41FA5}">
                      <a16:colId xmlns:a16="http://schemas.microsoft.com/office/drawing/2014/main" val="4072370141"/>
                    </a:ext>
                  </a:extLst>
                </a:gridCol>
                <a:gridCol w="753473">
                  <a:extLst>
                    <a:ext uri="{9D8B030D-6E8A-4147-A177-3AD203B41FA5}">
                      <a16:colId xmlns:a16="http://schemas.microsoft.com/office/drawing/2014/main" val="226346896"/>
                    </a:ext>
                  </a:extLst>
                </a:gridCol>
                <a:gridCol w="753473">
                  <a:extLst>
                    <a:ext uri="{9D8B030D-6E8A-4147-A177-3AD203B41FA5}">
                      <a16:colId xmlns:a16="http://schemas.microsoft.com/office/drawing/2014/main" val="4016487860"/>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CA B</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A A</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A D</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A 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CA C</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426821">
                <a:tc rowSpan="2">
                  <a:txBody>
                    <a:bodyPr/>
                    <a:lstStyle/>
                    <a:p>
                      <a:pPr algn="l">
                        <a:defRPr sz="1000" b="0">
                          <a:latin typeface="Nexa Bold"/>
                        </a:defRPr>
                      </a:pPr>
                      <a:r>
                        <a:t>Sector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7.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426821">
                <a:tc rowSpan="2">
                  <a:txBody>
                    <a:bodyPr/>
                    <a:lstStyle/>
                    <a:p>
                      <a:pPr algn="l">
                        <a:defRPr sz="1000" b="0">
                          <a:latin typeface="Nexa Bold"/>
                        </a:defRPr>
                      </a:pPr>
                      <a:r>
                        <a:t>Champagn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6.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0.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6.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5.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6.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426821">
                <a:tc rowSpan="2">
                  <a:txBody>
                    <a:bodyPr/>
                    <a:lstStyle/>
                    <a:p>
                      <a:pPr algn="l">
                        <a:defRPr sz="1000" b="0">
                          <a:latin typeface="Nexa Bold"/>
                        </a:defRPr>
                      </a:pPr>
                      <a:r>
                        <a:t>Mousseux</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1.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1.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1.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1.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1.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2101013524"/>
                  </a:ext>
                </a:extLst>
              </a:tr>
              <a:tr h="426821">
                <a:tc rowSpan="2">
                  <a:txBody>
                    <a:bodyPr/>
                    <a:lstStyle/>
                    <a:p>
                      <a:pPr algn="l">
                        <a:defRPr sz="1000" b="0">
                          <a:latin typeface="Nexa Bold"/>
                        </a:defRPr>
                      </a:pPr>
                      <a:r>
                        <a:t>Effervescents Sans Alcoo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4.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5.8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3.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1.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4.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03066299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66070" y="1387069"/>
            <a:ext cx="2361569" cy="172237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9444"/>
            <a:ext cx="2389082" cy="125226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66070" y="3109444"/>
            <a:ext cx="2361569" cy="125226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89082" cy="172237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30332176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gion | Malard Nicolas | Cru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944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2772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364948131"/>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0</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 per Vol (NS/Vol) and Gross Margin (GM%) | channel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61" cy="3547856"/>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753473">
                  <a:extLst>
                    <a:ext uri="{9D8B030D-6E8A-4147-A177-3AD203B41FA5}">
                      <a16:colId xmlns:a16="http://schemas.microsoft.com/office/drawing/2014/main" val="2214050810"/>
                    </a:ext>
                  </a:extLst>
                </a:gridCol>
                <a:gridCol w="753473">
                  <a:extLst>
                    <a:ext uri="{9D8B030D-6E8A-4147-A177-3AD203B41FA5}">
                      <a16:colId xmlns:a16="http://schemas.microsoft.com/office/drawing/2014/main" val="704225536"/>
                    </a:ext>
                  </a:extLst>
                </a:gridCol>
                <a:gridCol w="753473">
                  <a:extLst>
                    <a:ext uri="{9D8B030D-6E8A-4147-A177-3AD203B41FA5}">
                      <a16:colId xmlns:a16="http://schemas.microsoft.com/office/drawing/2014/main" val="1285391802"/>
                    </a:ext>
                  </a:extLst>
                </a:gridCol>
                <a:gridCol w="753473">
                  <a:extLst>
                    <a:ext uri="{9D8B030D-6E8A-4147-A177-3AD203B41FA5}">
                      <a16:colId xmlns:a16="http://schemas.microsoft.com/office/drawing/2014/main" val="3180695831"/>
                    </a:ext>
                  </a:extLst>
                </a:gridCol>
                <a:gridCol w="753473">
                  <a:extLst>
                    <a:ext uri="{9D8B030D-6E8A-4147-A177-3AD203B41FA5}">
                      <a16:colId xmlns:a16="http://schemas.microsoft.com/office/drawing/2014/main" val="3841440830"/>
                    </a:ext>
                  </a:extLst>
                </a:gridCol>
                <a:gridCol w="753473">
                  <a:extLst>
                    <a:ext uri="{9D8B030D-6E8A-4147-A177-3AD203B41FA5}">
                      <a16:colId xmlns:a16="http://schemas.microsoft.com/office/drawing/2014/main" val="3330568015"/>
                    </a:ext>
                  </a:extLst>
                </a:gridCol>
                <a:gridCol w="753473">
                  <a:extLst>
                    <a:ext uri="{9D8B030D-6E8A-4147-A177-3AD203B41FA5}">
                      <a16:colId xmlns:a16="http://schemas.microsoft.com/office/drawing/2014/main" val="3707381308"/>
                    </a:ext>
                  </a:extLst>
                </a:gridCol>
                <a:gridCol w="753473">
                  <a:extLst>
                    <a:ext uri="{9D8B030D-6E8A-4147-A177-3AD203B41FA5}">
                      <a16:colId xmlns:a16="http://schemas.microsoft.com/office/drawing/2014/main" val="4072370141"/>
                    </a:ext>
                  </a:extLst>
                </a:gridCol>
                <a:gridCol w="753473">
                  <a:extLst>
                    <a:ext uri="{9D8B030D-6E8A-4147-A177-3AD203B41FA5}">
                      <a16:colId xmlns:a16="http://schemas.microsoft.com/office/drawing/2014/main" val="226346896"/>
                    </a:ext>
                  </a:extLst>
                </a:gridCol>
                <a:gridCol w="753473">
                  <a:extLst>
                    <a:ext uri="{9D8B030D-6E8A-4147-A177-3AD203B41FA5}">
                      <a16:colId xmlns:a16="http://schemas.microsoft.com/office/drawing/2014/main" val="4016487860"/>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CA B</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A A</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A D</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A 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CA C</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42273">
                <a:tc rowSpan="2">
                  <a:txBody>
                    <a:bodyPr/>
                    <a:lstStyle/>
                    <a:p>
                      <a:pPr algn="l">
                        <a:defRPr sz="1000" b="0">
                          <a:latin typeface="Nexa Bold"/>
                        </a:defRPr>
                      </a:pPr>
                      <a:r>
                        <a:t>Segment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42273">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7.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42273">
                <a:tc rowSpan="2">
                  <a:txBody>
                    <a:bodyPr/>
                    <a:lstStyle/>
                    <a:p>
                      <a:pPr algn="l">
                        <a:defRPr sz="1000" b="0">
                          <a:latin typeface="Nexa Bold"/>
                        </a:defRPr>
                      </a:pPr>
                      <a:r>
                        <a:t>Bru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42273">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43.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3.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3.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21310849"/>
                  </a:ext>
                </a:extLst>
              </a:tr>
              <a:tr h="142273">
                <a:tc rowSpan="2">
                  <a:txBody>
                    <a:bodyPr/>
                    <a:lstStyle/>
                    <a:p>
                      <a:pPr algn="l">
                        <a:defRPr sz="1000" b="0">
                          <a:latin typeface="Nexa Bold"/>
                        </a:defRPr>
                      </a:pPr>
                      <a:r>
                        <a:t>Blanc De Blanc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42273">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9.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5.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9.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5.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8.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3582290"/>
                  </a:ext>
                </a:extLst>
              </a:tr>
              <a:tr h="142273">
                <a:tc rowSpan="2">
                  <a:txBody>
                    <a:bodyPr/>
                    <a:lstStyle/>
                    <a:p>
                      <a:pPr algn="l">
                        <a:defRPr sz="1000" b="0">
                          <a:latin typeface="Nexa Bold"/>
                        </a:defRPr>
                      </a:pPr>
                      <a:r>
                        <a:t>Rosé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42273">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7.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0.8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7.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6.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8.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41263048"/>
                  </a:ext>
                </a:extLst>
              </a:tr>
              <a:tr h="142273">
                <a:tc rowSpan="2">
                  <a:txBody>
                    <a:bodyPr/>
                    <a:lstStyle/>
                    <a:p>
                      <a:pPr algn="l">
                        <a:defRPr sz="1000" b="0">
                          <a:latin typeface="Nexa Bold"/>
                        </a:defRPr>
                      </a:pPr>
                      <a:r>
                        <a:t>Cru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42273">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33.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68.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42273">
                <a:tc rowSpan="2">
                  <a:txBody>
                    <a:bodyPr/>
                    <a:lstStyle/>
                    <a:p>
                      <a:pPr algn="l">
                        <a:defRPr sz="1000" b="0">
                          <a:latin typeface="Nexa Bold"/>
                        </a:defRPr>
                      </a:pPr>
                      <a:r>
                        <a:t>Extra Bru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07878423"/>
                  </a:ext>
                </a:extLst>
              </a:tr>
              <a:tr h="142273">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7.0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6.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6.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6.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08670860"/>
                  </a:ext>
                </a:extLst>
              </a:tr>
              <a:tr h="142273">
                <a:tc rowSpan="2">
                  <a:txBody>
                    <a:bodyPr/>
                    <a:lstStyle/>
                    <a:p>
                      <a:pPr algn="l">
                        <a:defRPr sz="1000" b="0">
                          <a:latin typeface="Nexa Bold"/>
                        </a:defRPr>
                      </a:pPr>
                      <a:r>
                        <a:t>Millesim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142273">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36.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7.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4.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1.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45.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36566305"/>
                  </a:ext>
                </a:extLst>
              </a:tr>
              <a:tr h="142273">
                <a:tc rowSpan="2">
                  <a:txBody>
                    <a:bodyPr/>
                    <a:lstStyle/>
                    <a:p>
                      <a:pPr algn="l">
                        <a:defRPr sz="1000" b="0">
                          <a:latin typeface="Nexa Bold"/>
                        </a:defRPr>
                      </a:pPr>
                      <a:r>
                        <a:t>Mousseux Italien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142273">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9.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9.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9.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9.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9.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381319100"/>
                  </a:ext>
                </a:extLst>
              </a:tr>
              <a:tr h="142273">
                <a:tc rowSpan="2">
                  <a:txBody>
                    <a:bodyPr/>
                    <a:lstStyle/>
                    <a:p>
                      <a:pPr algn="l">
                        <a:defRPr sz="1000" b="0">
                          <a:latin typeface="Nexa Bold"/>
                        </a:defRPr>
                      </a:pPr>
                      <a:r>
                        <a:t>Mousseux Val De Loir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142273">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2.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2.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2.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1802921023"/>
                  </a:ext>
                </a:extLst>
              </a:tr>
              <a:tr h="142273">
                <a:tc rowSpan="2">
                  <a:txBody>
                    <a:bodyPr/>
                    <a:lstStyle/>
                    <a:p>
                      <a:pPr algn="l">
                        <a:defRPr sz="1000" b="0">
                          <a:latin typeface="Nexa Bold"/>
                        </a:defRPr>
                      </a:pPr>
                      <a:r>
                        <a:t>Effervescents Sans Alcoo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142273">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4.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5.8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3.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5.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3530452889"/>
                  </a:ext>
                </a:extLst>
              </a:tr>
              <a:tr h="142273">
                <a:tc rowSpan="2">
                  <a:txBody>
                    <a:bodyPr/>
                    <a:lstStyle/>
                    <a:p>
                      <a:pPr algn="l">
                        <a:defRPr sz="1000" b="0">
                          <a:latin typeface="Nexa Bold"/>
                        </a:defRPr>
                      </a:pPr>
                      <a:r>
                        <a:t>Mousseux Alsac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142273">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5.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5.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1.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3.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2101013524"/>
                  </a:ext>
                </a:extLst>
              </a:tr>
              <a:tr h="142273">
                <a:tc rowSpan="2">
                  <a:txBody>
                    <a:bodyPr/>
                    <a:lstStyle/>
                    <a:p>
                      <a:pPr algn="l">
                        <a:defRPr sz="1000" b="0">
                          <a:latin typeface="Nexa Bold"/>
                        </a:defRPr>
                      </a:pPr>
                      <a:r>
                        <a:t>Mousseux Bourgog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142273">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3.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41.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0.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0.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071903308"/>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1</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9.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7.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6.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6.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17.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8.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2.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2.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82.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2.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9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9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245803574"/>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2</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QC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7.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6.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4.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4.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5.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35.0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0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6.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8.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82.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2.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502433336"/>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3</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VC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8.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6.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2.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6.9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6.9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5.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19.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9.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7.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2.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2.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3.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3.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Demoisel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0.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148640022"/>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4</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QC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41.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9.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7.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7.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4.9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4.9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53.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9.0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3.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9.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84.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4.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Taitt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4.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4.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Boll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68.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8.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164092075"/>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QCA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46.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8.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81.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1.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2.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2.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25.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5.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00.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0.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0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0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1.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0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Dom Perign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04.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04.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Veuve Clicquo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62.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2.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Moët &amp; Chand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Boll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68.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8.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935635185"/>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CC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41.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0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9.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9.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0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5.0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4.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4.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13.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8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6.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2.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2.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Taitt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74.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4.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620165098"/>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IDF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40.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7.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6.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6.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5.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51.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8.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3.0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9.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86.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6.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Taitt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8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8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208769399"/>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PAC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42.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9.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8.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8.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4.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4.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54.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4.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5.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9.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83.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3.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Dom Perign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82.0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82.0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Taitt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3.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05920006"/>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RHO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8.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9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6.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6.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5.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14.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7.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0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0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2.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2.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Taitt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73.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3.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99795812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017685" y="1387069"/>
            <a:ext cx="2309954" cy="173163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18703"/>
            <a:ext cx="2440697" cy="124300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017685" y="3118703"/>
            <a:ext cx="2309954" cy="124300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440697" cy="173163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60280534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gion | Malard Nicolas | Extra Bru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1870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7934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700353231"/>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0</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AQU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6.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1.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4.9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4.9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4.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4.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0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0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15.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9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9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2.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2.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71.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1.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Besserat De Bellef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6.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6.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81418709"/>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1</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E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4.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2.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0.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9.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4.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4.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4.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4.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55.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5.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Mur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0.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0.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2.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2.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Boll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69.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9.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7.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7.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3.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3.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74.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4.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314780023"/>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2</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CA A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42.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0.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8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9.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9.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5.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4.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4.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53.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9.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1.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95.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5.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Dom Perign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17.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17.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Taitt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3.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71246906"/>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3</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CA B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6.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4.9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4.9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4.9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4.9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51.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6.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0.0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75.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5.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Taitt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15205278"/>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4</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CA C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8.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6.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6.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6.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5.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17.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8.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79.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9.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938155456"/>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CA D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6.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6.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6.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5.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2.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2.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16.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7.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0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0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Besserat De Bellef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4.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124442664"/>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CA E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7.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5.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1.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5.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5.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5.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15.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4.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Taitt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914691338"/>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30"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10315">
                  <a:extLst>
                    <a:ext uri="{9D8B030D-6E8A-4147-A177-3AD203B41FA5}">
                      <a16:colId xmlns:a16="http://schemas.microsoft.com/office/drawing/2014/main" val="2214050810"/>
                    </a:ext>
                  </a:extLst>
                </a:gridCol>
                <a:gridCol w="310315">
                  <a:extLst>
                    <a:ext uri="{9D8B030D-6E8A-4147-A177-3AD203B41FA5}">
                      <a16:colId xmlns:a16="http://schemas.microsoft.com/office/drawing/2014/main" val="704225536"/>
                    </a:ext>
                  </a:extLst>
                </a:gridCol>
                <a:gridCol w="310315">
                  <a:extLst>
                    <a:ext uri="{9D8B030D-6E8A-4147-A177-3AD203B41FA5}">
                      <a16:colId xmlns:a16="http://schemas.microsoft.com/office/drawing/2014/main" val="1285391802"/>
                    </a:ext>
                  </a:extLst>
                </a:gridCol>
                <a:gridCol w="310315">
                  <a:extLst>
                    <a:ext uri="{9D8B030D-6E8A-4147-A177-3AD203B41FA5}">
                      <a16:colId xmlns:a16="http://schemas.microsoft.com/office/drawing/2014/main" val="3180695831"/>
                    </a:ext>
                  </a:extLst>
                </a:gridCol>
                <a:gridCol w="310315">
                  <a:extLst>
                    <a:ext uri="{9D8B030D-6E8A-4147-A177-3AD203B41FA5}">
                      <a16:colId xmlns:a16="http://schemas.microsoft.com/office/drawing/2014/main" val="3841440830"/>
                    </a:ext>
                  </a:extLst>
                </a:gridCol>
                <a:gridCol w="310315">
                  <a:extLst>
                    <a:ext uri="{9D8B030D-6E8A-4147-A177-3AD203B41FA5}">
                      <a16:colId xmlns:a16="http://schemas.microsoft.com/office/drawing/2014/main" val="3330568015"/>
                    </a:ext>
                  </a:extLst>
                </a:gridCol>
                <a:gridCol w="310315">
                  <a:extLst>
                    <a:ext uri="{9D8B030D-6E8A-4147-A177-3AD203B41FA5}">
                      <a16:colId xmlns:a16="http://schemas.microsoft.com/office/drawing/2014/main" val="3707381308"/>
                    </a:ext>
                  </a:extLst>
                </a:gridCol>
                <a:gridCol w="310315">
                  <a:extLst>
                    <a:ext uri="{9D8B030D-6E8A-4147-A177-3AD203B41FA5}">
                      <a16:colId xmlns:a16="http://schemas.microsoft.com/office/drawing/2014/main" val="4072370141"/>
                    </a:ext>
                  </a:extLst>
                </a:gridCol>
                <a:gridCol w="310315">
                  <a:extLst>
                    <a:ext uri="{9D8B030D-6E8A-4147-A177-3AD203B41FA5}">
                      <a16:colId xmlns:a16="http://schemas.microsoft.com/office/drawing/2014/main" val="226346896"/>
                    </a:ext>
                  </a:extLst>
                </a:gridCol>
                <a:gridCol w="310315">
                  <a:extLst>
                    <a:ext uri="{9D8B030D-6E8A-4147-A177-3AD203B41FA5}">
                      <a16:colId xmlns:a16="http://schemas.microsoft.com/office/drawing/2014/main" val="4016487860"/>
                    </a:ext>
                  </a:extLst>
                </a:gridCol>
                <a:gridCol w="310315">
                  <a:extLst>
                    <a:ext uri="{9D8B030D-6E8A-4147-A177-3AD203B41FA5}">
                      <a16:colId xmlns:a16="http://schemas.microsoft.com/office/drawing/2014/main" val="4124924102"/>
                    </a:ext>
                  </a:extLst>
                </a:gridCol>
                <a:gridCol w="310315">
                  <a:extLst>
                    <a:ext uri="{9D8B030D-6E8A-4147-A177-3AD203B41FA5}">
                      <a16:colId xmlns:a16="http://schemas.microsoft.com/office/drawing/2014/main" val="1915546132"/>
                    </a:ext>
                  </a:extLst>
                </a:gridCol>
                <a:gridCol w="310315">
                  <a:extLst>
                    <a:ext uri="{9D8B030D-6E8A-4147-A177-3AD203B41FA5}">
                      <a16:colId xmlns:a16="http://schemas.microsoft.com/office/drawing/2014/main" val="3594374671"/>
                    </a:ext>
                  </a:extLst>
                </a:gridCol>
                <a:gridCol w="310315">
                  <a:extLst>
                    <a:ext uri="{9D8B030D-6E8A-4147-A177-3AD203B41FA5}">
                      <a16:colId xmlns:a16="http://schemas.microsoft.com/office/drawing/2014/main" val="3323983483"/>
                    </a:ext>
                  </a:extLst>
                </a:gridCol>
                <a:gridCol w="310315">
                  <a:extLst>
                    <a:ext uri="{9D8B030D-6E8A-4147-A177-3AD203B41FA5}">
                      <a16:colId xmlns:a16="http://schemas.microsoft.com/office/drawing/2014/main" val="2451926601"/>
                    </a:ext>
                  </a:extLst>
                </a:gridCol>
                <a:gridCol w="310315">
                  <a:extLst>
                    <a:ext uri="{9D8B030D-6E8A-4147-A177-3AD203B41FA5}">
                      <a16:colId xmlns:a16="http://schemas.microsoft.com/office/drawing/2014/main" val="3458952246"/>
                    </a:ext>
                  </a:extLst>
                </a:gridCol>
                <a:gridCol w="310315">
                  <a:extLst>
                    <a:ext uri="{9D8B030D-6E8A-4147-A177-3AD203B41FA5}">
                      <a16:colId xmlns:a16="http://schemas.microsoft.com/office/drawing/2014/main" val="581245399"/>
                    </a:ext>
                  </a:extLst>
                </a:gridCol>
                <a:gridCol w="310315">
                  <a:extLst>
                    <a:ext uri="{9D8B030D-6E8A-4147-A177-3AD203B41FA5}">
                      <a16:colId xmlns:a16="http://schemas.microsoft.com/office/drawing/2014/main" val="14805617"/>
                    </a:ext>
                  </a:extLst>
                </a:gridCol>
                <a:gridCol w="310315">
                  <a:extLst>
                    <a:ext uri="{9D8B030D-6E8A-4147-A177-3AD203B41FA5}">
                      <a16:colId xmlns:a16="http://schemas.microsoft.com/office/drawing/2014/main" val="310787637"/>
                    </a:ext>
                  </a:extLst>
                </a:gridCol>
                <a:gridCol w="310315">
                  <a:extLst>
                    <a:ext uri="{9D8B030D-6E8A-4147-A177-3AD203B41FA5}">
                      <a16:colId xmlns:a16="http://schemas.microsoft.com/office/drawing/2014/main" val="2152951754"/>
                    </a:ext>
                  </a:extLst>
                </a:gridCol>
                <a:gridCol w="310315">
                  <a:extLst>
                    <a:ext uri="{9D8B030D-6E8A-4147-A177-3AD203B41FA5}">
                      <a16:colId xmlns:a16="http://schemas.microsoft.com/office/drawing/2014/main" val="776322808"/>
                    </a:ext>
                  </a:extLst>
                </a:gridCol>
                <a:gridCol w="310315">
                  <a:extLst>
                    <a:ext uri="{9D8B030D-6E8A-4147-A177-3AD203B41FA5}">
                      <a16:colId xmlns:a16="http://schemas.microsoft.com/office/drawing/2014/main" val="1484566445"/>
                    </a:ext>
                  </a:extLst>
                </a:gridCol>
                <a:gridCol w="310315">
                  <a:extLst>
                    <a:ext uri="{9D8B030D-6E8A-4147-A177-3AD203B41FA5}">
                      <a16:colId xmlns:a16="http://schemas.microsoft.com/office/drawing/2014/main" val="511557403"/>
                    </a:ext>
                  </a:extLst>
                </a:gridCol>
                <a:gridCol w="310315">
                  <a:extLst>
                    <a:ext uri="{9D8B030D-6E8A-4147-A177-3AD203B41FA5}">
                      <a16:colId xmlns:a16="http://schemas.microsoft.com/office/drawing/2014/main" val="110607013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Blanc De Blanc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Bru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ru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Extra Bru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Millesim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osé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urgogn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Italien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Val De Loir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Alsac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rdelai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9.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0.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3.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6.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43.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1.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6.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6.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8.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3.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96.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0.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1.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0.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83.0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29.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4.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17.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41.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8.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5.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4.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2.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7.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7.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6.0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9.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9.0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1.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0.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7.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4.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50.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82.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3.9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65.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39.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0.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2.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3.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0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8.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9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5.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4.8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9.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5.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423987624"/>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QC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30"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10315">
                  <a:extLst>
                    <a:ext uri="{9D8B030D-6E8A-4147-A177-3AD203B41FA5}">
                      <a16:colId xmlns:a16="http://schemas.microsoft.com/office/drawing/2014/main" val="2214050810"/>
                    </a:ext>
                  </a:extLst>
                </a:gridCol>
                <a:gridCol w="310315">
                  <a:extLst>
                    <a:ext uri="{9D8B030D-6E8A-4147-A177-3AD203B41FA5}">
                      <a16:colId xmlns:a16="http://schemas.microsoft.com/office/drawing/2014/main" val="704225536"/>
                    </a:ext>
                  </a:extLst>
                </a:gridCol>
                <a:gridCol w="310315">
                  <a:extLst>
                    <a:ext uri="{9D8B030D-6E8A-4147-A177-3AD203B41FA5}">
                      <a16:colId xmlns:a16="http://schemas.microsoft.com/office/drawing/2014/main" val="1285391802"/>
                    </a:ext>
                  </a:extLst>
                </a:gridCol>
                <a:gridCol w="310315">
                  <a:extLst>
                    <a:ext uri="{9D8B030D-6E8A-4147-A177-3AD203B41FA5}">
                      <a16:colId xmlns:a16="http://schemas.microsoft.com/office/drawing/2014/main" val="3180695831"/>
                    </a:ext>
                  </a:extLst>
                </a:gridCol>
                <a:gridCol w="310315">
                  <a:extLst>
                    <a:ext uri="{9D8B030D-6E8A-4147-A177-3AD203B41FA5}">
                      <a16:colId xmlns:a16="http://schemas.microsoft.com/office/drawing/2014/main" val="3841440830"/>
                    </a:ext>
                  </a:extLst>
                </a:gridCol>
                <a:gridCol w="310315">
                  <a:extLst>
                    <a:ext uri="{9D8B030D-6E8A-4147-A177-3AD203B41FA5}">
                      <a16:colId xmlns:a16="http://schemas.microsoft.com/office/drawing/2014/main" val="3330568015"/>
                    </a:ext>
                  </a:extLst>
                </a:gridCol>
                <a:gridCol w="310315">
                  <a:extLst>
                    <a:ext uri="{9D8B030D-6E8A-4147-A177-3AD203B41FA5}">
                      <a16:colId xmlns:a16="http://schemas.microsoft.com/office/drawing/2014/main" val="3707381308"/>
                    </a:ext>
                  </a:extLst>
                </a:gridCol>
                <a:gridCol w="310315">
                  <a:extLst>
                    <a:ext uri="{9D8B030D-6E8A-4147-A177-3AD203B41FA5}">
                      <a16:colId xmlns:a16="http://schemas.microsoft.com/office/drawing/2014/main" val="4072370141"/>
                    </a:ext>
                  </a:extLst>
                </a:gridCol>
                <a:gridCol w="310315">
                  <a:extLst>
                    <a:ext uri="{9D8B030D-6E8A-4147-A177-3AD203B41FA5}">
                      <a16:colId xmlns:a16="http://schemas.microsoft.com/office/drawing/2014/main" val="226346896"/>
                    </a:ext>
                  </a:extLst>
                </a:gridCol>
                <a:gridCol w="310315">
                  <a:extLst>
                    <a:ext uri="{9D8B030D-6E8A-4147-A177-3AD203B41FA5}">
                      <a16:colId xmlns:a16="http://schemas.microsoft.com/office/drawing/2014/main" val="4016487860"/>
                    </a:ext>
                  </a:extLst>
                </a:gridCol>
                <a:gridCol w="310315">
                  <a:extLst>
                    <a:ext uri="{9D8B030D-6E8A-4147-A177-3AD203B41FA5}">
                      <a16:colId xmlns:a16="http://schemas.microsoft.com/office/drawing/2014/main" val="4124924102"/>
                    </a:ext>
                  </a:extLst>
                </a:gridCol>
                <a:gridCol w="310315">
                  <a:extLst>
                    <a:ext uri="{9D8B030D-6E8A-4147-A177-3AD203B41FA5}">
                      <a16:colId xmlns:a16="http://schemas.microsoft.com/office/drawing/2014/main" val="1915546132"/>
                    </a:ext>
                  </a:extLst>
                </a:gridCol>
                <a:gridCol w="310315">
                  <a:extLst>
                    <a:ext uri="{9D8B030D-6E8A-4147-A177-3AD203B41FA5}">
                      <a16:colId xmlns:a16="http://schemas.microsoft.com/office/drawing/2014/main" val="3594374671"/>
                    </a:ext>
                  </a:extLst>
                </a:gridCol>
                <a:gridCol w="310315">
                  <a:extLst>
                    <a:ext uri="{9D8B030D-6E8A-4147-A177-3AD203B41FA5}">
                      <a16:colId xmlns:a16="http://schemas.microsoft.com/office/drawing/2014/main" val="3323983483"/>
                    </a:ext>
                  </a:extLst>
                </a:gridCol>
                <a:gridCol w="310315">
                  <a:extLst>
                    <a:ext uri="{9D8B030D-6E8A-4147-A177-3AD203B41FA5}">
                      <a16:colId xmlns:a16="http://schemas.microsoft.com/office/drawing/2014/main" val="2451926601"/>
                    </a:ext>
                  </a:extLst>
                </a:gridCol>
                <a:gridCol w="310315">
                  <a:extLst>
                    <a:ext uri="{9D8B030D-6E8A-4147-A177-3AD203B41FA5}">
                      <a16:colId xmlns:a16="http://schemas.microsoft.com/office/drawing/2014/main" val="3458952246"/>
                    </a:ext>
                  </a:extLst>
                </a:gridCol>
                <a:gridCol w="310315">
                  <a:extLst>
                    <a:ext uri="{9D8B030D-6E8A-4147-A177-3AD203B41FA5}">
                      <a16:colId xmlns:a16="http://schemas.microsoft.com/office/drawing/2014/main" val="581245399"/>
                    </a:ext>
                  </a:extLst>
                </a:gridCol>
                <a:gridCol w="310315">
                  <a:extLst>
                    <a:ext uri="{9D8B030D-6E8A-4147-A177-3AD203B41FA5}">
                      <a16:colId xmlns:a16="http://schemas.microsoft.com/office/drawing/2014/main" val="14805617"/>
                    </a:ext>
                  </a:extLst>
                </a:gridCol>
                <a:gridCol w="310315">
                  <a:extLst>
                    <a:ext uri="{9D8B030D-6E8A-4147-A177-3AD203B41FA5}">
                      <a16:colId xmlns:a16="http://schemas.microsoft.com/office/drawing/2014/main" val="310787637"/>
                    </a:ext>
                  </a:extLst>
                </a:gridCol>
                <a:gridCol w="310315">
                  <a:extLst>
                    <a:ext uri="{9D8B030D-6E8A-4147-A177-3AD203B41FA5}">
                      <a16:colId xmlns:a16="http://schemas.microsoft.com/office/drawing/2014/main" val="2152951754"/>
                    </a:ext>
                  </a:extLst>
                </a:gridCol>
                <a:gridCol w="310315">
                  <a:extLst>
                    <a:ext uri="{9D8B030D-6E8A-4147-A177-3AD203B41FA5}">
                      <a16:colId xmlns:a16="http://schemas.microsoft.com/office/drawing/2014/main" val="776322808"/>
                    </a:ext>
                  </a:extLst>
                </a:gridCol>
                <a:gridCol w="310315">
                  <a:extLst>
                    <a:ext uri="{9D8B030D-6E8A-4147-A177-3AD203B41FA5}">
                      <a16:colId xmlns:a16="http://schemas.microsoft.com/office/drawing/2014/main" val="1484566445"/>
                    </a:ext>
                  </a:extLst>
                </a:gridCol>
                <a:gridCol w="310315">
                  <a:extLst>
                    <a:ext uri="{9D8B030D-6E8A-4147-A177-3AD203B41FA5}">
                      <a16:colId xmlns:a16="http://schemas.microsoft.com/office/drawing/2014/main" val="511557403"/>
                    </a:ext>
                  </a:extLst>
                </a:gridCol>
                <a:gridCol w="310315">
                  <a:extLst>
                    <a:ext uri="{9D8B030D-6E8A-4147-A177-3AD203B41FA5}">
                      <a16:colId xmlns:a16="http://schemas.microsoft.com/office/drawing/2014/main" val="110607013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Blanc De Blanc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Bru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ru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Extra Bru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Millesim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osé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urgogn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Italien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Val De Loir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Alsac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rdelai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7.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6.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3.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6.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2.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1.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6.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4.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8.9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3.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00.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0.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1.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4.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1.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92.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57.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4.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35.0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9.0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0.9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6.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0.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8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14.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7.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2.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7.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8.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9.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8.0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4.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0.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2.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82.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4.0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62.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86.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4.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0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572965436"/>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VC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30"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10315">
                  <a:extLst>
                    <a:ext uri="{9D8B030D-6E8A-4147-A177-3AD203B41FA5}">
                      <a16:colId xmlns:a16="http://schemas.microsoft.com/office/drawing/2014/main" val="2214050810"/>
                    </a:ext>
                  </a:extLst>
                </a:gridCol>
                <a:gridCol w="310315">
                  <a:extLst>
                    <a:ext uri="{9D8B030D-6E8A-4147-A177-3AD203B41FA5}">
                      <a16:colId xmlns:a16="http://schemas.microsoft.com/office/drawing/2014/main" val="704225536"/>
                    </a:ext>
                  </a:extLst>
                </a:gridCol>
                <a:gridCol w="310315">
                  <a:extLst>
                    <a:ext uri="{9D8B030D-6E8A-4147-A177-3AD203B41FA5}">
                      <a16:colId xmlns:a16="http://schemas.microsoft.com/office/drawing/2014/main" val="1285391802"/>
                    </a:ext>
                  </a:extLst>
                </a:gridCol>
                <a:gridCol w="310315">
                  <a:extLst>
                    <a:ext uri="{9D8B030D-6E8A-4147-A177-3AD203B41FA5}">
                      <a16:colId xmlns:a16="http://schemas.microsoft.com/office/drawing/2014/main" val="3180695831"/>
                    </a:ext>
                  </a:extLst>
                </a:gridCol>
                <a:gridCol w="310315">
                  <a:extLst>
                    <a:ext uri="{9D8B030D-6E8A-4147-A177-3AD203B41FA5}">
                      <a16:colId xmlns:a16="http://schemas.microsoft.com/office/drawing/2014/main" val="3841440830"/>
                    </a:ext>
                  </a:extLst>
                </a:gridCol>
                <a:gridCol w="310315">
                  <a:extLst>
                    <a:ext uri="{9D8B030D-6E8A-4147-A177-3AD203B41FA5}">
                      <a16:colId xmlns:a16="http://schemas.microsoft.com/office/drawing/2014/main" val="3330568015"/>
                    </a:ext>
                  </a:extLst>
                </a:gridCol>
                <a:gridCol w="310315">
                  <a:extLst>
                    <a:ext uri="{9D8B030D-6E8A-4147-A177-3AD203B41FA5}">
                      <a16:colId xmlns:a16="http://schemas.microsoft.com/office/drawing/2014/main" val="3707381308"/>
                    </a:ext>
                  </a:extLst>
                </a:gridCol>
                <a:gridCol w="310315">
                  <a:extLst>
                    <a:ext uri="{9D8B030D-6E8A-4147-A177-3AD203B41FA5}">
                      <a16:colId xmlns:a16="http://schemas.microsoft.com/office/drawing/2014/main" val="4072370141"/>
                    </a:ext>
                  </a:extLst>
                </a:gridCol>
                <a:gridCol w="310315">
                  <a:extLst>
                    <a:ext uri="{9D8B030D-6E8A-4147-A177-3AD203B41FA5}">
                      <a16:colId xmlns:a16="http://schemas.microsoft.com/office/drawing/2014/main" val="226346896"/>
                    </a:ext>
                  </a:extLst>
                </a:gridCol>
                <a:gridCol w="310315">
                  <a:extLst>
                    <a:ext uri="{9D8B030D-6E8A-4147-A177-3AD203B41FA5}">
                      <a16:colId xmlns:a16="http://schemas.microsoft.com/office/drawing/2014/main" val="4016487860"/>
                    </a:ext>
                  </a:extLst>
                </a:gridCol>
                <a:gridCol w="310315">
                  <a:extLst>
                    <a:ext uri="{9D8B030D-6E8A-4147-A177-3AD203B41FA5}">
                      <a16:colId xmlns:a16="http://schemas.microsoft.com/office/drawing/2014/main" val="4124924102"/>
                    </a:ext>
                  </a:extLst>
                </a:gridCol>
                <a:gridCol w="310315">
                  <a:extLst>
                    <a:ext uri="{9D8B030D-6E8A-4147-A177-3AD203B41FA5}">
                      <a16:colId xmlns:a16="http://schemas.microsoft.com/office/drawing/2014/main" val="1915546132"/>
                    </a:ext>
                  </a:extLst>
                </a:gridCol>
                <a:gridCol w="310315">
                  <a:extLst>
                    <a:ext uri="{9D8B030D-6E8A-4147-A177-3AD203B41FA5}">
                      <a16:colId xmlns:a16="http://schemas.microsoft.com/office/drawing/2014/main" val="3594374671"/>
                    </a:ext>
                  </a:extLst>
                </a:gridCol>
                <a:gridCol w="310315">
                  <a:extLst>
                    <a:ext uri="{9D8B030D-6E8A-4147-A177-3AD203B41FA5}">
                      <a16:colId xmlns:a16="http://schemas.microsoft.com/office/drawing/2014/main" val="3323983483"/>
                    </a:ext>
                  </a:extLst>
                </a:gridCol>
                <a:gridCol w="310315">
                  <a:extLst>
                    <a:ext uri="{9D8B030D-6E8A-4147-A177-3AD203B41FA5}">
                      <a16:colId xmlns:a16="http://schemas.microsoft.com/office/drawing/2014/main" val="2451926601"/>
                    </a:ext>
                  </a:extLst>
                </a:gridCol>
                <a:gridCol w="310315">
                  <a:extLst>
                    <a:ext uri="{9D8B030D-6E8A-4147-A177-3AD203B41FA5}">
                      <a16:colId xmlns:a16="http://schemas.microsoft.com/office/drawing/2014/main" val="3458952246"/>
                    </a:ext>
                  </a:extLst>
                </a:gridCol>
                <a:gridCol w="310315">
                  <a:extLst>
                    <a:ext uri="{9D8B030D-6E8A-4147-A177-3AD203B41FA5}">
                      <a16:colId xmlns:a16="http://schemas.microsoft.com/office/drawing/2014/main" val="581245399"/>
                    </a:ext>
                  </a:extLst>
                </a:gridCol>
                <a:gridCol w="310315">
                  <a:extLst>
                    <a:ext uri="{9D8B030D-6E8A-4147-A177-3AD203B41FA5}">
                      <a16:colId xmlns:a16="http://schemas.microsoft.com/office/drawing/2014/main" val="14805617"/>
                    </a:ext>
                  </a:extLst>
                </a:gridCol>
                <a:gridCol w="310315">
                  <a:extLst>
                    <a:ext uri="{9D8B030D-6E8A-4147-A177-3AD203B41FA5}">
                      <a16:colId xmlns:a16="http://schemas.microsoft.com/office/drawing/2014/main" val="310787637"/>
                    </a:ext>
                  </a:extLst>
                </a:gridCol>
                <a:gridCol w="310315">
                  <a:extLst>
                    <a:ext uri="{9D8B030D-6E8A-4147-A177-3AD203B41FA5}">
                      <a16:colId xmlns:a16="http://schemas.microsoft.com/office/drawing/2014/main" val="2152951754"/>
                    </a:ext>
                  </a:extLst>
                </a:gridCol>
                <a:gridCol w="310315">
                  <a:extLst>
                    <a:ext uri="{9D8B030D-6E8A-4147-A177-3AD203B41FA5}">
                      <a16:colId xmlns:a16="http://schemas.microsoft.com/office/drawing/2014/main" val="776322808"/>
                    </a:ext>
                  </a:extLst>
                </a:gridCol>
                <a:gridCol w="310315">
                  <a:extLst>
                    <a:ext uri="{9D8B030D-6E8A-4147-A177-3AD203B41FA5}">
                      <a16:colId xmlns:a16="http://schemas.microsoft.com/office/drawing/2014/main" val="1484566445"/>
                    </a:ext>
                  </a:extLst>
                </a:gridCol>
                <a:gridCol w="310315">
                  <a:extLst>
                    <a:ext uri="{9D8B030D-6E8A-4147-A177-3AD203B41FA5}">
                      <a16:colId xmlns:a16="http://schemas.microsoft.com/office/drawing/2014/main" val="511557403"/>
                    </a:ext>
                  </a:extLst>
                </a:gridCol>
                <a:gridCol w="310315">
                  <a:extLst>
                    <a:ext uri="{9D8B030D-6E8A-4147-A177-3AD203B41FA5}">
                      <a16:colId xmlns:a16="http://schemas.microsoft.com/office/drawing/2014/main" val="110607013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Blanc De Blanc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Bru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ru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Extra Bru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Millesim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osé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urgogn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Italien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Val De Loir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Alsac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rdelai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8.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4.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6.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3.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6.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8.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8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6.9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3.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98.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9.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1.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4.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0.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81.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02.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4.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19.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9.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4.0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92.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79.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5.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7.9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4.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9.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1.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1.0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2.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0.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7.9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6.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0.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6.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4.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0.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0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1.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5.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0.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3.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2.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Demoisel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0.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0.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1.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297323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119964" y="1387069"/>
            <a:ext cx="2207675" cy="171850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5578"/>
            <a:ext cx="2542976" cy="125613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119964" y="3105578"/>
            <a:ext cx="2207675" cy="125613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542976" cy="171850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62574298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gion | Malard Nicolas | Brut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557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681621"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949621013"/>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0</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QC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30"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10315">
                  <a:extLst>
                    <a:ext uri="{9D8B030D-6E8A-4147-A177-3AD203B41FA5}">
                      <a16:colId xmlns:a16="http://schemas.microsoft.com/office/drawing/2014/main" val="2214050810"/>
                    </a:ext>
                  </a:extLst>
                </a:gridCol>
                <a:gridCol w="310315">
                  <a:extLst>
                    <a:ext uri="{9D8B030D-6E8A-4147-A177-3AD203B41FA5}">
                      <a16:colId xmlns:a16="http://schemas.microsoft.com/office/drawing/2014/main" val="704225536"/>
                    </a:ext>
                  </a:extLst>
                </a:gridCol>
                <a:gridCol w="310315">
                  <a:extLst>
                    <a:ext uri="{9D8B030D-6E8A-4147-A177-3AD203B41FA5}">
                      <a16:colId xmlns:a16="http://schemas.microsoft.com/office/drawing/2014/main" val="1285391802"/>
                    </a:ext>
                  </a:extLst>
                </a:gridCol>
                <a:gridCol w="310315">
                  <a:extLst>
                    <a:ext uri="{9D8B030D-6E8A-4147-A177-3AD203B41FA5}">
                      <a16:colId xmlns:a16="http://schemas.microsoft.com/office/drawing/2014/main" val="3180695831"/>
                    </a:ext>
                  </a:extLst>
                </a:gridCol>
                <a:gridCol w="310315">
                  <a:extLst>
                    <a:ext uri="{9D8B030D-6E8A-4147-A177-3AD203B41FA5}">
                      <a16:colId xmlns:a16="http://schemas.microsoft.com/office/drawing/2014/main" val="3841440830"/>
                    </a:ext>
                  </a:extLst>
                </a:gridCol>
                <a:gridCol w="310315">
                  <a:extLst>
                    <a:ext uri="{9D8B030D-6E8A-4147-A177-3AD203B41FA5}">
                      <a16:colId xmlns:a16="http://schemas.microsoft.com/office/drawing/2014/main" val="3330568015"/>
                    </a:ext>
                  </a:extLst>
                </a:gridCol>
                <a:gridCol w="310315">
                  <a:extLst>
                    <a:ext uri="{9D8B030D-6E8A-4147-A177-3AD203B41FA5}">
                      <a16:colId xmlns:a16="http://schemas.microsoft.com/office/drawing/2014/main" val="3707381308"/>
                    </a:ext>
                  </a:extLst>
                </a:gridCol>
                <a:gridCol w="310315">
                  <a:extLst>
                    <a:ext uri="{9D8B030D-6E8A-4147-A177-3AD203B41FA5}">
                      <a16:colId xmlns:a16="http://schemas.microsoft.com/office/drawing/2014/main" val="4072370141"/>
                    </a:ext>
                  </a:extLst>
                </a:gridCol>
                <a:gridCol w="310315">
                  <a:extLst>
                    <a:ext uri="{9D8B030D-6E8A-4147-A177-3AD203B41FA5}">
                      <a16:colId xmlns:a16="http://schemas.microsoft.com/office/drawing/2014/main" val="226346896"/>
                    </a:ext>
                  </a:extLst>
                </a:gridCol>
                <a:gridCol w="310315">
                  <a:extLst>
                    <a:ext uri="{9D8B030D-6E8A-4147-A177-3AD203B41FA5}">
                      <a16:colId xmlns:a16="http://schemas.microsoft.com/office/drawing/2014/main" val="4016487860"/>
                    </a:ext>
                  </a:extLst>
                </a:gridCol>
                <a:gridCol w="310315">
                  <a:extLst>
                    <a:ext uri="{9D8B030D-6E8A-4147-A177-3AD203B41FA5}">
                      <a16:colId xmlns:a16="http://schemas.microsoft.com/office/drawing/2014/main" val="4124924102"/>
                    </a:ext>
                  </a:extLst>
                </a:gridCol>
                <a:gridCol w="310315">
                  <a:extLst>
                    <a:ext uri="{9D8B030D-6E8A-4147-A177-3AD203B41FA5}">
                      <a16:colId xmlns:a16="http://schemas.microsoft.com/office/drawing/2014/main" val="1915546132"/>
                    </a:ext>
                  </a:extLst>
                </a:gridCol>
                <a:gridCol w="310315">
                  <a:extLst>
                    <a:ext uri="{9D8B030D-6E8A-4147-A177-3AD203B41FA5}">
                      <a16:colId xmlns:a16="http://schemas.microsoft.com/office/drawing/2014/main" val="3594374671"/>
                    </a:ext>
                  </a:extLst>
                </a:gridCol>
                <a:gridCol w="310315">
                  <a:extLst>
                    <a:ext uri="{9D8B030D-6E8A-4147-A177-3AD203B41FA5}">
                      <a16:colId xmlns:a16="http://schemas.microsoft.com/office/drawing/2014/main" val="3323983483"/>
                    </a:ext>
                  </a:extLst>
                </a:gridCol>
                <a:gridCol w="310315">
                  <a:extLst>
                    <a:ext uri="{9D8B030D-6E8A-4147-A177-3AD203B41FA5}">
                      <a16:colId xmlns:a16="http://schemas.microsoft.com/office/drawing/2014/main" val="2451926601"/>
                    </a:ext>
                  </a:extLst>
                </a:gridCol>
                <a:gridCol w="310315">
                  <a:extLst>
                    <a:ext uri="{9D8B030D-6E8A-4147-A177-3AD203B41FA5}">
                      <a16:colId xmlns:a16="http://schemas.microsoft.com/office/drawing/2014/main" val="3458952246"/>
                    </a:ext>
                  </a:extLst>
                </a:gridCol>
                <a:gridCol w="310315">
                  <a:extLst>
                    <a:ext uri="{9D8B030D-6E8A-4147-A177-3AD203B41FA5}">
                      <a16:colId xmlns:a16="http://schemas.microsoft.com/office/drawing/2014/main" val="581245399"/>
                    </a:ext>
                  </a:extLst>
                </a:gridCol>
                <a:gridCol w="310315">
                  <a:extLst>
                    <a:ext uri="{9D8B030D-6E8A-4147-A177-3AD203B41FA5}">
                      <a16:colId xmlns:a16="http://schemas.microsoft.com/office/drawing/2014/main" val="14805617"/>
                    </a:ext>
                  </a:extLst>
                </a:gridCol>
                <a:gridCol w="310315">
                  <a:extLst>
                    <a:ext uri="{9D8B030D-6E8A-4147-A177-3AD203B41FA5}">
                      <a16:colId xmlns:a16="http://schemas.microsoft.com/office/drawing/2014/main" val="310787637"/>
                    </a:ext>
                  </a:extLst>
                </a:gridCol>
                <a:gridCol w="310315">
                  <a:extLst>
                    <a:ext uri="{9D8B030D-6E8A-4147-A177-3AD203B41FA5}">
                      <a16:colId xmlns:a16="http://schemas.microsoft.com/office/drawing/2014/main" val="2152951754"/>
                    </a:ext>
                  </a:extLst>
                </a:gridCol>
                <a:gridCol w="310315">
                  <a:extLst>
                    <a:ext uri="{9D8B030D-6E8A-4147-A177-3AD203B41FA5}">
                      <a16:colId xmlns:a16="http://schemas.microsoft.com/office/drawing/2014/main" val="776322808"/>
                    </a:ext>
                  </a:extLst>
                </a:gridCol>
                <a:gridCol w="310315">
                  <a:extLst>
                    <a:ext uri="{9D8B030D-6E8A-4147-A177-3AD203B41FA5}">
                      <a16:colId xmlns:a16="http://schemas.microsoft.com/office/drawing/2014/main" val="1484566445"/>
                    </a:ext>
                  </a:extLst>
                </a:gridCol>
                <a:gridCol w="310315">
                  <a:extLst>
                    <a:ext uri="{9D8B030D-6E8A-4147-A177-3AD203B41FA5}">
                      <a16:colId xmlns:a16="http://schemas.microsoft.com/office/drawing/2014/main" val="511557403"/>
                    </a:ext>
                  </a:extLst>
                </a:gridCol>
                <a:gridCol w="310315">
                  <a:extLst>
                    <a:ext uri="{9D8B030D-6E8A-4147-A177-3AD203B41FA5}">
                      <a16:colId xmlns:a16="http://schemas.microsoft.com/office/drawing/2014/main" val="110607013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Blanc De Blanc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Bru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ru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Extra Bru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Millesim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osé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urgogn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Italien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Val De Loir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Alsac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rdelai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41.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6.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7.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57.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2.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8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5.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7.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8.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3.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93.0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1.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4.9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1.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2.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1.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78.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55.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5.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53.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5.0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8.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4.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9.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9.0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4.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8.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38.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72.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7.9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0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9.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0.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84.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4.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81.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7.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8.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4.8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50.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Taitt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4.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4.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0.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Boll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68.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5.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10.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5.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5.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52.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127487029"/>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1</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QCA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30"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10315">
                  <a:extLst>
                    <a:ext uri="{9D8B030D-6E8A-4147-A177-3AD203B41FA5}">
                      <a16:colId xmlns:a16="http://schemas.microsoft.com/office/drawing/2014/main" val="2214050810"/>
                    </a:ext>
                  </a:extLst>
                </a:gridCol>
                <a:gridCol w="310315">
                  <a:extLst>
                    <a:ext uri="{9D8B030D-6E8A-4147-A177-3AD203B41FA5}">
                      <a16:colId xmlns:a16="http://schemas.microsoft.com/office/drawing/2014/main" val="704225536"/>
                    </a:ext>
                  </a:extLst>
                </a:gridCol>
                <a:gridCol w="310315">
                  <a:extLst>
                    <a:ext uri="{9D8B030D-6E8A-4147-A177-3AD203B41FA5}">
                      <a16:colId xmlns:a16="http://schemas.microsoft.com/office/drawing/2014/main" val="1285391802"/>
                    </a:ext>
                  </a:extLst>
                </a:gridCol>
                <a:gridCol w="310315">
                  <a:extLst>
                    <a:ext uri="{9D8B030D-6E8A-4147-A177-3AD203B41FA5}">
                      <a16:colId xmlns:a16="http://schemas.microsoft.com/office/drawing/2014/main" val="3180695831"/>
                    </a:ext>
                  </a:extLst>
                </a:gridCol>
                <a:gridCol w="310315">
                  <a:extLst>
                    <a:ext uri="{9D8B030D-6E8A-4147-A177-3AD203B41FA5}">
                      <a16:colId xmlns:a16="http://schemas.microsoft.com/office/drawing/2014/main" val="3841440830"/>
                    </a:ext>
                  </a:extLst>
                </a:gridCol>
                <a:gridCol w="310315">
                  <a:extLst>
                    <a:ext uri="{9D8B030D-6E8A-4147-A177-3AD203B41FA5}">
                      <a16:colId xmlns:a16="http://schemas.microsoft.com/office/drawing/2014/main" val="3330568015"/>
                    </a:ext>
                  </a:extLst>
                </a:gridCol>
                <a:gridCol w="310315">
                  <a:extLst>
                    <a:ext uri="{9D8B030D-6E8A-4147-A177-3AD203B41FA5}">
                      <a16:colId xmlns:a16="http://schemas.microsoft.com/office/drawing/2014/main" val="3707381308"/>
                    </a:ext>
                  </a:extLst>
                </a:gridCol>
                <a:gridCol w="310315">
                  <a:extLst>
                    <a:ext uri="{9D8B030D-6E8A-4147-A177-3AD203B41FA5}">
                      <a16:colId xmlns:a16="http://schemas.microsoft.com/office/drawing/2014/main" val="4072370141"/>
                    </a:ext>
                  </a:extLst>
                </a:gridCol>
                <a:gridCol w="310315">
                  <a:extLst>
                    <a:ext uri="{9D8B030D-6E8A-4147-A177-3AD203B41FA5}">
                      <a16:colId xmlns:a16="http://schemas.microsoft.com/office/drawing/2014/main" val="226346896"/>
                    </a:ext>
                  </a:extLst>
                </a:gridCol>
                <a:gridCol w="310315">
                  <a:extLst>
                    <a:ext uri="{9D8B030D-6E8A-4147-A177-3AD203B41FA5}">
                      <a16:colId xmlns:a16="http://schemas.microsoft.com/office/drawing/2014/main" val="4016487860"/>
                    </a:ext>
                  </a:extLst>
                </a:gridCol>
                <a:gridCol w="310315">
                  <a:extLst>
                    <a:ext uri="{9D8B030D-6E8A-4147-A177-3AD203B41FA5}">
                      <a16:colId xmlns:a16="http://schemas.microsoft.com/office/drawing/2014/main" val="4124924102"/>
                    </a:ext>
                  </a:extLst>
                </a:gridCol>
                <a:gridCol w="310315">
                  <a:extLst>
                    <a:ext uri="{9D8B030D-6E8A-4147-A177-3AD203B41FA5}">
                      <a16:colId xmlns:a16="http://schemas.microsoft.com/office/drawing/2014/main" val="1915546132"/>
                    </a:ext>
                  </a:extLst>
                </a:gridCol>
                <a:gridCol w="310315">
                  <a:extLst>
                    <a:ext uri="{9D8B030D-6E8A-4147-A177-3AD203B41FA5}">
                      <a16:colId xmlns:a16="http://schemas.microsoft.com/office/drawing/2014/main" val="3594374671"/>
                    </a:ext>
                  </a:extLst>
                </a:gridCol>
                <a:gridCol w="310315">
                  <a:extLst>
                    <a:ext uri="{9D8B030D-6E8A-4147-A177-3AD203B41FA5}">
                      <a16:colId xmlns:a16="http://schemas.microsoft.com/office/drawing/2014/main" val="3323983483"/>
                    </a:ext>
                  </a:extLst>
                </a:gridCol>
                <a:gridCol w="310315">
                  <a:extLst>
                    <a:ext uri="{9D8B030D-6E8A-4147-A177-3AD203B41FA5}">
                      <a16:colId xmlns:a16="http://schemas.microsoft.com/office/drawing/2014/main" val="2451926601"/>
                    </a:ext>
                  </a:extLst>
                </a:gridCol>
                <a:gridCol w="310315">
                  <a:extLst>
                    <a:ext uri="{9D8B030D-6E8A-4147-A177-3AD203B41FA5}">
                      <a16:colId xmlns:a16="http://schemas.microsoft.com/office/drawing/2014/main" val="3458952246"/>
                    </a:ext>
                  </a:extLst>
                </a:gridCol>
                <a:gridCol w="310315">
                  <a:extLst>
                    <a:ext uri="{9D8B030D-6E8A-4147-A177-3AD203B41FA5}">
                      <a16:colId xmlns:a16="http://schemas.microsoft.com/office/drawing/2014/main" val="581245399"/>
                    </a:ext>
                  </a:extLst>
                </a:gridCol>
                <a:gridCol w="310315">
                  <a:extLst>
                    <a:ext uri="{9D8B030D-6E8A-4147-A177-3AD203B41FA5}">
                      <a16:colId xmlns:a16="http://schemas.microsoft.com/office/drawing/2014/main" val="14805617"/>
                    </a:ext>
                  </a:extLst>
                </a:gridCol>
                <a:gridCol w="310315">
                  <a:extLst>
                    <a:ext uri="{9D8B030D-6E8A-4147-A177-3AD203B41FA5}">
                      <a16:colId xmlns:a16="http://schemas.microsoft.com/office/drawing/2014/main" val="310787637"/>
                    </a:ext>
                  </a:extLst>
                </a:gridCol>
                <a:gridCol w="310315">
                  <a:extLst>
                    <a:ext uri="{9D8B030D-6E8A-4147-A177-3AD203B41FA5}">
                      <a16:colId xmlns:a16="http://schemas.microsoft.com/office/drawing/2014/main" val="2152951754"/>
                    </a:ext>
                  </a:extLst>
                </a:gridCol>
                <a:gridCol w="310315">
                  <a:extLst>
                    <a:ext uri="{9D8B030D-6E8A-4147-A177-3AD203B41FA5}">
                      <a16:colId xmlns:a16="http://schemas.microsoft.com/office/drawing/2014/main" val="776322808"/>
                    </a:ext>
                  </a:extLst>
                </a:gridCol>
                <a:gridCol w="310315">
                  <a:extLst>
                    <a:ext uri="{9D8B030D-6E8A-4147-A177-3AD203B41FA5}">
                      <a16:colId xmlns:a16="http://schemas.microsoft.com/office/drawing/2014/main" val="1484566445"/>
                    </a:ext>
                  </a:extLst>
                </a:gridCol>
                <a:gridCol w="310315">
                  <a:extLst>
                    <a:ext uri="{9D8B030D-6E8A-4147-A177-3AD203B41FA5}">
                      <a16:colId xmlns:a16="http://schemas.microsoft.com/office/drawing/2014/main" val="511557403"/>
                    </a:ext>
                  </a:extLst>
                </a:gridCol>
                <a:gridCol w="310315">
                  <a:extLst>
                    <a:ext uri="{9D8B030D-6E8A-4147-A177-3AD203B41FA5}">
                      <a16:colId xmlns:a16="http://schemas.microsoft.com/office/drawing/2014/main" val="110607013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Blanc De Blanc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Bru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ru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Extra Bru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Millesim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osé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urgogn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Italien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Val De Loir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Alsac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rdelai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46.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1.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6.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7.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71.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5.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8.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81.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6.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3.8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93.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1.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83.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84.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5.0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2.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9.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8.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3.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8.0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25.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1.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2.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0.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00.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3.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74.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54.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0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9.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0.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7.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4.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0.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1.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3.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3.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22.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20.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7.9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Dom Perign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04.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86.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28.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Veuve Clicquo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62.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58.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98.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09.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Moët &amp; Chand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53.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7.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91.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Boll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68.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3.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01.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6.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412220736"/>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2</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CC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30"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10315">
                  <a:extLst>
                    <a:ext uri="{9D8B030D-6E8A-4147-A177-3AD203B41FA5}">
                      <a16:colId xmlns:a16="http://schemas.microsoft.com/office/drawing/2014/main" val="2214050810"/>
                    </a:ext>
                  </a:extLst>
                </a:gridCol>
                <a:gridCol w="310315">
                  <a:extLst>
                    <a:ext uri="{9D8B030D-6E8A-4147-A177-3AD203B41FA5}">
                      <a16:colId xmlns:a16="http://schemas.microsoft.com/office/drawing/2014/main" val="704225536"/>
                    </a:ext>
                  </a:extLst>
                </a:gridCol>
                <a:gridCol w="310315">
                  <a:extLst>
                    <a:ext uri="{9D8B030D-6E8A-4147-A177-3AD203B41FA5}">
                      <a16:colId xmlns:a16="http://schemas.microsoft.com/office/drawing/2014/main" val="1285391802"/>
                    </a:ext>
                  </a:extLst>
                </a:gridCol>
                <a:gridCol w="310315">
                  <a:extLst>
                    <a:ext uri="{9D8B030D-6E8A-4147-A177-3AD203B41FA5}">
                      <a16:colId xmlns:a16="http://schemas.microsoft.com/office/drawing/2014/main" val="3180695831"/>
                    </a:ext>
                  </a:extLst>
                </a:gridCol>
                <a:gridCol w="310315">
                  <a:extLst>
                    <a:ext uri="{9D8B030D-6E8A-4147-A177-3AD203B41FA5}">
                      <a16:colId xmlns:a16="http://schemas.microsoft.com/office/drawing/2014/main" val="3841440830"/>
                    </a:ext>
                  </a:extLst>
                </a:gridCol>
                <a:gridCol w="310315">
                  <a:extLst>
                    <a:ext uri="{9D8B030D-6E8A-4147-A177-3AD203B41FA5}">
                      <a16:colId xmlns:a16="http://schemas.microsoft.com/office/drawing/2014/main" val="3330568015"/>
                    </a:ext>
                  </a:extLst>
                </a:gridCol>
                <a:gridCol w="310315">
                  <a:extLst>
                    <a:ext uri="{9D8B030D-6E8A-4147-A177-3AD203B41FA5}">
                      <a16:colId xmlns:a16="http://schemas.microsoft.com/office/drawing/2014/main" val="3707381308"/>
                    </a:ext>
                  </a:extLst>
                </a:gridCol>
                <a:gridCol w="310315">
                  <a:extLst>
                    <a:ext uri="{9D8B030D-6E8A-4147-A177-3AD203B41FA5}">
                      <a16:colId xmlns:a16="http://schemas.microsoft.com/office/drawing/2014/main" val="4072370141"/>
                    </a:ext>
                  </a:extLst>
                </a:gridCol>
                <a:gridCol w="310315">
                  <a:extLst>
                    <a:ext uri="{9D8B030D-6E8A-4147-A177-3AD203B41FA5}">
                      <a16:colId xmlns:a16="http://schemas.microsoft.com/office/drawing/2014/main" val="226346896"/>
                    </a:ext>
                  </a:extLst>
                </a:gridCol>
                <a:gridCol w="310315">
                  <a:extLst>
                    <a:ext uri="{9D8B030D-6E8A-4147-A177-3AD203B41FA5}">
                      <a16:colId xmlns:a16="http://schemas.microsoft.com/office/drawing/2014/main" val="4016487860"/>
                    </a:ext>
                  </a:extLst>
                </a:gridCol>
                <a:gridCol w="310315">
                  <a:extLst>
                    <a:ext uri="{9D8B030D-6E8A-4147-A177-3AD203B41FA5}">
                      <a16:colId xmlns:a16="http://schemas.microsoft.com/office/drawing/2014/main" val="4124924102"/>
                    </a:ext>
                  </a:extLst>
                </a:gridCol>
                <a:gridCol w="310315">
                  <a:extLst>
                    <a:ext uri="{9D8B030D-6E8A-4147-A177-3AD203B41FA5}">
                      <a16:colId xmlns:a16="http://schemas.microsoft.com/office/drawing/2014/main" val="1915546132"/>
                    </a:ext>
                  </a:extLst>
                </a:gridCol>
                <a:gridCol w="310315">
                  <a:extLst>
                    <a:ext uri="{9D8B030D-6E8A-4147-A177-3AD203B41FA5}">
                      <a16:colId xmlns:a16="http://schemas.microsoft.com/office/drawing/2014/main" val="3594374671"/>
                    </a:ext>
                  </a:extLst>
                </a:gridCol>
                <a:gridCol w="310315">
                  <a:extLst>
                    <a:ext uri="{9D8B030D-6E8A-4147-A177-3AD203B41FA5}">
                      <a16:colId xmlns:a16="http://schemas.microsoft.com/office/drawing/2014/main" val="3323983483"/>
                    </a:ext>
                  </a:extLst>
                </a:gridCol>
                <a:gridCol w="310315">
                  <a:extLst>
                    <a:ext uri="{9D8B030D-6E8A-4147-A177-3AD203B41FA5}">
                      <a16:colId xmlns:a16="http://schemas.microsoft.com/office/drawing/2014/main" val="2451926601"/>
                    </a:ext>
                  </a:extLst>
                </a:gridCol>
                <a:gridCol w="310315">
                  <a:extLst>
                    <a:ext uri="{9D8B030D-6E8A-4147-A177-3AD203B41FA5}">
                      <a16:colId xmlns:a16="http://schemas.microsoft.com/office/drawing/2014/main" val="3458952246"/>
                    </a:ext>
                  </a:extLst>
                </a:gridCol>
                <a:gridCol w="310315">
                  <a:extLst>
                    <a:ext uri="{9D8B030D-6E8A-4147-A177-3AD203B41FA5}">
                      <a16:colId xmlns:a16="http://schemas.microsoft.com/office/drawing/2014/main" val="581245399"/>
                    </a:ext>
                  </a:extLst>
                </a:gridCol>
                <a:gridCol w="310315">
                  <a:extLst>
                    <a:ext uri="{9D8B030D-6E8A-4147-A177-3AD203B41FA5}">
                      <a16:colId xmlns:a16="http://schemas.microsoft.com/office/drawing/2014/main" val="14805617"/>
                    </a:ext>
                  </a:extLst>
                </a:gridCol>
                <a:gridCol w="310315">
                  <a:extLst>
                    <a:ext uri="{9D8B030D-6E8A-4147-A177-3AD203B41FA5}">
                      <a16:colId xmlns:a16="http://schemas.microsoft.com/office/drawing/2014/main" val="310787637"/>
                    </a:ext>
                  </a:extLst>
                </a:gridCol>
                <a:gridCol w="310315">
                  <a:extLst>
                    <a:ext uri="{9D8B030D-6E8A-4147-A177-3AD203B41FA5}">
                      <a16:colId xmlns:a16="http://schemas.microsoft.com/office/drawing/2014/main" val="2152951754"/>
                    </a:ext>
                  </a:extLst>
                </a:gridCol>
                <a:gridCol w="310315">
                  <a:extLst>
                    <a:ext uri="{9D8B030D-6E8A-4147-A177-3AD203B41FA5}">
                      <a16:colId xmlns:a16="http://schemas.microsoft.com/office/drawing/2014/main" val="776322808"/>
                    </a:ext>
                  </a:extLst>
                </a:gridCol>
                <a:gridCol w="310315">
                  <a:extLst>
                    <a:ext uri="{9D8B030D-6E8A-4147-A177-3AD203B41FA5}">
                      <a16:colId xmlns:a16="http://schemas.microsoft.com/office/drawing/2014/main" val="1484566445"/>
                    </a:ext>
                  </a:extLst>
                </a:gridCol>
                <a:gridCol w="310315">
                  <a:extLst>
                    <a:ext uri="{9D8B030D-6E8A-4147-A177-3AD203B41FA5}">
                      <a16:colId xmlns:a16="http://schemas.microsoft.com/office/drawing/2014/main" val="511557403"/>
                    </a:ext>
                  </a:extLst>
                </a:gridCol>
                <a:gridCol w="310315">
                  <a:extLst>
                    <a:ext uri="{9D8B030D-6E8A-4147-A177-3AD203B41FA5}">
                      <a16:colId xmlns:a16="http://schemas.microsoft.com/office/drawing/2014/main" val="110607013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Blanc De Blanc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Bru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ru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Extra Bru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Millesim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osé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urgogn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Italien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Val De Loir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Alsac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rdelai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41.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7.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5.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6.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44.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1.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4.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9.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8.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4.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92.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0.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0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0.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8.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0.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4.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86.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50.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6.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13.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2.9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52.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6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7.8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9.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8.9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2.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6.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8.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3.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7.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7.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4.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1.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Taitt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11.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9.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74.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4.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30.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9.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4.8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9.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8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3.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209439703"/>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3</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IDF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30"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10315">
                  <a:extLst>
                    <a:ext uri="{9D8B030D-6E8A-4147-A177-3AD203B41FA5}">
                      <a16:colId xmlns:a16="http://schemas.microsoft.com/office/drawing/2014/main" val="2214050810"/>
                    </a:ext>
                  </a:extLst>
                </a:gridCol>
                <a:gridCol w="310315">
                  <a:extLst>
                    <a:ext uri="{9D8B030D-6E8A-4147-A177-3AD203B41FA5}">
                      <a16:colId xmlns:a16="http://schemas.microsoft.com/office/drawing/2014/main" val="704225536"/>
                    </a:ext>
                  </a:extLst>
                </a:gridCol>
                <a:gridCol w="310315">
                  <a:extLst>
                    <a:ext uri="{9D8B030D-6E8A-4147-A177-3AD203B41FA5}">
                      <a16:colId xmlns:a16="http://schemas.microsoft.com/office/drawing/2014/main" val="1285391802"/>
                    </a:ext>
                  </a:extLst>
                </a:gridCol>
                <a:gridCol w="310315">
                  <a:extLst>
                    <a:ext uri="{9D8B030D-6E8A-4147-A177-3AD203B41FA5}">
                      <a16:colId xmlns:a16="http://schemas.microsoft.com/office/drawing/2014/main" val="3180695831"/>
                    </a:ext>
                  </a:extLst>
                </a:gridCol>
                <a:gridCol w="310315">
                  <a:extLst>
                    <a:ext uri="{9D8B030D-6E8A-4147-A177-3AD203B41FA5}">
                      <a16:colId xmlns:a16="http://schemas.microsoft.com/office/drawing/2014/main" val="3841440830"/>
                    </a:ext>
                  </a:extLst>
                </a:gridCol>
                <a:gridCol w="310315">
                  <a:extLst>
                    <a:ext uri="{9D8B030D-6E8A-4147-A177-3AD203B41FA5}">
                      <a16:colId xmlns:a16="http://schemas.microsoft.com/office/drawing/2014/main" val="3330568015"/>
                    </a:ext>
                  </a:extLst>
                </a:gridCol>
                <a:gridCol w="310315">
                  <a:extLst>
                    <a:ext uri="{9D8B030D-6E8A-4147-A177-3AD203B41FA5}">
                      <a16:colId xmlns:a16="http://schemas.microsoft.com/office/drawing/2014/main" val="3707381308"/>
                    </a:ext>
                  </a:extLst>
                </a:gridCol>
                <a:gridCol w="310315">
                  <a:extLst>
                    <a:ext uri="{9D8B030D-6E8A-4147-A177-3AD203B41FA5}">
                      <a16:colId xmlns:a16="http://schemas.microsoft.com/office/drawing/2014/main" val="4072370141"/>
                    </a:ext>
                  </a:extLst>
                </a:gridCol>
                <a:gridCol w="310315">
                  <a:extLst>
                    <a:ext uri="{9D8B030D-6E8A-4147-A177-3AD203B41FA5}">
                      <a16:colId xmlns:a16="http://schemas.microsoft.com/office/drawing/2014/main" val="226346896"/>
                    </a:ext>
                  </a:extLst>
                </a:gridCol>
                <a:gridCol w="310315">
                  <a:extLst>
                    <a:ext uri="{9D8B030D-6E8A-4147-A177-3AD203B41FA5}">
                      <a16:colId xmlns:a16="http://schemas.microsoft.com/office/drawing/2014/main" val="4016487860"/>
                    </a:ext>
                  </a:extLst>
                </a:gridCol>
                <a:gridCol w="310315">
                  <a:extLst>
                    <a:ext uri="{9D8B030D-6E8A-4147-A177-3AD203B41FA5}">
                      <a16:colId xmlns:a16="http://schemas.microsoft.com/office/drawing/2014/main" val="4124924102"/>
                    </a:ext>
                  </a:extLst>
                </a:gridCol>
                <a:gridCol w="310315">
                  <a:extLst>
                    <a:ext uri="{9D8B030D-6E8A-4147-A177-3AD203B41FA5}">
                      <a16:colId xmlns:a16="http://schemas.microsoft.com/office/drawing/2014/main" val="1915546132"/>
                    </a:ext>
                  </a:extLst>
                </a:gridCol>
                <a:gridCol w="310315">
                  <a:extLst>
                    <a:ext uri="{9D8B030D-6E8A-4147-A177-3AD203B41FA5}">
                      <a16:colId xmlns:a16="http://schemas.microsoft.com/office/drawing/2014/main" val="3594374671"/>
                    </a:ext>
                  </a:extLst>
                </a:gridCol>
                <a:gridCol w="310315">
                  <a:extLst>
                    <a:ext uri="{9D8B030D-6E8A-4147-A177-3AD203B41FA5}">
                      <a16:colId xmlns:a16="http://schemas.microsoft.com/office/drawing/2014/main" val="3323983483"/>
                    </a:ext>
                  </a:extLst>
                </a:gridCol>
                <a:gridCol w="310315">
                  <a:extLst>
                    <a:ext uri="{9D8B030D-6E8A-4147-A177-3AD203B41FA5}">
                      <a16:colId xmlns:a16="http://schemas.microsoft.com/office/drawing/2014/main" val="2451926601"/>
                    </a:ext>
                  </a:extLst>
                </a:gridCol>
                <a:gridCol w="310315">
                  <a:extLst>
                    <a:ext uri="{9D8B030D-6E8A-4147-A177-3AD203B41FA5}">
                      <a16:colId xmlns:a16="http://schemas.microsoft.com/office/drawing/2014/main" val="3458952246"/>
                    </a:ext>
                  </a:extLst>
                </a:gridCol>
                <a:gridCol w="310315">
                  <a:extLst>
                    <a:ext uri="{9D8B030D-6E8A-4147-A177-3AD203B41FA5}">
                      <a16:colId xmlns:a16="http://schemas.microsoft.com/office/drawing/2014/main" val="581245399"/>
                    </a:ext>
                  </a:extLst>
                </a:gridCol>
                <a:gridCol w="310315">
                  <a:extLst>
                    <a:ext uri="{9D8B030D-6E8A-4147-A177-3AD203B41FA5}">
                      <a16:colId xmlns:a16="http://schemas.microsoft.com/office/drawing/2014/main" val="14805617"/>
                    </a:ext>
                  </a:extLst>
                </a:gridCol>
                <a:gridCol w="310315">
                  <a:extLst>
                    <a:ext uri="{9D8B030D-6E8A-4147-A177-3AD203B41FA5}">
                      <a16:colId xmlns:a16="http://schemas.microsoft.com/office/drawing/2014/main" val="310787637"/>
                    </a:ext>
                  </a:extLst>
                </a:gridCol>
                <a:gridCol w="310315">
                  <a:extLst>
                    <a:ext uri="{9D8B030D-6E8A-4147-A177-3AD203B41FA5}">
                      <a16:colId xmlns:a16="http://schemas.microsoft.com/office/drawing/2014/main" val="2152951754"/>
                    </a:ext>
                  </a:extLst>
                </a:gridCol>
                <a:gridCol w="310315">
                  <a:extLst>
                    <a:ext uri="{9D8B030D-6E8A-4147-A177-3AD203B41FA5}">
                      <a16:colId xmlns:a16="http://schemas.microsoft.com/office/drawing/2014/main" val="776322808"/>
                    </a:ext>
                  </a:extLst>
                </a:gridCol>
                <a:gridCol w="310315">
                  <a:extLst>
                    <a:ext uri="{9D8B030D-6E8A-4147-A177-3AD203B41FA5}">
                      <a16:colId xmlns:a16="http://schemas.microsoft.com/office/drawing/2014/main" val="1484566445"/>
                    </a:ext>
                  </a:extLst>
                </a:gridCol>
                <a:gridCol w="310315">
                  <a:extLst>
                    <a:ext uri="{9D8B030D-6E8A-4147-A177-3AD203B41FA5}">
                      <a16:colId xmlns:a16="http://schemas.microsoft.com/office/drawing/2014/main" val="511557403"/>
                    </a:ext>
                  </a:extLst>
                </a:gridCol>
                <a:gridCol w="310315">
                  <a:extLst>
                    <a:ext uri="{9D8B030D-6E8A-4147-A177-3AD203B41FA5}">
                      <a16:colId xmlns:a16="http://schemas.microsoft.com/office/drawing/2014/main" val="110607013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Blanc De Blanc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Bru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ru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Extra Bru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Millesim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osé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urgogn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Italien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Val De Loir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Alsac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rdelai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40.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1.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3.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6.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45.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3.0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8.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9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6.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8.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3.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01.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0.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1.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1.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07.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39.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4.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51.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9.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8.0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8.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9.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9.0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1.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1.0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8.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2.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84.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4.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7.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7.8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4.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50.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86.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4.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74.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61.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3.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1.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Taitt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0.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9.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79.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8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0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9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859256409"/>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4</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PAC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30"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10315">
                  <a:extLst>
                    <a:ext uri="{9D8B030D-6E8A-4147-A177-3AD203B41FA5}">
                      <a16:colId xmlns:a16="http://schemas.microsoft.com/office/drawing/2014/main" val="2214050810"/>
                    </a:ext>
                  </a:extLst>
                </a:gridCol>
                <a:gridCol w="310315">
                  <a:extLst>
                    <a:ext uri="{9D8B030D-6E8A-4147-A177-3AD203B41FA5}">
                      <a16:colId xmlns:a16="http://schemas.microsoft.com/office/drawing/2014/main" val="704225536"/>
                    </a:ext>
                  </a:extLst>
                </a:gridCol>
                <a:gridCol w="310315">
                  <a:extLst>
                    <a:ext uri="{9D8B030D-6E8A-4147-A177-3AD203B41FA5}">
                      <a16:colId xmlns:a16="http://schemas.microsoft.com/office/drawing/2014/main" val="1285391802"/>
                    </a:ext>
                  </a:extLst>
                </a:gridCol>
                <a:gridCol w="310315">
                  <a:extLst>
                    <a:ext uri="{9D8B030D-6E8A-4147-A177-3AD203B41FA5}">
                      <a16:colId xmlns:a16="http://schemas.microsoft.com/office/drawing/2014/main" val="3180695831"/>
                    </a:ext>
                  </a:extLst>
                </a:gridCol>
                <a:gridCol w="310315">
                  <a:extLst>
                    <a:ext uri="{9D8B030D-6E8A-4147-A177-3AD203B41FA5}">
                      <a16:colId xmlns:a16="http://schemas.microsoft.com/office/drawing/2014/main" val="3841440830"/>
                    </a:ext>
                  </a:extLst>
                </a:gridCol>
                <a:gridCol w="310315">
                  <a:extLst>
                    <a:ext uri="{9D8B030D-6E8A-4147-A177-3AD203B41FA5}">
                      <a16:colId xmlns:a16="http://schemas.microsoft.com/office/drawing/2014/main" val="3330568015"/>
                    </a:ext>
                  </a:extLst>
                </a:gridCol>
                <a:gridCol w="310315">
                  <a:extLst>
                    <a:ext uri="{9D8B030D-6E8A-4147-A177-3AD203B41FA5}">
                      <a16:colId xmlns:a16="http://schemas.microsoft.com/office/drawing/2014/main" val="3707381308"/>
                    </a:ext>
                  </a:extLst>
                </a:gridCol>
                <a:gridCol w="310315">
                  <a:extLst>
                    <a:ext uri="{9D8B030D-6E8A-4147-A177-3AD203B41FA5}">
                      <a16:colId xmlns:a16="http://schemas.microsoft.com/office/drawing/2014/main" val="4072370141"/>
                    </a:ext>
                  </a:extLst>
                </a:gridCol>
                <a:gridCol w="310315">
                  <a:extLst>
                    <a:ext uri="{9D8B030D-6E8A-4147-A177-3AD203B41FA5}">
                      <a16:colId xmlns:a16="http://schemas.microsoft.com/office/drawing/2014/main" val="226346896"/>
                    </a:ext>
                  </a:extLst>
                </a:gridCol>
                <a:gridCol w="310315">
                  <a:extLst>
                    <a:ext uri="{9D8B030D-6E8A-4147-A177-3AD203B41FA5}">
                      <a16:colId xmlns:a16="http://schemas.microsoft.com/office/drawing/2014/main" val="4016487860"/>
                    </a:ext>
                  </a:extLst>
                </a:gridCol>
                <a:gridCol w="310315">
                  <a:extLst>
                    <a:ext uri="{9D8B030D-6E8A-4147-A177-3AD203B41FA5}">
                      <a16:colId xmlns:a16="http://schemas.microsoft.com/office/drawing/2014/main" val="4124924102"/>
                    </a:ext>
                  </a:extLst>
                </a:gridCol>
                <a:gridCol w="310315">
                  <a:extLst>
                    <a:ext uri="{9D8B030D-6E8A-4147-A177-3AD203B41FA5}">
                      <a16:colId xmlns:a16="http://schemas.microsoft.com/office/drawing/2014/main" val="1915546132"/>
                    </a:ext>
                  </a:extLst>
                </a:gridCol>
                <a:gridCol w="310315">
                  <a:extLst>
                    <a:ext uri="{9D8B030D-6E8A-4147-A177-3AD203B41FA5}">
                      <a16:colId xmlns:a16="http://schemas.microsoft.com/office/drawing/2014/main" val="3594374671"/>
                    </a:ext>
                  </a:extLst>
                </a:gridCol>
                <a:gridCol w="310315">
                  <a:extLst>
                    <a:ext uri="{9D8B030D-6E8A-4147-A177-3AD203B41FA5}">
                      <a16:colId xmlns:a16="http://schemas.microsoft.com/office/drawing/2014/main" val="3323983483"/>
                    </a:ext>
                  </a:extLst>
                </a:gridCol>
                <a:gridCol w="310315">
                  <a:extLst>
                    <a:ext uri="{9D8B030D-6E8A-4147-A177-3AD203B41FA5}">
                      <a16:colId xmlns:a16="http://schemas.microsoft.com/office/drawing/2014/main" val="2451926601"/>
                    </a:ext>
                  </a:extLst>
                </a:gridCol>
                <a:gridCol w="310315">
                  <a:extLst>
                    <a:ext uri="{9D8B030D-6E8A-4147-A177-3AD203B41FA5}">
                      <a16:colId xmlns:a16="http://schemas.microsoft.com/office/drawing/2014/main" val="3458952246"/>
                    </a:ext>
                  </a:extLst>
                </a:gridCol>
                <a:gridCol w="310315">
                  <a:extLst>
                    <a:ext uri="{9D8B030D-6E8A-4147-A177-3AD203B41FA5}">
                      <a16:colId xmlns:a16="http://schemas.microsoft.com/office/drawing/2014/main" val="581245399"/>
                    </a:ext>
                  </a:extLst>
                </a:gridCol>
                <a:gridCol w="310315">
                  <a:extLst>
                    <a:ext uri="{9D8B030D-6E8A-4147-A177-3AD203B41FA5}">
                      <a16:colId xmlns:a16="http://schemas.microsoft.com/office/drawing/2014/main" val="14805617"/>
                    </a:ext>
                  </a:extLst>
                </a:gridCol>
                <a:gridCol w="310315">
                  <a:extLst>
                    <a:ext uri="{9D8B030D-6E8A-4147-A177-3AD203B41FA5}">
                      <a16:colId xmlns:a16="http://schemas.microsoft.com/office/drawing/2014/main" val="310787637"/>
                    </a:ext>
                  </a:extLst>
                </a:gridCol>
                <a:gridCol w="310315">
                  <a:extLst>
                    <a:ext uri="{9D8B030D-6E8A-4147-A177-3AD203B41FA5}">
                      <a16:colId xmlns:a16="http://schemas.microsoft.com/office/drawing/2014/main" val="2152951754"/>
                    </a:ext>
                  </a:extLst>
                </a:gridCol>
                <a:gridCol w="310315">
                  <a:extLst>
                    <a:ext uri="{9D8B030D-6E8A-4147-A177-3AD203B41FA5}">
                      <a16:colId xmlns:a16="http://schemas.microsoft.com/office/drawing/2014/main" val="776322808"/>
                    </a:ext>
                  </a:extLst>
                </a:gridCol>
                <a:gridCol w="310315">
                  <a:extLst>
                    <a:ext uri="{9D8B030D-6E8A-4147-A177-3AD203B41FA5}">
                      <a16:colId xmlns:a16="http://schemas.microsoft.com/office/drawing/2014/main" val="1484566445"/>
                    </a:ext>
                  </a:extLst>
                </a:gridCol>
                <a:gridCol w="310315">
                  <a:extLst>
                    <a:ext uri="{9D8B030D-6E8A-4147-A177-3AD203B41FA5}">
                      <a16:colId xmlns:a16="http://schemas.microsoft.com/office/drawing/2014/main" val="511557403"/>
                    </a:ext>
                  </a:extLst>
                </a:gridCol>
                <a:gridCol w="310315">
                  <a:extLst>
                    <a:ext uri="{9D8B030D-6E8A-4147-A177-3AD203B41FA5}">
                      <a16:colId xmlns:a16="http://schemas.microsoft.com/office/drawing/2014/main" val="110607013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Blanc De Blanc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Bru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ru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Extra Bru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Millesim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osé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urgogn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Italien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Val De Loir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Alsac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rdelai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42.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8.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3.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7.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78.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2.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8.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8.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8.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4.0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93.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0.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4.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1.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2.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0.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87.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4.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54.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1.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8.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2.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0.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5.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7.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9.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80.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77.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7.9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83.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4.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96.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9.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0.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Dom Perign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82.0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77.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72.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Taitt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3.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29.0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9.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79.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6.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4.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50.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9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204080605"/>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RHO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30"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10315">
                  <a:extLst>
                    <a:ext uri="{9D8B030D-6E8A-4147-A177-3AD203B41FA5}">
                      <a16:colId xmlns:a16="http://schemas.microsoft.com/office/drawing/2014/main" val="2214050810"/>
                    </a:ext>
                  </a:extLst>
                </a:gridCol>
                <a:gridCol w="310315">
                  <a:extLst>
                    <a:ext uri="{9D8B030D-6E8A-4147-A177-3AD203B41FA5}">
                      <a16:colId xmlns:a16="http://schemas.microsoft.com/office/drawing/2014/main" val="704225536"/>
                    </a:ext>
                  </a:extLst>
                </a:gridCol>
                <a:gridCol w="310315">
                  <a:extLst>
                    <a:ext uri="{9D8B030D-6E8A-4147-A177-3AD203B41FA5}">
                      <a16:colId xmlns:a16="http://schemas.microsoft.com/office/drawing/2014/main" val="1285391802"/>
                    </a:ext>
                  </a:extLst>
                </a:gridCol>
                <a:gridCol w="310315">
                  <a:extLst>
                    <a:ext uri="{9D8B030D-6E8A-4147-A177-3AD203B41FA5}">
                      <a16:colId xmlns:a16="http://schemas.microsoft.com/office/drawing/2014/main" val="3180695831"/>
                    </a:ext>
                  </a:extLst>
                </a:gridCol>
                <a:gridCol w="310315">
                  <a:extLst>
                    <a:ext uri="{9D8B030D-6E8A-4147-A177-3AD203B41FA5}">
                      <a16:colId xmlns:a16="http://schemas.microsoft.com/office/drawing/2014/main" val="3841440830"/>
                    </a:ext>
                  </a:extLst>
                </a:gridCol>
                <a:gridCol w="310315">
                  <a:extLst>
                    <a:ext uri="{9D8B030D-6E8A-4147-A177-3AD203B41FA5}">
                      <a16:colId xmlns:a16="http://schemas.microsoft.com/office/drawing/2014/main" val="3330568015"/>
                    </a:ext>
                  </a:extLst>
                </a:gridCol>
                <a:gridCol w="310315">
                  <a:extLst>
                    <a:ext uri="{9D8B030D-6E8A-4147-A177-3AD203B41FA5}">
                      <a16:colId xmlns:a16="http://schemas.microsoft.com/office/drawing/2014/main" val="3707381308"/>
                    </a:ext>
                  </a:extLst>
                </a:gridCol>
                <a:gridCol w="310315">
                  <a:extLst>
                    <a:ext uri="{9D8B030D-6E8A-4147-A177-3AD203B41FA5}">
                      <a16:colId xmlns:a16="http://schemas.microsoft.com/office/drawing/2014/main" val="4072370141"/>
                    </a:ext>
                  </a:extLst>
                </a:gridCol>
                <a:gridCol w="310315">
                  <a:extLst>
                    <a:ext uri="{9D8B030D-6E8A-4147-A177-3AD203B41FA5}">
                      <a16:colId xmlns:a16="http://schemas.microsoft.com/office/drawing/2014/main" val="226346896"/>
                    </a:ext>
                  </a:extLst>
                </a:gridCol>
                <a:gridCol w="310315">
                  <a:extLst>
                    <a:ext uri="{9D8B030D-6E8A-4147-A177-3AD203B41FA5}">
                      <a16:colId xmlns:a16="http://schemas.microsoft.com/office/drawing/2014/main" val="4016487860"/>
                    </a:ext>
                  </a:extLst>
                </a:gridCol>
                <a:gridCol w="310315">
                  <a:extLst>
                    <a:ext uri="{9D8B030D-6E8A-4147-A177-3AD203B41FA5}">
                      <a16:colId xmlns:a16="http://schemas.microsoft.com/office/drawing/2014/main" val="4124924102"/>
                    </a:ext>
                  </a:extLst>
                </a:gridCol>
                <a:gridCol w="310315">
                  <a:extLst>
                    <a:ext uri="{9D8B030D-6E8A-4147-A177-3AD203B41FA5}">
                      <a16:colId xmlns:a16="http://schemas.microsoft.com/office/drawing/2014/main" val="1915546132"/>
                    </a:ext>
                  </a:extLst>
                </a:gridCol>
                <a:gridCol w="310315">
                  <a:extLst>
                    <a:ext uri="{9D8B030D-6E8A-4147-A177-3AD203B41FA5}">
                      <a16:colId xmlns:a16="http://schemas.microsoft.com/office/drawing/2014/main" val="3594374671"/>
                    </a:ext>
                  </a:extLst>
                </a:gridCol>
                <a:gridCol w="310315">
                  <a:extLst>
                    <a:ext uri="{9D8B030D-6E8A-4147-A177-3AD203B41FA5}">
                      <a16:colId xmlns:a16="http://schemas.microsoft.com/office/drawing/2014/main" val="3323983483"/>
                    </a:ext>
                  </a:extLst>
                </a:gridCol>
                <a:gridCol w="310315">
                  <a:extLst>
                    <a:ext uri="{9D8B030D-6E8A-4147-A177-3AD203B41FA5}">
                      <a16:colId xmlns:a16="http://schemas.microsoft.com/office/drawing/2014/main" val="2451926601"/>
                    </a:ext>
                  </a:extLst>
                </a:gridCol>
                <a:gridCol w="310315">
                  <a:extLst>
                    <a:ext uri="{9D8B030D-6E8A-4147-A177-3AD203B41FA5}">
                      <a16:colId xmlns:a16="http://schemas.microsoft.com/office/drawing/2014/main" val="3458952246"/>
                    </a:ext>
                  </a:extLst>
                </a:gridCol>
                <a:gridCol w="310315">
                  <a:extLst>
                    <a:ext uri="{9D8B030D-6E8A-4147-A177-3AD203B41FA5}">
                      <a16:colId xmlns:a16="http://schemas.microsoft.com/office/drawing/2014/main" val="581245399"/>
                    </a:ext>
                  </a:extLst>
                </a:gridCol>
                <a:gridCol w="310315">
                  <a:extLst>
                    <a:ext uri="{9D8B030D-6E8A-4147-A177-3AD203B41FA5}">
                      <a16:colId xmlns:a16="http://schemas.microsoft.com/office/drawing/2014/main" val="14805617"/>
                    </a:ext>
                  </a:extLst>
                </a:gridCol>
                <a:gridCol w="310315">
                  <a:extLst>
                    <a:ext uri="{9D8B030D-6E8A-4147-A177-3AD203B41FA5}">
                      <a16:colId xmlns:a16="http://schemas.microsoft.com/office/drawing/2014/main" val="310787637"/>
                    </a:ext>
                  </a:extLst>
                </a:gridCol>
                <a:gridCol w="310315">
                  <a:extLst>
                    <a:ext uri="{9D8B030D-6E8A-4147-A177-3AD203B41FA5}">
                      <a16:colId xmlns:a16="http://schemas.microsoft.com/office/drawing/2014/main" val="2152951754"/>
                    </a:ext>
                  </a:extLst>
                </a:gridCol>
                <a:gridCol w="310315">
                  <a:extLst>
                    <a:ext uri="{9D8B030D-6E8A-4147-A177-3AD203B41FA5}">
                      <a16:colId xmlns:a16="http://schemas.microsoft.com/office/drawing/2014/main" val="776322808"/>
                    </a:ext>
                  </a:extLst>
                </a:gridCol>
                <a:gridCol w="310315">
                  <a:extLst>
                    <a:ext uri="{9D8B030D-6E8A-4147-A177-3AD203B41FA5}">
                      <a16:colId xmlns:a16="http://schemas.microsoft.com/office/drawing/2014/main" val="1484566445"/>
                    </a:ext>
                  </a:extLst>
                </a:gridCol>
                <a:gridCol w="310315">
                  <a:extLst>
                    <a:ext uri="{9D8B030D-6E8A-4147-A177-3AD203B41FA5}">
                      <a16:colId xmlns:a16="http://schemas.microsoft.com/office/drawing/2014/main" val="511557403"/>
                    </a:ext>
                  </a:extLst>
                </a:gridCol>
                <a:gridCol w="310315">
                  <a:extLst>
                    <a:ext uri="{9D8B030D-6E8A-4147-A177-3AD203B41FA5}">
                      <a16:colId xmlns:a16="http://schemas.microsoft.com/office/drawing/2014/main" val="110607013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Blanc De Blanc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Bru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ru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Extra Bru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Millesim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osé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urgogn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Italien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Val De Loir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Alsac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rdelai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8.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0.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6.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46.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9.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6.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9.0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3.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89.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0.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66.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6.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2.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0.9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14.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69.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41.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7.8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0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0.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2.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7.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7.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1.8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9.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Taitt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84.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0.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7.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4.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0.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4.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7.0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8.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73.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3.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35.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98.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354586881"/>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AQU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30"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10315">
                  <a:extLst>
                    <a:ext uri="{9D8B030D-6E8A-4147-A177-3AD203B41FA5}">
                      <a16:colId xmlns:a16="http://schemas.microsoft.com/office/drawing/2014/main" val="2214050810"/>
                    </a:ext>
                  </a:extLst>
                </a:gridCol>
                <a:gridCol w="310315">
                  <a:extLst>
                    <a:ext uri="{9D8B030D-6E8A-4147-A177-3AD203B41FA5}">
                      <a16:colId xmlns:a16="http://schemas.microsoft.com/office/drawing/2014/main" val="704225536"/>
                    </a:ext>
                  </a:extLst>
                </a:gridCol>
                <a:gridCol w="310315">
                  <a:extLst>
                    <a:ext uri="{9D8B030D-6E8A-4147-A177-3AD203B41FA5}">
                      <a16:colId xmlns:a16="http://schemas.microsoft.com/office/drawing/2014/main" val="1285391802"/>
                    </a:ext>
                  </a:extLst>
                </a:gridCol>
                <a:gridCol w="310315">
                  <a:extLst>
                    <a:ext uri="{9D8B030D-6E8A-4147-A177-3AD203B41FA5}">
                      <a16:colId xmlns:a16="http://schemas.microsoft.com/office/drawing/2014/main" val="3180695831"/>
                    </a:ext>
                  </a:extLst>
                </a:gridCol>
                <a:gridCol w="310315">
                  <a:extLst>
                    <a:ext uri="{9D8B030D-6E8A-4147-A177-3AD203B41FA5}">
                      <a16:colId xmlns:a16="http://schemas.microsoft.com/office/drawing/2014/main" val="3841440830"/>
                    </a:ext>
                  </a:extLst>
                </a:gridCol>
                <a:gridCol w="310315">
                  <a:extLst>
                    <a:ext uri="{9D8B030D-6E8A-4147-A177-3AD203B41FA5}">
                      <a16:colId xmlns:a16="http://schemas.microsoft.com/office/drawing/2014/main" val="3330568015"/>
                    </a:ext>
                  </a:extLst>
                </a:gridCol>
                <a:gridCol w="310315">
                  <a:extLst>
                    <a:ext uri="{9D8B030D-6E8A-4147-A177-3AD203B41FA5}">
                      <a16:colId xmlns:a16="http://schemas.microsoft.com/office/drawing/2014/main" val="3707381308"/>
                    </a:ext>
                  </a:extLst>
                </a:gridCol>
                <a:gridCol w="310315">
                  <a:extLst>
                    <a:ext uri="{9D8B030D-6E8A-4147-A177-3AD203B41FA5}">
                      <a16:colId xmlns:a16="http://schemas.microsoft.com/office/drawing/2014/main" val="4072370141"/>
                    </a:ext>
                  </a:extLst>
                </a:gridCol>
                <a:gridCol w="310315">
                  <a:extLst>
                    <a:ext uri="{9D8B030D-6E8A-4147-A177-3AD203B41FA5}">
                      <a16:colId xmlns:a16="http://schemas.microsoft.com/office/drawing/2014/main" val="226346896"/>
                    </a:ext>
                  </a:extLst>
                </a:gridCol>
                <a:gridCol w="310315">
                  <a:extLst>
                    <a:ext uri="{9D8B030D-6E8A-4147-A177-3AD203B41FA5}">
                      <a16:colId xmlns:a16="http://schemas.microsoft.com/office/drawing/2014/main" val="4016487860"/>
                    </a:ext>
                  </a:extLst>
                </a:gridCol>
                <a:gridCol w="310315">
                  <a:extLst>
                    <a:ext uri="{9D8B030D-6E8A-4147-A177-3AD203B41FA5}">
                      <a16:colId xmlns:a16="http://schemas.microsoft.com/office/drawing/2014/main" val="4124924102"/>
                    </a:ext>
                  </a:extLst>
                </a:gridCol>
                <a:gridCol w="310315">
                  <a:extLst>
                    <a:ext uri="{9D8B030D-6E8A-4147-A177-3AD203B41FA5}">
                      <a16:colId xmlns:a16="http://schemas.microsoft.com/office/drawing/2014/main" val="1915546132"/>
                    </a:ext>
                  </a:extLst>
                </a:gridCol>
                <a:gridCol w="310315">
                  <a:extLst>
                    <a:ext uri="{9D8B030D-6E8A-4147-A177-3AD203B41FA5}">
                      <a16:colId xmlns:a16="http://schemas.microsoft.com/office/drawing/2014/main" val="3594374671"/>
                    </a:ext>
                  </a:extLst>
                </a:gridCol>
                <a:gridCol w="310315">
                  <a:extLst>
                    <a:ext uri="{9D8B030D-6E8A-4147-A177-3AD203B41FA5}">
                      <a16:colId xmlns:a16="http://schemas.microsoft.com/office/drawing/2014/main" val="3323983483"/>
                    </a:ext>
                  </a:extLst>
                </a:gridCol>
                <a:gridCol w="310315">
                  <a:extLst>
                    <a:ext uri="{9D8B030D-6E8A-4147-A177-3AD203B41FA5}">
                      <a16:colId xmlns:a16="http://schemas.microsoft.com/office/drawing/2014/main" val="2451926601"/>
                    </a:ext>
                  </a:extLst>
                </a:gridCol>
                <a:gridCol w="310315">
                  <a:extLst>
                    <a:ext uri="{9D8B030D-6E8A-4147-A177-3AD203B41FA5}">
                      <a16:colId xmlns:a16="http://schemas.microsoft.com/office/drawing/2014/main" val="3458952246"/>
                    </a:ext>
                  </a:extLst>
                </a:gridCol>
                <a:gridCol w="310315">
                  <a:extLst>
                    <a:ext uri="{9D8B030D-6E8A-4147-A177-3AD203B41FA5}">
                      <a16:colId xmlns:a16="http://schemas.microsoft.com/office/drawing/2014/main" val="581245399"/>
                    </a:ext>
                  </a:extLst>
                </a:gridCol>
                <a:gridCol w="310315">
                  <a:extLst>
                    <a:ext uri="{9D8B030D-6E8A-4147-A177-3AD203B41FA5}">
                      <a16:colId xmlns:a16="http://schemas.microsoft.com/office/drawing/2014/main" val="14805617"/>
                    </a:ext>
                  </a:extLst>
                </a:gridCol>
                <a:gridCol w="310315">
                  <a:extLst>
                    <a:ext uri="{9D8B030D-6E8A-4147-A177-3AD203B41FA5}">
                      <a16:colId xmlns:a16="http://schemas.microsoft.com/office/drawing/2014/main" val="310787637"/>
                    </a:ext>
                  </a:extLst>
                </a:gridCol>
                <a:gridCol w="310315">
                  <a:extLst>
                    <a:ext uri="{9D8B030D-6E8A-4147-A177-3AD203B41FA5}">
                      <a16:colId xmlns:a16="http://schemas.microsoft.com/office/drawing/2014/main" val="2152951754"/>
                    </a:ext>
                  </a:extLst>
                </a:gridCol>
                <a:gridCol w="310315">
                  <a:extLst>
                    <a:ext uri="{9D8B030D-6E8A-4147-A177-3AD203B41FA5}">
                      <a16:colId xmlns:a16="http://schemas.microsoft.com/office/drawing/2014/main" val="776322808"/>
                    </a:ext>
                  </a:extLst>
                </a:gridCol>
                <a:gridCol w="310315">
                  <a:extLst>
                    <a:ext uri="{9D8B030D-6E8A-4147-A177-3AD203B41FA5}">
                      <a16:colId xmlns:a16="http://schemas.microsoft.com/office/drawing/2014/main" val="1484566445"/>
                    </a:ext>
                  </a:extLst>
                </a:gridCol>
                <a:gridCol w="310315">
                  <a:extLst>
                    <a:ext uri="{9D8B030D-6E8A-4147-A177-3AD203B41FA5}">
                      <a16:colId xmlns:a16="http://schemas.microsoft.com/office/drawing/2014/main" val="511557403"/>
                    </a:ext>
                  </a:extLst>
                </a:gridCol>
                <a:gridCol w="310315">
                  <a:extLst>
                    <a:ext uri="{9D8B030D-6E8A-4147-A177-3AD203B41FA5}">
                      <a16:colId xmlns:a16="http://schemas.microsoft.com/office/drawing/2014/main" val="110607013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Blanc De Blanc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Bru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ru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Extra Bru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Millesim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osé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urgogn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Italien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Val De Loir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Alsac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rdelai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6.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4.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9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6.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44.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5.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8.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4.9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6.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3.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81.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7.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4.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0.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0.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9.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0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58.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4.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15.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7.0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03.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7.9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4.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8.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4.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0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2.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5.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7.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4.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7.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71.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3.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54.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Besserat De Bellef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6.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8.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9.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9.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849995478"/>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E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30"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10315">
                  <a:extLst>
                    <a:ext uri="{9D8B030D-6E8A-4147-A177-3AD203B41FA5}">
                      <a16:colId xmlns:a16="http://schemas.microsoft.com/office/drawing/2014/main" val="2214050810"/>
                    </a:ext>
                  </a:extLst>
                </a:gridCol>
                <a:gridCol w="310315">
                  <a:extLst>
                    <a:ext uri="{9D8B030D-6E8A-4147-A177-3AD203B41FA5}">
                      <a16:colId xmlns:a16="http://schemas.microsoft.com/office/drawing/2014/main" val="704225536"/>
                    </a:ext>
                  </a:extLst>
                </a:gridCol>
                <a:gridCol w="310315">
                  <a:extLst>
                    <a:ext uri="{9D8B030D-6E8A-4147-A177-3AD203B41FA5}">
                      <a16:colId xmlns:a16="http://schemas.microsoft.com/office/drawing/2014/main" val="1285391802"/>
                    </a:ext>
                  </a:extLst>
                </a:gridCol>
                <a:gridCol w="310315">
                  <a:extLst>
                    <a:ext uri="{9D8B030D-6E8A-4147-A177-3AD203B41FA5}">
                      <a16:colId xmlns:a16="http://schemas.microsoft.com/office/drawing/2014/main" val="3180695831"/>
                    </a:ext>
                  </a:extLst>
                </a:gridCol>
                <a:gridCol w="310315">
                  <a:extLst>
                    <a:ext uri="{9D8B030D-6E8A-4147-A177-3AD203B41FA5}">
                      <a16:colId xmlns:a16="http://schemas.microsoft.com/office/drawing/2014/main" val="3841440830"/>
                    </a:ext>
                  </a:extLst>
                </a:gridCol>
                <a:gridCol w="310315">
                  <a:extLst>
                    <a:ext uri="{9D8B030D-6E8A-4147-A177-3AD203B41FA5}">
                      <a16:colId xmlns:a16="http://schemas.microsoft.com/office/drawing/2014/main" val="3330568015"/>
                    </a:ext>
                  </a:extLst>
                </a:gridCol>
                <a:gridCol w="310315">
                  <a:extLst>
                    <a:ext uri="{9D8B030D-6E8A-4147-A177-3AD203B41FA5}">
                      <a16:colId xmlns:a16="http://schemas.microsoft.com/office/drawing/2014/main" val="3707381308"/>
                    </a:ext>
                  </a:extLst>
                </a:gridCol>
                <a:gridCol w="310315">
                  <a:extLst>
                    <a:ext uri="{9D8B030D-6E8A-4147-A177-3AD203B41FA5}">
                      <a16:colId xmlns:a16="http://schemas.microsoft.com/office/drawing/2014/main" val="4072370141"/>
                    </a:ext>
                  </a:extLst>
                </a:gridCol>
                <a:gridCol w="310315">
                  <a:extLst>
                    <a:ext uri="{9D8B030D-6E8A-4147-A177-3AD203B41FA5}">
                      <a16:colId xmlns:a16="http://schemas.microsoft.com/office/drawing/2014/main" val="226346896"/>
                    </a:ext>
                  </a:extLst>
                </a:gridCol>
                <a:gridCol w="310315">
                  <a:extLst>
                    <a:ext uri="{9D8B030D-6E8A-4147-A177-3AD203B41FA5}">
                      <a16:colId xmlns:a16="http://schemas.microsoft.com/office/drawing/2014/main" val="4016487860"/>
                    </a:ext>
                  </a:extLst>
                </a:gridCol>
                <a:gridCol w="310315">
                  <a:extLst>
                    <a:ext uri="{9D8B030D-6E8A-4147-A177-3AD203B41FA5}">
                      <a16:colId xmlns:a16="http://schemas.microsoft.com/office/drawing/2014/main" val="4124924102"/>
                    </a:ext>
                  </a:extLst>
                </a:gridCol>
                <a:gridCol w="310315">
                  <a:extLst>
                    <a:ext uri="{9D8B030D-6E8A-4147-A177-3AD203B41FA5}">
                      <a16:colId xmlns:a16="http://schemas.microsoft.com/office/drawing/2014/main" val="1915546132"/>
                    </a:ext>
                  </a:extLst>
                </a:gridCol>
                <a:gridCol w="310315">
                  <a:extLst>
                    <a:ext uri="{9D8B030D-6E8A-4147-A177-3AD203B41FA5}">
                      <a16:colId xmlns:a16="http://schemas.microsoft.com/office/drawing/2014/main" val="3594374671"/>
                    </a:ext>
                  </a:extLst>
                </a:gridCol>
                <a:gridCol w="310315">
                  <a:extLst>
                    <a:ext uri="{9D8B030D-6E8A-4147-A177-3AD203B41FA5}">
                      <a16:colId xmlns:a16="http://schemas.microsoft.com/office/drawing/2014/main" val="3323983483"/>
                    </a:ext>
                  </a:extLst>
                </a:gridCol>
                <a:gridCol w="310315">
                  <a:extLst>
                    <a:ext uri="{9D8B030D-6E8A-4147-A177-3AD203B41FA5}">
                      <a16:colId xmlns:a16="http://schemas.microsoft.com/office/drawing/2014/main" val="2451926601"/>
                    </a:ext>
                  </a:extLst>
                </a:gridCol>
                <a:gridCol w="310315">
                  <a:extLst>
                    <a:ext uri="{9D8B030D-6E8A-4147-A177-3AD203B41FA5}">
                      <a16:colId xmlns:a16="http://schemas.microsoft.com/office/drawing/2014/main" val="3458952246"/>
                    </a:ext>
                  </a:extLst>
                </a:gridCol>
                <a:gridCol w="310315">
                  <a:extLst>
                    <a:ext uri="{9D8B030D-6E8A-4147-A177-3AD203B41FA5}">
                      <a16:colId xmlns:a16="http://schemas.microsoft.com/office/drawing/2014/main" val="581245399"/>
                    </a:ext>
                  </a:extLst>
                </a:gridCol>
                <a:gridCol w="310315">
                  <a:extLst>
                    <a:ext uri="{9D8B030D-6E8A-4147-A177-3AD203B41FA5}">
                      <a16:colId xmlns:a16="http://schemas.microsoft.com/office/drawing/2014/main" val="14805617"/>
                    </a:ext>
                  </a:extLst>
                </a:gridCol>
                <a:gridCol w="310315">
                  <a:extLst>
                    <a:ext uri="{9D8B030D-6E8A-4147-A177-3AD203B41FA5}">
                      <a16:colId xmlns:a16="http://schemas.microsoft.com/office/drawing/2014/main" val="310787637"/>
                    </a:ext>
                  </a:extLst>
                </a:gridCol>
                <a:gridCol w="310315">
                  <a:extLst>
                    <a:ext uri="{9D8B030D-6E8A-4147-A177-3AD203B41FA5}">
                      <a16:colId xmlns:a16="http://schemas.microsoft.com/office/drawing/2014/main" val="2152951754"/>
                    </a:ext>
                  </a:extLst>
                </a:gridCol>
                <a:gridCol w="310315">
                  <a:extLst>
                    <a:ext uri="{9D8B030D-6E8A-4147-A177-3AD203B41FA5}">
                      <a16:colId xmlns:a16="http://schemas.microsoft.com/office/drawing/2014/main" val="776322808"/>
                    </a:ext>
                  </a:extLst>
                </a:gridCol>
                <a:gridCol w="310315">
                  <a:extLst>
                    <a:ext uri="{9D8B030D-6E8A-4147-A177-3AD203B41FA5}">
                      <a16:colId xmlns:a16="http://schemas.microsoft.com/office/drawing/2014/main" val="1484566445"/>
                    </a:ext>
                  </a:extLst>
                </a:gridCol>
                <a:gridCol w="310315">
                  <a:extLst>
                    <a:ext uri="{9D8B030D-6E8A-4147-A177-3AD203B41FA5}">
                      <a16:colId xmlns:a16="http://schemas.microsoft.com/office/drawing/2014/main" val="511557403"/>
                    </a:ext>
                  </a:extLst>
                </a:gridCol>
                <a:gridCol w="310315">
                  <a:extLst>
                    <a:ext uri="{9D8B030D-6E8A-4147-A177-3AD203B41FA5}">
                      <a16:colId xmlns:a16="http://schemas.microsoft.com/office/drawing/2014/main" val="110607013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Blanc De Blanc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Bru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ru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Extra Bru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Millesim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osé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urgogn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Italien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Val De Loir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Alsac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rdelai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4.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6.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7.0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0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0.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7.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7.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4.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6.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3.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88.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5.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4.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1.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3.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9.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9.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55.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75.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0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49.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8.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9.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9.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9.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Mur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0.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0.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2.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5.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8.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58.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6.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Boll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69.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4.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00.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3.0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7.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7.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5.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3.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7.0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6.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4.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7.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74.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3.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15.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266686566"/>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CA A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30"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10315">
                  <a:extLst>
                    <a:ext uri="{9D8B030D-6E8A-4147-A177-3AD203B41FA5}">
                      <a16:colId xmlns:a16="http://schemas.microsoft.com/office/drawing/2014/main" val="2214050810"/>
                    </a:ext>
                  </a:extLst>
                </a:gridCol>
                <a:gridCol w="310315">
                  <a:extLst>
                    <a:ext uri="{9D8B030D-6E8A-4147-A177-3AD203B41FA5}">
                      <a16:colId xmlns:a16="http://schemas.microsoft.com/office/drawing/2014/main" val="704225536"/>
                    </a:ext>
                  </a:extLst>
                </a:gridCol>
                <a:gridCol w="310315">
                  <a:extLst>
                    <a:ext uri="{9D8B030D-6E8A-4147-A177-3AD203B41FA5}">
                      <a16:colId xmlns:a16="http://schemas.microsoft.com/office/drawing/2014/main" val="1285391802"/>
                    </a:ext>
                  </a:extLst>
                </a:gridCol>
                <a:gridCol w="310315">
                  <a:extLst>
                    <a:ext uri="{9D8B030D-6E8A-4147-A177-3AD203B41FA5}">
                      <a16:colId xmlns:a16="http://schemas.microsoft.com/office/drawing/2014/main" val="3180695831"/>
                    </a:ext>
                  </a:extLst>
                </a:gridCol>
                <a:gridCol w="310315">
                  <a:extLst>
                    <a:ext uri="{9D8B030D-6E8A-4147-A177-3AD203B41FA5}">
                      <a16:colId xmlns:a16="http://schemas.microsoft.com/office/drawing/2014/main" val="3841440830"/>
                    </a:ext>
                  </a:extLst>
                </a:gridCol>
                <a:gridCol w="310315">
                  <a:extLst>
                    <a:ext uri="{9D8B030D-6E8A-4147-A177-3AD203B41FA5}">
                      <a16:colId xmlns:a16="http://schemas.microsoft.com/office/drawing/2014/main" val="3330568015"/>
                    </a:ext>
                  </a:extLst>
                </a:gridCol>
                <a:gridCol w="310315">
                  <a:extLst>
                    <a:ext uri="{9D8B030D-6E8A-4147-A177-3AD203B41FA5}">
                      <a16:colId xmlns:a16="http://schemas.microsoft.com/office/drawing/2014/main" val="3707381308"/>
                    </a:ext>
                  </a:extLst>
                </a:gridCol>
                <a:gridCol w="310315">
                  <a:extLst>
                    <a:ext uri="{9D8B030D-6E8A-4147-A177-3AD203B41FA5}">
                      <a16:colId xmlns:a16="http://schemas.microsoft.com/office/drawing/2014/main" val="4072370141"/>
                    </a:ext>
                  </a:extLst>
                </a:gridCol>
                <a:gridCol w="310315">
                  <a:extLst>
                    <a:ext uri="{9D8B030D-6E8A-4147-A177-3AD203B41FA5}">
                      <a16:colId xmlns:a16="http://schemas.microsoft.com/office/drawing/2014/main" val="226346896"/>
                    </a:ext>
                  </a:extLst>
                </a:gridCol>
                <a:gridCol w="310315">
                  <a:extLst>
                    <a:ext uri="{9D8B030D-6E8A-4147-A177-3AD203B41FA5}">
                      <a16:colId xmlns:a16="http://schemas.microsoft.com/office/drawing/2014/main" val="4016487860"/>
                    </a:ext>
                  </a:extLst>
                </a:gridCol>
                <a:gridCol w="310315">
                  <a:extLst>
                    <a:ext uri="{9D8B030D-6E8A-4147-A177-3AD203B41FA5}">
                      <a16:colId xmlns:a16="http://schemas.microsoft.com/office/drawing/2014/main" val="4124924102"/>
                    </a:ext>
                  </a:extLst>
                </a:gridCol>
                <a:gridCol w="310315">
                  <a:extLst>
                    <a:ext uri="{9D8B030D-6E8A-4147-A177-3AD203B41FA5}">
                      <a16:colId xmlns:a16="http://schemas.microsoft.com/office/drawing/2014/main" val="1915546132"/>
                    </a:ext>
                  </a:extLst>
                </a:gridCol>
                <a:gridCol w="310315">
                  <a:extLst>
                    <a:ext uri="{9D8B030D-6E8A-4147-A177-3AD203B41FA5}">
                      <a16:colId xmlns:a16="http://schemas.microsoft.com/office/drawing/2014/main" val="3594374671"/>
                    </a:ext>
                  </a:extLst>
                </a:gridCol>
                <a:gridCol w="310315">
                  <a:extLst>
                    <a:ext uri="{9D8B030D-6E8A-4147-A177-3AD203B41FA5}">
                      <a16:colId xmlns:a16="http://schemas.microsoft.com/office/drawing/2014/main" val="3323983483"/>
                    </a:ext>
                  </a:extLst>
                </a:gridCol>
                <a:gridCol w="310315">
                  <a:extLst>
                    <a:ext uri="{9D8B030D-6E8A-4147-A177-3AD203B41FA5}">
                      <a16:colId xmlns:a16="http://schemas.microsoft.com/office/drawing/2014/main" val="2451926601"/>
                    </a:ext>
                  </a:extLst>
                </a:gridCol>
                <a:gridCol w="310315">
                  <a:extLst>
                    <a:ext uri="{9D8B030D-6E8A-4147-A177-3AD203B41FA5}">
                      <a16:colId xmlns:a16="http://schemas.microsoft.com/office/drawing/2014/main" val="3458952246"/>
                    </a:ext>
                  </a:extLst>
                </a:gridCol>
                <a:gridCol w="310315">
                  <a:extLst>
                    <a:ext uri="{9D8B030D-6E8A-4147-A177-3AD203B41FA5}">
                      <a16:colId xmlns:a16="http://schemas.microsoft.com/office/drawing/2014/main" val="581245399"/>
                    </a:ext>
                  </a:extLst>
                </a:gridCol>
                <a:gridCol w="310315">
                  <a:extLst>
                    <a:ext uri="{9D8B030D-6E8A-4147-A177-3AD203B41FA5}">
                      <a16:colId xmlns:a16="http://schemas.microsoft.com/office/drawing/2014/main" val="14805617"/>
                    </a:ext>
                  </a:extLst>
                </a:gridCol>
                <a:gridCol w="310315">
                  <a:extLst>
                    <a:ext uri="{9D8B030D-6E8A-4147-A177-3AD203B41FA5}">
                      <a16:colId xmlns:a16="http://schemas.microsoft.com/office/drawing/2014/main" val="310787637"/>
                    </a:ext>
                  </a:extLst>
                </a:gridCol>
                <a:gridCol w="310315">
                  <a:extLst>
                    <a:ext uri="{9D8B030D-6E8A-4147-A177-3AD203B41FA5}">
                      <a16:colId xmlns:a16="http://schemas.microsoft.com/office/drawing/2014/main" val="2152951754"/>
                    </a:ext>
                  </a:extLst>
                </a:gridCol>
                <a:gridCol w="310315">
                  <a:extLst>
                    <a:ext uri="{9D8B030D-6E8A-4147-A177-3AD203B41FA5}">
                      <a16:colId xmlns:a16="http://schemas.microsoft.com/office/drawing/2014/main" val="776322808"/>
                    </a:ext>
                  </a:extLst>
                </a:gridCol>
                <a:gridCol w="310315">
                  <a:extLst>
                    <a:ext uri="{9D8B030D-6E8A-4147-A177-3AD203B41FA5}">
                      <a16:colId xmlns:a16="http://schemas.microsoft.com/office/drawing/2014/main" val="1484566445"/>
                    </a:ext>
                  </a:extLst>
                </a:gridCol>
                <a:gridCol w="310315">
                  <a:extLst>
                    <a:ext uri="{9D8B030D-6E8A-4147-A177-3AD203B41FA5}">
                      <a16:colId xmlns:a16="http://schemas.microsoft.com/office/drawing/2014/main" val="511557403"/>
                    </a:ext>
                  </a:extLst>
                </a:gridCol>
                <a:gridCol w="310315">
                  <a:extLst>
                    <a:ext uri="{9D8B030D-6E8A-4147-A177-3AD203B41FA5}">
                      <a16:colId xmlns:a16="http://schemas.microsoft.com/office/drawing/2014/main" val="110607013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Blanc De Blanc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Bru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ru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Extra Bru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Millesim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osé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urgogn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Italien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Val De Loir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Alsac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rdelai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42.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5.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7.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68.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0.8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8.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9.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9.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3.9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01.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1.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1.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1.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4.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05.0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47.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5.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53.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8.0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8.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9.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9.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9.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6.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10.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72.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7.9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9.0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1.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95.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4.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89.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88.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8.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4.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50.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Dom Perign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17.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89.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03.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Taitt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3.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4.0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9.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79.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3.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1.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551122523"/>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CA B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30"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10315">
                  <a:extLst>
                    <a:ext uri="{9D8B030D-6E8A-4147-A177-3AD203B41FA5}">
                      <a16:colId xmlns:a16="http://schemas.microsoft.com/office/drawing/2014/main" val="2214050810"/>
                    </a:ext>
                  </a:extLst>
                </a:gridCol>
                <a:gridCol w="310315">
                  <a:extLst>
                    <a:ext uri="{9D8B030D-6E8A-4147-A177-3AD203B41FA5}">
                      <a16:colId xmlns:a16="http://schemas.microsoft.com/office/drawing/2014/main" val="704225536"/>
                    </a:ext>
                  </a:extLst>
                </a:gridCol>
                <a:gridCol w="310315">
                  <a:extLst>
                    <a:ext uri="{9D8B030D-6E8A-4147-A177-3AD203B41FA5}">
                      <a16:colId xmlns:a16="http://schemas.microsoft.com/office/drawing/2014/main" val="1285391802"/>
                    </a:ext>
                  </a:extLst>
                </a:gridCol>
                <a:gridCol w="310315">
                  <a:extLst>
                    <a:ext uri="{9D8B030D-6E8A-4147-A177-3AD203B41FA5}">
                      <a16:colId xmlns:a16="http://schemas.microsoft.com/office/drawing/2014/main" val="3180695831"/>
                    </a:ext>
                  </a:extLst>
                </a:gridCol>
                <a:gridCol w="310315">
                  <a:extLst>
                    <a:ext uri="{9D8B030D-6E8A-4147-A177-3AD203B41FA5}">
                      <a16:colId xmlns:a16="http://schemas.microsoft.com/office/drawing/2014/main" val="3841440830"/>
                    </a:ext>
                  </a:extLst>
                </a:gridCol>
                <a:gridCol w="310315">
                  <a:extLst>
                    <a:ext uri="{9D8B030D-6E8A-4147-A177-3AD203B41FA5}">
                      <a16:colId xmlns:a16="http://schemas.microsoft.com/office/drawing/2014/main" val="3330568015"/>
                    </a:ext>
                  </a:extLst>
                </a:gridCol>
                <a:gridCol w="310315">
                  <a:extLst>
                    <a:ext uri="{9D8B030D-6E8A-4147-A177-3AD203B41FA5}">
                      <a16:colId xmlns:a16="http://schemas.microsoft.com/office/drawing/2014/main" val="3707381308"/>
                    </a:ext>
                  </a:extLst>
                </a:gridCol>
                <a:gridCol w="310315">
                  <a:extLst>
                    <a:ext uri="{9D8B030D-6E8A-4147-A177-3AD203B41FA5}">
                      <a16:colId xmlns:a16="http://schemas.microsoft.com/office/drawing/2014/main" val="4072370141"/>
                    </a:ext>
                  </a:extLst>
                </a:gridCol>
                <a:gridCol w="310315">
                  <a:extLst>
                    <a:ext uri="{9D8B030D-6E8A-4147-A177-3AD203B41FA5}">
                      <a16:colId xmlns:a16="http://schemas.microsoft.com/office/drawing/2014/main" val="226346896"/>
                    </a:ext>
                  </a:extLst>
                </a:gridCol>
                <a:gridCol w="310315">
                  <a:extLst>
                    <a:ext uri="{9D8B030D-6E8A-4147-A177-3AD203B41FA5}">
                      <a16:colId xmlns:a16="http://schemas.microsoft.com/office/drawing/2014/main" val="4016487860"/>
                    </a:ext>
                  </a:extLst>
                </a:gridCol>
                <a:gridCol w="310315">
                  <a:extLst>
                    <a:ext uri="{9D8B030D-6E8A-4147-A177-3AD203B41FA5}">
                      <a16:colId xmlns:a16="http://schemas.microsoft.com/office/drawing/2014/main" val="4124924102"/>
                    </a:ext>
                  </a:extLst>
                </a:gridCol>
                <a:gridCol w="310315">
                  <a:extLst>
                    <a:ext uri="{9D8B030D-6E8A-4147-A177-3AD203B41FA5}">
                      <a16:colId xmlns:a16="http://schemas.microsoft.com/office/drawing/2014/main" val="1915546132"/>
                    </a:ext>
                  </a:extLst>
                </a:gridCol>
                <a:gridCol w="310315">
                  <a:extLst>
                    <a:ext uri="{9D8B030D-6E8A-4147-A177-3AD203B41FA5}">
                      <a16:colId xmlns:a16="http://schemas.microsoft.com/office/drawing/2014/main" val="3594374671"/>
                    </a:ext>
                  </a:extLst>
                </a:gridCol>
                <a:gridCol w="310315">
                  <a:extLst>
                    <a:ext uri="{9D8B030D-6E8A-4147-A177-3AD203B41FA5}">
                      <a16:colId xmlns:a16="http://schemas.microsoft.com/office/drawing/2014/main" val="3323983483"/>
                    </a:ext>
                  </a:extLst>
                </a:gridCol>
                <a:gridCol w="310315">
                  <a:extLst>
                    <a:ext uri="{9D8B030D-6E8A-4147-A177-3AD203B41FA5}">
                      <a16:colId xmlns:a16="http://schemas.microsoft.com/office/drawing/2014/main" val="2451926601"/>
                    </a:ext>
                  </a:extLst>
                </a:gridCol>
                <a:gridCol w="310315">
                  <a:extLst>
                    <a:ext uri="{9D8B030D-6E8A-4147-A177-3AD203B41FA5}">
                      <a16:colId xmlns:a16="http://schemas.microsoft.com/office/drawing/2014/main" val="3458952246"/>
                    </a:ext>
                  </a:extLst>
                </a:gridCol>
                <a:gridCol w="310315">
                  <a:extLst>
                    <a:ext uri="{9D8B030D-6E8A-4147-A177-3AD203B41FA5}">
                      <a16:colId xmlns:a16="http://schemas.microsoft.com/office/drawing/2014/main" val="581245399"/>
                    </a:ext>
                  </a:extLst>
                </a:gridCol>
                <a:gridCol w="310315">
                  <a:extLst>
                    <a:ext uri="{9D8B030D-6E8A-4147-A177-3AD203B41FA5}">
                      <a16:colId xmlns:a16="http://schemas.microsoft.com/office/drawing/2014/main" val="14805617"/>
                    </a:ext>
                  </a:extLst>
                </a:gridCol>
                <a:gridCol w="310315">
                  <a:extLst>
                    <a:ext uri="{9D8B030D-6E8A-4147-A177-3AD203B41FA5}">
                      <a16:colId xmlns:a16="http://schemas.microsoft.com/office/drawing/2014/main" val="310787637"/>
                    </a:ext>
                  </a:extLst>
                </a:gridCol>
                <a:gridCol w="310315">
                  <a:extLst>
                    <a:ext uri="{9D8B030D-6E8A-4147-A177-3AD203B41FA5}">
                      <a16:colId xmlns:a16="http://schemas.microsoft.com/office/drawing/2014/main" val="2152951754"/>
                    </a:ext>
                  </a:extLst>
                </a:gridCol>
                <a:gridCol w="310315">
                  <a:extLst>
                    <a:ext uri="{9D8B030D-6E8A-4147-A177-3AD203B41FA5}">
                      <a16:colId xmlns:a16="http://schemas.microsoft.com/office/drawing/2014/main" val="776322808"/>
                    </a:ext>
                  </a:extLst>
                </a:gridCol>
                <a:gridCol w="310315">
                  <a:extLst>
                    <a:ext uri="{9D8B030D-6E8A-4147-A177-3AD203B41FA5}">
                      <a16:colId xmlns:a16="http://schemas.microsoft.com/office/drawing/2014/main" val="1484566445"/>
                    </a:ext>
                  </a:extLst>
                </a:gridCol>
                <a:gridCol w="310315">
                  <a:extLst>
                    <a:ext uri="{9D8B030D-6E8A-4147-A177-3AD203B41FA5}">
                      <a16:colId xmlns:a16="http://schemas.microsoft.com/office/drawing/2014/main" val="511557403"/>
                    </a:ext>
                  </a:extLst>
                </a:gridCol>
                <a:gridCol w="310315">
                  <a:extLst>
                    <a:ext uri="{9D8B030D-6E8A-4147-A177-3AD203B41FA5}">
                      <a16:colId xmlns:a16="http://schemas.microsoft.com/office/drawing/2014/main" val="110607013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Blanc De Blanc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Bru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ru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Extra Bru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Millesim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osé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urgogn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Italien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Val De Loir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Alsac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rdelai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9.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3.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7.0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6.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7.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5.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0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4.9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7.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3.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96.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0.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4.9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0.9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84.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49.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5.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51.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9.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7.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7.9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9.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6.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5.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8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96.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7.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9.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1.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8.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4.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0.8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75.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3.9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46.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04.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6.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4.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6.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Taitt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23.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9.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44338295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495538" y="1387069"/>
            <a:ext cx="1832101" cy="167566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62729"/>
            <a:ext cx="2918550" cy="129898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495538" y="3062729"/>
            <a:ext cx="1832101" cy="129898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918550" cy="167566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6006491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gion | Malard Nicolas | Blanc De Blanc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6272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05719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292606784"/>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0</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CA C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30"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10315">
                  <a:extLst>
                    <a:ext uri="{9D8B030D-6E8A-4147-A177-3AD203B41FA5}">
                      <a16:colId xmlns:a16="http://schemas.microsoft.com/office/drawing/2014/main" val="2214050810"/>
                    </a:ext>
                  </a:extLst>
                </a:gridCol>
                <a:gridCol w="310315">
                  <a:extLst>
                    <a:ext uri="{9D8B030D-6E8A-4147-A177-3AD203B41FA5}">
                      <a16:colId xmlns:a16="http://schemas.microsoft.com/office/drawing/2014/main" val="704225536"/>
                    </a:ext>
                  </a:extLst>
                </a:gridCol>
                <a:gridCol w="310315">
                  <a:extLst>
                    <a:ext uri="{9D8B030D-6E8A-4147-A177-3AD203B41FA5}">
                      <a16:colId xmlns:a16="http://schemas.microsoft.com/office/drawing/2014/main" val="1285391802"/>
                    </a:ext>
                  </a:extLst>
                </a:gridCol>
                <a:gridCol w="310315">
                  <a:extLst>
                    <a:ext uri="{9D8B030D-6E8A-4147-A177-3AD203B41FA5}">
                      <a16:colId xmlns:a16="http://schemas.microsoft.com/office/drawing/2014/main" val="3180695831"/>
                    </a:ext>
                  </a:extLst>
                </a:gridCol>
                <a:gridCol w="310315">
                  <a:extLst>
                    <a:ext uri="{9D8B030D-6E8A-4147-A177-3AD203B41FA5}">
                      <a16:colId xmlns:a16="http://schemas.microsoft.com/office/drawing/2014/main" val="3841440830"/>
                    </a:ext>
                  </a:extLst>
                </a:gridCol>
                <a:gridCol w="310315">
                  <a:extLst>
                    <a:ext uri="{9D8B030D-6E8A-4147-A177-3AD203B41FA5}">
                      <a16:colId xmlns:a16="http://schemas.microsoft.com/office/drawing/2014/main" val="3330568015"/>
                    </a:ext>
                  </a:extLst>
                </a:gridCol>
                <a:gridCol w="310315">
                  <a:extLst>
                    <a:ext uri="{9D8B030D-6E8A-4147-A177-3AD203B41FA5}">
                      <a16:colId xmlns:a16="http://schemas.microsoft.com/office/drawing/2014/main" val="3707381308"/>
                    </a:ext>
                  </a:extLst>
                </a:gridCol>
                <a:gridCol w="310315">
                  <a:extLst>
                    <a:ext uri="{9D8B030D-6E8A-4147-A177-3AD203B41FA5}">
                      <a16:colId xmlns:a16="http://schemas.microsoft.com/office/drawing/2014/main" val="4072370141"/>
                    </a:ext>
                  </a:extLst>
                </a:gridCol>
                <a:gridCol w="310315">
                  <a:extLst>
                    <a:ext uri="{9D8B030D-6E8A-4147-A177-3AD203B41FA5}">
                      <a16:colId xmlns:a16="http://schemas.microsoft.com/office/drawing/2014/main" val="226346896"/>
                    </a:ext>
                  </a:extLst>
                </a:gridCol>
                <a:gridCol w="310315">
                  <a:extLst>
                    <a:ext uri="{9D8B030D-6E8A-4147-A177-3AD203B41FA5}">
                      <a16:colId xmlns:a16="http://schemas.microsoft.com/office/drawing/2014/main" val="4016487860"/>
                    </a:ext>
                  </a:extLst>
                </a:gridCol>
                <a:gridCol w="310315">
                  <a:extLst>
                    <a:ext uri="{9D8B030D-6E8A-4147-A177-3AD203B41FA5}">
                      <a16:colId xmlns:a16="http://schemas.microsoft.com/office/drawing/2014/main" val="4124924102"/>
                    </a:ext>
                  </a:extLst>
                </a:gridCol>
                <a:gridCol w="310315">
                  <a:extLst>
                    <a:ext uri="{9D8B030D-6E8A-4147-A177-3AD203B41FA5}">
                      <a16:colId xmlns:a16="http://schemas.microsoft.com/office/drawing/2014/main" val="1915546132"/>
                    </a:ext>
                  </a:extLst>
                </a:gridCol>
                <a:gridCol w="310315">
                  <a:extLst>
                    <a:ext uri="{9D8B030D-6E8A-4147-A177-3AD203B41FA5}">
                      <a16:colId xmlns:a16="http://schemas.microsoft.com/office/drawing/2014/main" val="3594374671"/>
                    </a:ext>
                  </a:extLst>
                </a:gridCol>
                <a:gridCol w="310315">
                  <a:extLst>
                    <a:ext uri="{9D8B030D-6E8A-4147-A177-3AD203B41FA5}">
                      <a16:colId xmlns:a16="http://schemas.microsoft.com/office/drawing/2014/main" val="3323983483"/>
                    </a:ext>
                  </a:extLst>
                </a:gridCol>
                <a:gridCol w="310315">
                  <a:extLst>
                    <a:ext uri="{9D8B030D-6E8A-4147-A177-3AD203B41FA5}">
                      <a16:colId xmlns:a16="http://schemas.microsoft.com/office/drawing/2014/main" val="2451926601"/>
                    </a:ext>
                  </a:extLst>
                </a:gridCol>
                <a:gridCol w="310315">
                  <a:extLst>
                    <a:ext uri="{9D8B030D-6E8A-4147-A177-3AD203B41FA5}">
                      <a16:colId xmlns:a16="http://schemas.microsoft.com/office/drawing/2014/main" val="3458952246"/>
                    </a:ext>
                  </a:extLst>
                </a:gridCol>
                <a:gridCol w="310315">
                  <a:extLst>
                    <a:ext uri="{9D8B030D-6E8A-4147-A177-3AD203B41FA5}">
                      <a16:colId xmlns:a16="http://schemas.microsoft.com/office/drawing/2014/main" val="581245399"/>
                    </a:ext>
                  </a:extLst>
                </a:gridCol>
                <a:gridCol w="310315">
                  <a:extLst>
                    <a:ext uri="{9D8B030D-6E8A-4147-A177-3AD203B41FA5}">
                      <a16:colId xmlns:a16="http://schemas.microsoft.com/office/drawing/2014/main" val="14805617"/>
                    </a:ext>
                  </a:extLst>
                </a:gridCol>
                <a:gridCol w="310315">
                  <a:extLst>
                    <a:ext uri="{9D8B030D-6E8A-4147-A177-3AD203B41FA5}">
                      <a16:colId xmlns:a16="http://schemas.microsoft.com/office/drawing/2014/main" val="310787637"/>
                    </a:ext>
                  </a:extLst>
                </a:gridCol>
                <a:gridCol w="310315">
                  <a:extLst>
                    <a:ext uri="{9D8B030D-6E8A-4147-A177-3AD203B41FA5}">
                      <a16:colId xmlns:a16="http://schemas.microsoft.com/office/drawing/2014/main" val="2152951754"/>
                    </a:ext>
                  </a:extLst>
                </a:gridCol>
                <a:gridCol w="310315">
                  <a:extLst>
                    <a:ext uri="{9D8B030D-6E8A-4147-A177-3AD203B41FA5}">
                      <a16:colId xmlns:a16="http://schemas.microsoft.com/office/drawing/2014/main" val="776322808"/>
                    </a:ext>
                  </a:extLst>
                </a:gridCol>
                <a:gridCol w="310315">
                  <a:extLst>
                    <a:ext uri="{9D8B030D-6E8A-4147-A177-3AD203B41FA5}">
                      <a16:colId xmlns:a16="http://schemas.microsoft.com/office/drawing/2014/main" val="1484566445"/>
                    </a:ext>
                  </a:extLst>
                </a:gridCol>
                <a:gridCol w="310315">
                  <a:extLst>
                    <a:ext uri="{9D8B030D-6E8A-4147-A177-3AD203B41FA5}">
                      <a16:colId xmlns:a16="http://schemas.microsoft.com/office/drawing/2014/main" val="511557403"/>
                    </a:ext>
                  </a:extLst>
                </a:gridCol>
                <a:gridCol w="310315">
                  <a:extLst>
                    <a:ext uri="{9D8B030D-6E8A-4147-A177-3AD203B41FA5}">
                      <a16:colId xmlns:a16="http://schemas.microsoft.com/office/drawing/2014/main" val="110607013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Blanc De Blanc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Bru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ru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Extra Bru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Millesim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osé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urgogn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Italien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Val De Loir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Alsac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rdelai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8.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8.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3.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6.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45.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8.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7.9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6.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7.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3.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00.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0.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1.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1.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94.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50.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4.0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17.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0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0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75.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9.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4.8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9.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1.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0.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7.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6.9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9.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7.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4.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0.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1.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4.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1.8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79.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3.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65.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9.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934034563"/>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1</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CA D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30"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10315">
                  <a:extLst>
                    <a:ext uri="{9D8B030D-6E8A-4147-A177-3AD203B41FA5}">
                      <a16:colId xmlns:a16="http://schemas.microsoft.com/office/drawing/2014/main" val="2214050810"/>
                    </a:ext>
                  </a:extLst>
                </a:gridCol>
                <a:gridCol w="310315">
                  <a:extLst>
                    <a:ext uri="{9D8B030D-6E8A-4147-A177-3AD203B41FA5}">
                      <a16:colId xmlns:a16="http://schemas.microsoft.com/office/drawing/2014/main" val="704225536"/>
                    </a:ext>
                  </a:extLst>
                </a:gridCol>
                <a:gridCol w="310315">
                  <a:extLst>
                    <a:ext uri="{9D8B030D-6E8A-4147-A177-3AD203B41FA5}">
                      <a16:colId xmlns:a16="http://schemas.microsoft.com/office/drawing/2014/main" val="1285391802"/>
                    </a:ext>
                  </a:extLst>
                </a:gridCol>
                <a:gridCol w="310315">
                  <a:extLst>
                    <a:ext uri="{9D8B030D-6E8A-4147-A177-3AD203B41FA5}">
                      <a16:colId xmlns:a16="http://schemas.microsoft.com/office/drawing/2014/main" val="3180695831"/>
                    </a:ext>
                  </a:extLst>
                </a:gridCol>
                <a:gridCol w="310315">
                  <a:extLst>
                    <a:ext uri="{9D8B030D-6E8A-4147-A177-3AD203B41FA5}">
                      <a16:colId xmlns:a16="http://schemas.microsoft.com/office/drawing/2014/main" val="3841440830"/>
                    </a:ext>
                  </a:extLst>
                </a:gridCol>
                <a:gridCol w="310315">
                  <a:extLst>
                    <a:ext uri="{9D8B030D-6E8A-4147-A177-3AD203B41FA5}">
                      <a16:colId xmlns:a16="http://schemas.microsoft.com/office/drawing/2014/main" val="3330568015"/>
                    </a:ext>
                  </a:extLst>
                </a:gridCol>
                <a:gridCol w="310315">
                  <a:extLst>
                    <a:ext uri="{9D8B030D-6E8A-4147-A177-3AD203B41FA5}">
                      <a16:colId xmlns:a16="http://schemas.microsoft.com/office/drawing/2014/main" val="3707381308"/>
                    </a:ext>
                  </a:extLst>
                </a:gridCol>
                <a:gridCol w="310315">
                  <a:extLst>
                    <a:ext uri="{9D8B030D-6E8A-4147-A177-3AD203B41FA5}">
                      <a16:colId xmlns:a16="http://schemas.microsoft.com/office/drawing/2014/main" val="4072370141"/>
                    </a:ext>
                  </a:extLst>
                </a:gridCol>
                <a:gridCol w="310315">
                  <a:extLst>
                    <a:ext uri="{9D8B030D-6E8A-4147-A177-3AD203B41FA5}">
                      <a16:colId xmlns:a16="http://schemas.microsoft.com/office/drawing/2014/main" val="226346896"/>
                    </a:ext>
                  </a:extLst>
                </a:gridCol>
                <a:gridCol w="310315">
                  <a:extLst>
                    <a:ext uri="{9D8B030D-6E8A-4147-A177-3AD203B41FA5}">
                      <a16:colId xmlns:a16="http://schemas.microsoft.com/office/drawing/2014/main" val="4016487860"/>
                    </a:ext>
                  </a:extLst>
                </a:gridCol>
                <a:gridCol w="310315">
                  <a:extLst>
                    <a:ext uri="{9D8B030D-6E8A-4147-A177-3AD203B41FA5}">
                      <a16:colId xmlns:a16="http://schemas.microsoft.com/office/drawing/2014/main" val="4124924102"/>
                    </a:ext>
                  </a:extLst>
                </a:gridCol>
                <a:gridCol w="310315">
                  <a:extLst>
                    <a:ext uri="{9D8B030D-6E8A-4147-A177-3AD203B41FA5}">
                      <a16:colId xmlns:a16="http://schemas.microsoft.com/office/drawing/2014/main" val="1915546132"/>
                    </a:ext>
                  </a:extLst>
                </a:gridCol>
                <a:gridCol w="310315">
                  <a:extLst>
                    <a:ext uri="{9D8B030D-6E8A-4147-A177-3AD203B41FA5}">
                      <a16:colId xmlns:a16="http://schemas.microsoft.com/office/drawing/2014/main" val="3594374671"/>
                    </a:ext>
                  </a:extLst>
                </a:gridCol>
                <a:gridCol w="310315">
                  <a:extLst>
                    <a:ext uri="{9D8B030D-6E8A-4147-A177-3AD203B41FA5}">
                      <a16:colId xmlns:a16="http://schemas.microsoft.com/office/drawing/2014/main" val="3323983483"/>
                    </a:ext>
                  </a:extLst>
                </a:gridCol>
                <a:gridCol w="310315">
                  <a:extLst>
                    <a:ext uri="{9D8B030D-6E8A-4147-A177-3AD203B41FA5}">
                      <a16:colId xmlns:a16="http://schemas.microsoft.com/office/drawing/2014/main" val="2451926601"/>
                    </a:ext>
                  </a:extLst>
                </a:gridCol>
                <a:gridCol w="310315">
                  <a:extLst>
                    <a:ext uri="{9D8B030D-6E8A-4147-A177-3AD203B41FA5}">
                      <a16:colId xmlns:a16="http://schemas.microsoft.com/office/drawing/2014/main" val="3458952246"/>
                    </a:ext>
                  </a:extLst>
                </a:gridCol>
                <a:gridCol w="310315">
                  <a:extLst>
                    <a:ext uri="{9D8B030D-6E8A-4147-A177-3AD203B41FA5}">
                      <a16:colId xmlns:a16="http://schemas.microsoft.com/office/drawing/2014/main" val="581245399"/>
                    </a:ext>
                  </a:extLst>
                </a:gridCol>
                <a:gridCol w="310315">
                  <a:extLst>
                    <a:ext uri="{9D8B030D-6E8A-4147-A177-3AD203B41FA5}">
                      <a16:colId xmlns:a16="http://schemas.microsoft.com/office/drawing/2014/main" val="14805617"/>
                    </a:ext>
                  </a:extLst>
                </a:gridCol>
                <a:gridCol w="310315">
                  <a:extLst>
                    <a:ext uri="{9D8B030D-6E8A-4147-A177-3AD203B41FA5}">
                      <a16:colId xmlns:a16="http://schemas.microsoft.com/office/drawing/2014/main" val="310787637"/>
                    </a:ext>
                  </a:extLst>
                </a:gridCol>
                <a:gridCol w="310315">
                  <a:extLst>
                    <a:ext uri="{9D8B030D-6E8A-4147-A177-3AD203B41FA5}">
                      <a16:colId xmlns:a16="http://schemas.microsoft.com/office/drawing/2014/main" val="2152951754"/>
                    </a:ext>
                  </a:extLst>
                </a:gridCol>
                <a:gridCol w="310315">
                  <a:extLst>
                    <a:ext uri="{9D8B030D-6E8A-4147-A177-3AD203B41FA5}">
                      <a16:colId xmlns:a16="http://schemas.microsoft.com/office/drawing/2014/main" val="776322808"/>
                    </a:ext>
                  </a:extLst>
                </a:gridCol>
                <a:gridCol w="310315">
                  <a:extLst>
                    <a:ext uri="{9D8B030D-6E8A-4147-A177-3AD203B41FA5}">
                      <a16:colId xmlns:a16="http://schemas.microsoft.com/office/drawing/2014/main" val="1484566445"/>
                    </a:ext>
                  </a:extLst>
                </a:gridCol>
                <a:gridCol w="310315">
                  <a:extLst>
                    <a:ext uri="{9D8B030D-6E8A-4147-A177-3AD203B41FA5}">
                      <a16:colId xmlns:a16="http://schemas.microsoft.com/office/drawing/2014/main" val="511557403"/>
                    </a:ext>
                  </a:extLst>
                </a:gridCol>
                <a:gridCol w="310315">
                  <a:extLst>
                    <a:ext uri="{9D8B030D-6E8A-4147-A177-3AD203B41FA5}">
                      <a16:colId xmlns:a16="http://schemas.microsoft.com/office/drawing/2014/main" val="110607013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Blanc De Blanc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Bru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ru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Extra Bru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Millesim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osé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urgogn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Italien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Val De Loir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Alsac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rdelai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9.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3.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6.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4.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7.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5.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6.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7.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3.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9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9.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1.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1.0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2.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81.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4.0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16.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5.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07.0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24.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5.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0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9.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1.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1.0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5.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7.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4.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9.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7.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4.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0.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0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1.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0.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Besserat De Bellef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4.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7.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52.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5.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0.9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553451431"/>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2</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CA E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30"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10315">
                  <a:extLst>
                    <a:ext uri="{9D8B030D-6E8A-4147-A177-3AD203B41FA5}">
                      <a16:colId xmlns:a16="http://schemas.microsoft.com/office/drawing/2014/main" val="2214050810"/>
                    </a:ext>
                  </a:extLst>
                </a:gridCol>
                <a:gridCol w="310315">
                  <a:extLst>
                    <a:ext uri="{9D8B030D-6E8A-4147-A177-3AD203B41FA5}">
                      <a16:colId xmlns:a16="http://schemas.microsoft.com/office/drawing/2014/main" val="704225536"/>
                    </a:ext>
                  </a:extLst>
                </a:gridCol>
                <a:gridCol w="310315">
                  <a:extLst>
                    <a:ext uri="{9D8B030D-6E8A-4147-A177-3AD203B41FA5}">
                      <a16:colId xmlns:a16="http://schemas.microsoft.com/office/drawing/2014/main" val="1285391802"/>
                    </a:ext>
                  </a:extLst>
                </a:gridCol>
                <a:gridCol w="310315">
                  <a:extLst>
                    <a:ext uri="{9D8B030D-6E8A-4147-A177-3AD203B41FA5}">
                      <a16:colId xmlns:a16="http://schemas.microsoft.com/office/drawing/2014/main" val="3180695831"/>
                    </a:ext>
                  </a:extLst>
                </a:gridCol>
                <a:gridCol w="310315">
                  <a:extLst>
                    <a:ext uri="{9D8B030D-6E8A-4147-A177-3AD203B41FA5}">
                      <a16:colId xmlns:a16="http://schemas.microsoft.com/office/drawing/2014/main" val="3841440830"/>
                    </a:ext>
                  </a:extLst>
                </a:gridCol>
                <a:gridCol w="310315">
                  <a:extLst>
                    <a:ext uri="{9D8B030D-6E8A-4147-A177-3AD203B41FA5}">
                      <a16:colId xmlns:a16="http://schemas.microsoft.com/office/drawing/2014/main" val="3330568015"/>
                    </a:ext>
                  </a:extLst>
                </a:gridCol>
                <a:gridCol w="310315">
                  <a:extLst>
                    <a:ext uri="{9D8B030D-6E8A-4147-A177-3AD203B41FA5}">
                      <a16:colId xmlns:a16="http://schemas.microsoft.com/office/drawing/2014/main" val="3707381308"/>
                    </a:ext>
                  </a:extLst>
                </a:gridCol>
                <a:gridCol w="310315">
                  <a:extLst>
                    <a:ext uri="{9D8B030D-6E8A-4147-A177-3AD203B41FA5}">
                      <a16:colId xmlns:a16="http://schemas.microsoft.com/office/drawing/2014/main" val="4072370141"/>
                    </a:ext>
                  </a:extLst>
                </a:gridCol>
                <a:gridCol w="310315">
                  <a:extLst>
                    <a:ext uri="{9D8B030D-6E8A-4147-A177-3AD203B41FA5}">
                      <a16:colId xmlns:a16="http://schemas.microsoft.com/office/drawing/2014/main" val="226346896"/>
                    </a:ext>
                  </a:extLst>
                </a:gridCol>
                <a:gridCol w="310315">
                  <a:extLst>
                    <a:ext uri="{9D8B030D-6E8A-4147-A177-3AD203B41FA5}">
                      <a16:colId xmlns:a16="http://schemas.microsoft.com/office/drawing/2014/main" val="4016487860"/>
                    </a:ext>
                  </a:extLst>
                </a:gridCol>
                <a:gridCol w="310315">
                  <a:extLst>
                    <a:ext uri="{9D8B030D-6E8A-4147-A177-3AD203B41FA5}">
                      <a16:colId xmlns:a16="http://schemas.microsoft.com/office/drawing/2014/main" val="4124924102"/>
                    </a:ext>
                  </a:extLst>
                </a:gridCol>
                <a:gridCol w="310315">
                  <a:extLst>
                    <a:ext uri="{9D8B030D-6E8A-4147-A177-3AD203B41FA5}">
                      <a16:colId xmlns:a16="http://schemas.microsoft.com/office/drawing/2014/main" val="1915546132"/>
                    </a:ext>
                  </a:extLst>
                </a:gridCol>
                <a:gridCol w="310315">
                  <a:extLst>
                    <a:ext uri="{9D8B030D-6E8A-4147-A177-3AD203B41FA5}">
                      <a16:colId xmlns:a16="http://schemas.microsoft.com/office/drawing/2014/main" val="3594374671"/>
                    </a:ext>
                  </a:extLst>
                </a:gridCol>
                <a:gridCol w="310315">
                  <a:extLst>
                    <a:ext uri="{9D8B030D-6E8A-4147-A177-3AD203B41FA5}">
                      <a16:colId xmlns:a16="http://schemas.microsoft.com/office/drawing/2014/main" val="3323983483"/>
                    </a:ext>
                  </a:extLst>
                </a:gridCol>
                <a:gridCol w="310315">
                  <a:extLst>
                    <a:ext uri="{9D8B030D-6E8A-4147-A177-3AD203B41FA5}">
                      <a16:colId xmlns:a16="http://schemas.microsoft.com/office/drawing/2014/main" val="2451926601"/>
                    </a:ext>
                  </a:extLst>
                </a:gridCol>
                <a:gridCol w="310315">
                  <a:extLst>
                    <a:ext uri="{9D8B030D-6E8A-4147-A177-3AD203B41FA5}">
                      <a16:colId xmlns:a16="http://schemas.microsoft.com/office/drawing/2014/main" val="3458952246"/>
                    </a:ext>
                  </a:extLst>
                </a:gridCol>
                <a:gridCol w="310315">
                  <a:extLst>
                    <a:ext uri="{9D8B030D-6E8A-4147-A177-3AD203B41FA5}">
                      <a16:colId xmlns:a16="http://schemas.microsoft.com/office/drawing/2014/main" val="581245399"/>
                    </a:ext>
                  </a:extLst>
                </a:gridCol>
                <a:gridCol w="310315">
                  <a:extLst>
                    <a:ext uri="{9D8B030D-6E8A-4147-A177-3AD203B41FA5}">
                      <a16:colId xmlns:a16="http://schemas.microsoft.com/office/drawing/2014/main" val="14805617"/>
                    </a:ext>
                  </a:extLst>
                </a:gridCol>
                <a:gridCol w="310315">
                  <a:extLst>
                    <a:ext uri="{9D8B030D-6E8A-4147-A177-3AD203B41FA5}">
                      <a16:colId xmlns:a16="http://schemas.microsoft.com/office/drawing/2014/main" val="310787637"/>
                    </a:ext>
                  </a:extLst>
                </a:gridCol>
                <a:gridCol w="310315">
                  <a:extLst>
                    <a:ext uri="{9D8B030D-6E8A-4147-A177-3AD203B41FA5}">
                      <a16:colId xmlns:a16="http://schemas.microsoft.com/office/drawing/2014/main" val="2152951754"/>
                    </a:ext>
                  </a:extLst>
                </a:gridCol>
                <a:gridCol w="310315">
                  <a:extLst>
                    <a:ext uri="{9D8B030D-6E8A-4147-A177-3AD203B41FA5}">
                      <a16:colId xmlns:a16="http://schemas.microsoft.com/office/drawing/2014/main" val="776322808"/>
                    </a:ext>
                  </a:extLst>
                </a:gridCol>
                <a:gridCol w="310315">
                  <a:extLst>
                    <a:ext uri="{9D8B030D-6E8A-4147-A177-3AD203B41FA5}">
                      <a16:colId xmlns:a16="http://schemas.microsoft.com/office/drawing/2014/main" val="1484566445"/>
                    </a:ext>
                  </a:extLst>
                </a:gridCol>
                <a:gridCol w="310315">
                  <a:extLst>
                    <a:ext uri="{9D8B030D-6E8A-4147-A177-3AD203B41FA5}">
                      <a16:colId xmlns:a16="http://schemas.microsoft.com/office/drawing/2014/main" val="511557403"/>
                    </a:ext>
                  </a:extLst>
                </a:gridCol>
                <a:gridCol w="310315">
                  <a:extLst>
                    <a:ext uri="{9D8B030D-6E8A-4147-A177-3AD203B41FA5}">
                      <a16:colId xmlns:a16="http://schemas.microsoft.com/office/drawing/2014/main" val="110607013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Blanc De Blanc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Bru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ru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Extra Bru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Millesim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osé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urgogn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Italien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Val De Loir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Alsac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rdelai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7.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5.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6.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1.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6.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5.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9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5.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7.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3.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92.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0.0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1.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4.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0.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75.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85.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4.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15.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0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94.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9.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5.0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0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4.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9.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0.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9.0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9.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7.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4.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9.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7.0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4.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0.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9.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5.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0.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Taitt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00.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9.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37269613"/>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00656390"/>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49163395"/>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40146910"/>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31489233"/>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54579985"/>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4721084"/>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5687638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138431" y="1387069"/>
            <a:ext cx="2189208" cy="170210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89177"/>
            <a:ext cx="2561443" cy="127253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138431" y="3089177"/>
            <a:ext cx="2189208" cy="127253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561443" cy="170210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13975148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gion | Malard Nicolas | Effervescent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8917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70008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753778063"/>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01484052"/>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99483792"/>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43668182"/>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20210740"/>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59216275"/>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32220684"/>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95075759"/>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66249950"/>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46429944"/>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Effervescents | Malard Nicola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 Aut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Italien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Val De Loir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rdelai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urgog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Alsac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i-Se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sé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rut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Blan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illesim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Noi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xtra Bru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1026600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545918" y="1387069"/>
            <a:ext cx="2781721" cy="157352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60589"/>
            <a:ext cx="1968930" cy="140112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545918" y="2960589"/>
            <a:ext cx="2781721" cy="140112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968930" cy="157352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58270650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gion | Malard Nicolas | Mousseux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6058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10757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069556726"/>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Effervescents | Malard Nicolas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 Aut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Italien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Val De Loir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rdelai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urgog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Alsac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i-Se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sé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rut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Blan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illesim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Noi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xtra Bru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44960748"/>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Effervescents | Malard Nicolas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 Aut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Italien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Val De Loir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rdelai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urgog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Alsac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i-Se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sé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rut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Blan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illesim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Noi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xtra Bru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65863160"/>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Effervescents | Malard Nicolas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 Aut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Italien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Val De Loir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rdelai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urgog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Alsac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i-Se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sé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rut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Blan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illesim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Noi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xtra Bru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03289189"/>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Effervescents | Malard Nicolas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 Aut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Italien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Val De Loir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rdelai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urgog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Alsac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i-Se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sé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rut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Blan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illesim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Noi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xtra Bru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68012518"/>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Effervescents | Malard Nicolas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 Aut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Italien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Val De Loir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rdelai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urgog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Alsac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i-Se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sé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rut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Blan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illesim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Noi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xtra Bru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12570371"/>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Effervescents | Malard Nicola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 Aut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Italien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Val De Loir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rdelai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urgog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Alsac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i-Se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sé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rut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Blan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illesim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Noi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xtra Bru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36460951"/>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Effervescents | Malard Nicola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 Aut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Italien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Val De Loir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rdelai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urgog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Alsac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i-Se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sé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rut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Blan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illesim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Noi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xtra Bru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21709033"/>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Effervescents | Malard Nicola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 Aut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Italien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Val De Loir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rdelai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urgog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Alsac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i-Se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sé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rut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Blan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illesim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Noi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xtra Bru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6307251"/>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Effervescents | Malard Nicolas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 Aut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Italien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Val De Loir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rdelai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urgog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Alsac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i-Se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sé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rut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Blan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illesim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Noi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xtra Bru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50957813"/>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Effervescents | Malard Nicolas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 Aut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Italien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Val De Loir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rdelai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urgog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Alsac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i-Se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sé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rut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Blan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illesim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Noi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xtra Bru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024126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85045" y="1387069"/>
            <a:ext cx="2342594" cy="171000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97069"/>
            <a:ext cx="2408057" cy="126464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85045" y="3097069"/>
            <a:ext cx="2342594" cy="126464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408057" cy="171000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2762685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gion | Malard Nicolas | Champagn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9706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4670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886797085"/>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Effervescents | Malard Nicolas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 Aut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Italien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Val De Loir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rdelai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urgog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Alsac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i-Se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sé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rut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Blan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illesim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Noi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xtra Bru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69961416"/>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Effervescents | Malard Nicola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 Aut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Italien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Val De Loir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rdelai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urgog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Alsac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i-Se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sé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rut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Blan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illesim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Noi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xtra Bru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24829799"/>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Effervescents | Malard Nicolas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 Aut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Italien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Val De Loir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rdelai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urgog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Alsac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i-Se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sé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rut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Blan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illesim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Noi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xtra Bru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20272871"/>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Effervescents | Malard Nicolas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 Aut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Italien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Val De Loir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rdelai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urgog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Alsac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i-Se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sé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rut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Blan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illesim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Noi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xtra Bru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74730106"/>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Effervescents | Malard Nicola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 Aut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Italien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Val De Loir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rdelai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urgog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Alsac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i-Se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sé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rut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Blan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illesim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Noi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xtra Bru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97640118"/>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34214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09612130"/>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758750"/>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26456914"/>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40020488"/>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6661411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25109" y="1387069"/>
            <a:ext cx="2402530" cy="173209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19168"/>
            <a:ext cx="2348121" cy="124254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25109" y="3119168"/>
            <a:ext cx="2402530" cy="124254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48121" cy="173209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91056033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gion | Malard Nicolas | Millesim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1916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8676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231956433"/>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41624180"/>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68502121"/>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73230568"/>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78627375"/>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 MESNIL BLANC DE BLANC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4841529"/>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LALLIER SERIE R.021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22717883"/>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01097147"/>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63722320"/>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00010645"/>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371537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718533"/>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5602"/>
            <a:ext cx="2375325" cy="1256107"/>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105602"/>
            <a:ext cx="2375326" cy="125610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71853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5743794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Extra Bru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560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34646388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041246" y="1387069"/>
            <a:ext cx="2286393" cy="171309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0163"/>
            <a:ext cx="2464258" cy="126154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041246" y="3100163"/>
            <a:ext cx="2286393" cy="126154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464258" cy="171309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80734375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gion | Malard Nicolas | Mousseux Bourgogn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016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602903"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738870741"/>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13470431"/>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95060564"/>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14974947"/>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19023897"/>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41962667"/>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97851245"/>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1319454"/>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85631495"/>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46935496"/>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9559983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487341" y="1387069"/>
            <a:ext cx="1840298" cy="171446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1536"/>
            <a:ext cx="2910353" cy="126017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487341" y="3101536"/>
            <a:ext cx="1840298" cy="126017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910353" cy="171446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81222793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gion | Malard Nicolas | Rosé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153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04899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374670136"/>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LALLIER SERIE R.021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55398305"/>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 MESNIL BLANC DE BLANC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60134751"/>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32070220"/>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48425990"/>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47573991"/>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51392247"/>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10148979"/>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S GRUMES BULLES VIN MOUSSEUX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26813915"/>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S GRUMES BULLES VIN MOUSSEUX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4871721"/>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S GRUMES BULLES VIN MOUSSEUX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6112355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179722" y="1387069"/>
            <a:ext cx="2147917" cy="170095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88021"/>
            <a:ext cx="2602734" cy="127368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179722" y="3088021"/>
            <a:ext cx="2147917" cy="127368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602734" cy="170095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04773349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gion | Malard Nicolas | Mousseux Italien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8802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74137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192222029"/>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ERDON BUGEY ROS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LAIRETTE DIE DEA AUGUSTA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32130348"/>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9716805"/>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S GRUMES BULLES VIN MOUSSEUX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36950335"/>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AU FRIZZANT DE MUSCAT 9%VOL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S GRUMES BULLES VIN MOUSSEUX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71367178"/>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97609275"/>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ERDON BUGEY ROS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LAIRETTE DIE DEA AUGUSTA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E SAVOIE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JURA TISSO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17863745"/>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GISS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MUR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DOSAGE ZER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BULLES NOEM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SPARR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REMANT D'ALSACE PREST AC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REMANT D'ALSACE GISSELB 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41428796"/>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S GRUMES BULLES VIN MOUSSEUX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ULLE NATURE EXTRA BRUT 2020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66997203"/>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S GRUMES BULLES VIN MOUSSEUX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00150580"/>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S GRUMES BULLES VIN MOUSSEUX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7926566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019451" y="1387069"/>
            <a:ext cx="2308188" cy="169361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80681"/>
            <a:ext cx="2442463" cy="128102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019451" y="3080681"/>
            <a:ext cx="2308188" cy="128102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442463" cy="169361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4255172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gion | Malard Nicolas | Mousseux Alsac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8068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8110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407793991"/>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S GRUMES BULLES VIN MOUSSEUX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17248522"/>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S GRUMES BULLES VIN MOUSSEUX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62254051"/>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S GRUMES BULLES VIN MOUSSEUX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41803117"/>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FRENCH BLOOM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 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CTAROSE SPARKLING 0% AL 73CL 1CT X 73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96876740"/>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FRENCH BLOOM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 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CTAROSE SPARKLING 0% AL 73CL 1CT X 73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8002438"/>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 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FRENCH BLOOM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CTAROSE SPARKLING 0% AL 73CL 1CT X 73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62374594"/>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FRENCH BLOOM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 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CTAROSE SPARKLING 0% AL 73CL 1CT X 73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50135851"/>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FRENCH BLOOM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 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CTAROSE SPARKLING 0% AL 73CL 1CT X 73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26341181"/>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 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FRENCH BLOOM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CTAROSE SPARKLING 0% AL 73CL 1CT X 73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07988153"/>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FRENCH BLOOM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 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CTAROSE SPARKLING 0% AL 73CL 1CT X 73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2362893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649684" y="1387069"/>
            <a:ext cx="2677955" cy="172077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7844"/>
            <a:ext cx="2072696" cy="125386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649684" y="3107844"/>
            <a:ext cx="2677955" cy="125386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072696" cy="172077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57313130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gion | Malard Nicolas | Mousseux Bordelai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784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211341"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521600329"/>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FRENCH BLOOM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 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CTAROSE SPARKLING 0% AL 73CL 1CT X 73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31907089"/>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 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18309436"/>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 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FRENCH BLOOM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CTAROSE SPARKLING 0% AL 73CL 1CT X 73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24736101"/>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FRENCH BLOOM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CTAROSE SPARKLING 0% AL 73CL 1CT X 73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68980836"/>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FRENCH BLOOM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 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CTAROSE SPARKLING 0% AL 73CL 1CT X 73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9444318"/>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FRENCH BLOOM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 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CTAROSE SPARKLING 0% AL 73CL 1CT X 73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16281018"/>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 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FRENCH BLOOM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CTAROSE SPARKLING 0% AL 73CL 1CT X 73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0838014"/>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FRENCH BLOOM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 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CTAROSE SPARKLING 0% AL 73CL 1CT X 73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69176729"/>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 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FRENCH BLOOM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CTAROSE SPARKLING 0% AL 73CL 1CT X 73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22911654"/>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 VENOGE PRINCES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1145251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252236" y="1387069"/>
            <a:ext cx="2075403" cy="163563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22700"/>
            <a:ext cx="2675248" cy="133900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252236" y="3022700"/>
            <a:ext cx="2075403" cy="133900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675248" cy="163563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87747557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gion | Malard Nicolas | Mousseux Val De Loir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2270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813893"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096386761"/>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 VENOGE PRINCES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ERRIER JOUET SHAPE BLC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72571713"/>
      </p:ext>
    </p:extLst>
  </p:cSld>
  <p:clrMapOvr>
    <a:masterClrMapping/>
  </p:clrMapOvr>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 MESNIL BLANC DE BLANC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 VENOGE PRINCES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30997755"/>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ERRIER JOUET SHAPE BLC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68704636"/>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ERRIER JOUET SHAPE BLC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AMOUR DE DEUTZ"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53654807"/>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 VENOGE PRINCES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AMOUR DE DEUTZ"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ERRIER JOUET SHAPE BLC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A/18 BLC BLCS EXTRA 2018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05149188"/>
      </p:ext>
    </p:extLst>
  </p:cSld>
  <p:clrMapOvr>
    <a:masterClrMapping/>
  </p:clrMapOvr>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ERRIER JOUET SHAPE BLC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 VENOGE PRINCES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98375147"/>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AMOUR DE DEUTZ"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COMTES CHAMPAG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89947727"/>
      </p:ext>
    </p:extLst>
  </p:cSld>
  <p:clrMapOvr>
    <a:masterClrMapping/>
  </p:clrMapOvr>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LE MESNIL BLANC DE BLANC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LE MESNIL BLC DE BLC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UBLIME BLC DE BLANC BRU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LE MESNIL BLC DE BLCS BRUT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 VENOGE PRINCES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03136133"/>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 VENOGE PRINCES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ERRIER JOUET SHAPE BLC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56131880"/>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A/18 BLC BLCS EXTRA 2018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3875978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34422" y="1387069"/>
            <a:ext cx="2393217" cy="170400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91074"/>
            <a:ext cx="2357434" cy="127063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34422" y="3091074"/>
            <a:ext cx="2393217" cy="127063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57434" cy="170400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76824556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VENUE | Malard Nicolas | Effervescents Sans Alcool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910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9607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958168325"/>
      </p:ext>
    </p:extLst>
  </p:cSld>
  <p:clrMapOvr>
    <a:masterClrMapping/>
  </p:clrMapOvr>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ERRIER JOUET SHAPE BLC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RUINART EXT BRUT SECO 2010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 MESNIL BLANC DE BLANC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88197922"/>
      </p:ext>
    </p:extLst>
  </p:cSld>
  <p:clrMapOvr>
    <a:masterClrMapping/>
  </p:clrMapOvr>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 VENOGE PRINCES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06773171"/>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 VENOGE PRINCES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11373768"/>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 VENOGE PRINCES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72941209"/>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 VENOGE PRINCES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60630727"/>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TETE CUVEE BRUT P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75502548"/>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03680900"/>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ERRIER JOUET GRAND BRUT SHAP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92511831"/>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58928035"/>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RUT SECOND SKIN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CLICQUOT RESERV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5512338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11660" y="1387069"/>
            <a:ext cx="2415979" cy="171863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5706"/>
            <a:ext cx="2334672" cy="125600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11660" y="3105706"/>
            <a:ext cx="2415979" cy="125600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34672" cy="171863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4114708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VENUE | Malard Nicolas | Extra Bru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570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7331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716816699"/>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RUT SECOND SKIN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48692949"/>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89846571"/>
      </p:ext>
    </p:extLst>
  </p:cSld>
  <p:clrMapOvr>
    <a:masterClrMapping/>
  </p:clrMapOvr>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RUT SECOND SKIN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95993842"/>
      </p:ext>
    </p:extLst>
  </p:cSld>
  <p:clrMapOvr>
    <a:masterClrMapping/>
  </p:clrMapOvr>
</p:sld>
</file>

<file path=ppt/slides/slide4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DEUTZ CLASSI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45673609"/>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TARDIER CARTE D'OR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97913662"/>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LALLIER SERIE R.021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DEUTZ CLASSI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99256141"/>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ERRIER JOUET GRAND BRUT SHAP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63309516"/>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27234194"/>
      </p:ext>
    </p:extLst>
  </p:cSld>
  <p:clrMapOvr>
    <a:masterClrMapping/>
  </p:clrMapOvr>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42537906"/>
      </p:ext>
    </p:extLst>
  </p:cSld>
  <p:clrMapOvr>
    <a:masterClrMapping/>
  </p:clrMapOvr>
</p:sld>
</file>

<file path=ppt/slides/slide4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TETE CUVEE BRUT P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3310638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862610" y="1387069"/>
            <a:ext cx="2465029" cy="172403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11099"/>
            <a:ext cx="2285622" cy="125061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862610" y="3111099"/>
            <a:ext cx="2465029" cy="125061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285622" cy="172403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85936260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VENUE | Malard Nicolas | Blanc De Blanc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1109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2426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114143027"/>
      </p:ext>
    </p:extLst>
  </p:cSld>
  <p:clrMapOvr>
    <a:masterClrMapping/>
  </p:clrMapOvr>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1806887"/>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GRAND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 CRU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29069364"/>
      </p:ext>
    </p:extLst>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GRAND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 CRU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81898118"/>
      </p:ext>
    </p:extLst>
  </p:cSld>
  <p:clrMapOvr>
    <a:masterClrMapping/>
  </p:clrMapOvr>
</p:sld>
</file>

<file path=ppt/slides/slide4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GRAND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 CRU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28181169"/>
      </p:ext>
    </p:extLst>
  </p:cSld>
  <p:clrMapOvr>
    <a:masterClrMapping/>
  </p:clrMapOvr>
</p:sld>
</file>

<file path=ppt/slides/slide4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GRAND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40481462"/>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GRAND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3269571"/>
      </p:ext>
    </p:extLst>
  </p:cSld>
  <p:clrMapOvr>
    <a:masterClrMapping/>
  </p:clrMapOvr>
</p:sld>
</file>

<file path=ppt/slides/slide4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69479580"/>
      </p:ext>
    </p:extLst>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09640877"/>
      </p:ext>
    </p:extLst>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GRAND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 CRU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48807373"/>
      </p:ext>
    </p:extLst>
  </p:cSld>
  <p:clrMapOvr>
    <a:masterClrMapping/>
  </p:clrMapOvr>
</p:sld>
</file>

<file path=ppt/slides/slide4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4809033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1936" y="1387069"/>
            <a:ext cx="2375703" cy="171725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4326"/>
            <a:ext cx="2374948" cy="125738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1936" y="3104326"/>
            <a:ext cx="2375703" cy="125738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4948" cy="171725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34998565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VENUE | Malard Nicolas | Cru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432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593"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015421710"/>
      </p:ext>
    </p:extLst>
  </p:cSld>
  <p:clrMapOvr>
    <a:masterClrMapping/>
  </p:clrMapOvr>
</p:sld>
</file>

<file path=ppt/slides/slide4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50460297"/>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GRAND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95926451"/>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GRAND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06159990"/>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GRAND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90573471"/>
      </p:ext>
    </p:extLst>
  </p:cSld>
  <p:clrMapOvr>
    <a:masterClrMapping/>
  </p:clrMapOvr>
</p:sld>
</file>

<file path=ppt/slides/slide4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GRAND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46260032"/>
      </p:ext>
    </p:extLst>
  </p:cSld>
  <p:clrMapOvr>
    <a:masterClrMapping/>
  </p:clrMapOvr>
</p:sld>
</file>

<file path=ppt/slides/slide4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GRAND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 CRU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15188501"/>
      </p:ext>
    </p:extLst>
  </p:cSld>
  <p:clrMapOvr>
    <a:masterClrMapping/>
  </p:clrMapOvr>
</p:sld>
</file>

<file path=ppt/slides/slide4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GRAND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 CRU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18066509"/>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ZE181 EXTR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IPER HEIDSIECK ESSENTIEL EXB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50448606"/>
      </p:ext>
    </p:extLst>
  </p:cSld>
  <p:clrMapOvr>
    <a:masterClrMapping/>
  </p:clrMapOvr>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ZE181 EXTR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IPER HEIDSIECK ESSENTIEL EXB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94728741"/>
      </p:ext>
    </p:extLst>
  </p:cSld>
  <p:clrMapOvr>
    <a:masterClrMapping/>
  </p:clrMapOvr>
</p:sld>
</file>

<file path=ppt/slides/slide4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ZE181 EXTR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IPER HEIDSIECK ESSENTIEL EXB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977816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70960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96675"/>
            <a:ext cx="2375325" cy="126503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096675"/>
            <a:ext cx="2375326" cy="126503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70960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28823796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Mousseux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9667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3351878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864007" y="1387069"/>
            <a:ext cx="2463632" cy="172202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9091"/>
            <a:ext cx="2287019" cy="125261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864007" y="3109091"/>
            <a:ext cx="2463632" cy="125261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287019" cy="172202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40016368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VENUE | Malard Nicolas | Brut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909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25664"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102227291"/>
      </p:ext>
    </p:extLst>
  </p:cSld>
  <p:clrMapOvr>
    <a:masterClrMapping/>
  </p:clrMapOvr>
</p:sld>
</file>

<file path=ppt/slides/slide5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ZE181 EXTR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IPER HEIDSIECK ESSENTIEL EXB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46605215"/>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47006482"/>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8761948"/>
      </p:ext>
    </p:extLst>
  </p:cSld>
  <p:clrMapOvr>
    <a:masterClrMapping/>
  </p:clrMapOvr>
</p:sld>
</file>

<file path=ppt/slides/slide5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ZE181 EXTR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IPER HEIDSIECK ESSENTIEL EXB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50290717"/>
      </p:ext>
    </p:extLst>
  </p:cSld>
  <p:clrMapOvr>
    <a:masterClrMapping/>
  </p:clrMapOvr>
</p:sld>
</file>

<file path=ppt/slides/slide5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70762514"/>
      </p:ext>
    </p:extLst>
  </p:cSld>
  <p:clrMapOvr>
    <a:masterClrMapping/>
  </p:clrMapOvr>
</p:sld>
</file>

<file path=ppt/slides/slide5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27566224"/>
      </p:ext>
    </p:extLst>
  </p:cSld>
  <p:clrMapOvr>
    <a:masterClrMapping/>
  </p:clrMapOvr>
</p:sld>
</file>

<file path=ppt/slides/slide5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94850356"/>
      </p:ext>
    </p:extLst>
  </p:cSld>
  <p:clrMapOvr>
    <a:masterClrMapping/>
  </p:clrMapOvr>
</p:sld>
</file>

<file path=ppt/slides/slide5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85667833"/>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ZE181 EXTR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IPER HEIDSIECK ESSENTIEL EXB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43091528"/>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9725498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03462" y="1387069"/>
            <a:ext cx="2424177" cy="170857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95641"/>
            <a:ext cx="2326474" cy="126606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03462" y="3095641"/>
            <a:ext cx="2424177" cy="126606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26474" cy="170857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72133220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VENUE | Malard Nicolas | Mousseux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9564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6511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500909372"/>
      </p:ext>
    </p:extLst>
  </p:cSld>
  <p:clrMapOvr>
    <a:masterClrMapping/>
  </p:clrMapOvr>
</p:sld>
</file>

<file path=ppt/slides/slide5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ZE181 EXTR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IPER HEIDSIECK ESSENTIEL EXB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95455672"/>
      </p:ext>
    </p:extLst>
  </p:cSld>
  <p:clrMapOvr>
    <a:masterClrMapping/>
  </p:clrMapOvr>
</p:sld>
</file>

<file path=ppt/slides/slide5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ZE181 EXTR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IPER HEIDSIECK ESSENTIEL EXB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73347971"/>
      </p:ext>
    </p:extLst>
  </p:cSld>
  <p:clrMapOvr>
    <a:masterClrMapping/>
  </p:clrMapOvr>
</p:sld>
</file>

<file path=ppt/slides/slide5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ZE181 EXTR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IPER HEIDSIECK ESSENTIEL EXB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84276240"/>
      </p:ext>
    </p:extLst>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GRANDE ANNEE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201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25099508"/>
      </p:ext>
    </p:extLst>
  </p:cSld>
  <p:clrMapOvr>
    <a:masterClrMapping/>
  </p:clrMapOvr>
</p:sld>
</file>

<file path=ppt/slides/slide5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201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GRANDE ANNEE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62611559"/>
      </p:ext>
    </p:extLst>
  </p:cSld>
  <p:clrMapOvr>
    <a:masterClrMapping/>
  </p:clrMapOvr>
</p:sld>
</file>

<file path=ppt/slides/slide5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201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GRANDE ANNEE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97067184"/>
      </p:ext>
    </p:extLst>
  </p:cSld>
  <p:clrMapOvr>
    <a:masterClrMapping/>
  </p:clrMapOvr>
</p:sld>
</file>

<file path=ppt/slides/slide5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GRANDE ANNEE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DOM PERIGNON 2012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53285272"/>
      </p:ext>
    </p:extLst>
  </p:cSld>
  <p:clrMapOvr>
    <a:masterClrMapping/>
  </p:clrMapOvr>
</p:sld>
</file>

<file path=ppt/slides/slide5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CLICQUOT GDE DAME 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201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06385392"/>
      </p:ext>
    </p:extLst>
  </p:cSld>
  <p:clrMapOvr>
    <a:masterClrMapping/>
  </p:clrMapOvr>
</p:sld>
</file>

<file path=ppt/slides/slide5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GRANDE ANNEE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201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43695546"/>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201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GRANDE ANNEE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4229956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730361" y="1387069"/>
            <a:ext cx="2597278" cy="172193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9006"/>
            <a:ext cx="2153373" cy="125270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730361" y="3109006"/>
            <a:ext cx="2597278" cy="125270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153373" cy="172193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67846359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VENUE | Malard Nicolas | Effervescent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900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29201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069544935"/>
      </p:ext>
    </p:extLst>
  </p:cSld>
  <p:clrMapOvr>
    <a:masterClrMapping/>
  </p:clrMapOvr>
</p:sld>
</file>

<file path=ppt/slides/slide5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ERRIER JOUET BELLE EPOQU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47094441"/>
      </p:ext>
    </p:extLst>
  </p:cSld>
  <p:clrMapOvr>
    <a:masterClrMapping/>
  </p:clrMapOvr>
</p:sld>
</file>

<file path=ppt/slides/slide5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9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68014">
                  <a:extLst>
                    <a:ext uri="{9D8B030D-6E8A-4147-A177-3AD203B41FA5}">
                      <a16:colId xmlns:a16="http://schemas.microsoft.com/office/drawing/2014/main" val="2678984805"/>
                    </a:ext>
                  </a:extLst>
                </a:gridCol>
                <a:gridCol w="668014">
                  <a:extLst>
                    <a:ext uri="{9D8B030D-6E8A-4147-A177-3AD203B41FA5}">
                      <a16:colId xmlns:a16="http://schemas.microsoft.com/office/drawing/2014/main" val="4077376227"/>
                    </a:ext>
                  </a:extLst>
                </a:gridCol>
                <a:gridCol w="668014">
                  <a:extLst>
                    <a:ext uri="{9D8B030D-6E8A-4147-A177-3AD203B41FA5}">
                      <a16:colId xmlns:a16="http://schemas.microsoft.com/office/drawing/2014/main" val="3143555463"/>
                    </a:ext>
                  </a:extLst>
                </a:gridCol>
                <a:gridCol w="668014">
                  <a:extLst>
                    <a:ext uri="{9D8B030D-6E8A-4147-A177-3AD203B41FA5}">
                      <a16:colId xmlns:a16="http://schemas.microsoft.com/office/drawing/2014/main" val="2159604574"/>
                    </a:ext>
                  </a:extLst>
                </a:gridCol>
                <a:gridCol w="668014">
                  <a:extLst>
                    <a:ext uri="{9D8B030D-6E8A-4147-A177-3AD203B41FA5}">
                      <a16:colId xmlns:a16="http://schemas.microsoft.com/office/drawing/2014/main" val="3312290703"/>
                    </a:ext>
                  </a:extLst>
                </a:gridCol>
                <a:gridCol w="668014">
                  <a:extLst>
                    <a:ext uri="{9D8B030D-6E8A-4147-A177-3AD203B41FA5}">
                      <a16:colId xmlns:a16="http://schemas.microsoft.com/office/drawing/2014/main" val="2664114771"/>
                    </a:ext>
                  </a:extLst>
                </a:gridCol>
                <a:gridCol w="668014">
                  <a:extLst>
                    <a:ext uri="{9D8B030D-6E8A-4147-A177-3AD203B41FA5}">
                      <a16:colId xmlns:a16="http://schemas.microsoft.com/office/drawing/2014/main" val="1768673043"/>
                    </a:ext>
                  </a:extLst>
                </a:gridCol>
                <a:gridCol w="668014">
                  <a:extLst>
                    <a:ext uri="{9D8B030D-6E8A-4147-A177-3AD203B41FA5}">
                      <a16:colId xmlns:a16="http://schemas.microsoft.com/office/drawing/2014/main" val="3541755291"/>
                    </a:ext>
                  </a:extLst>
                </a:gridCol>
                <a:gridCol w="668014">
                  <a:extLst>
                    <a:ext uri="{9D8B030D-6E8A-4147-A177-3AD203B41FA5}">
                      <a16:colId xmlns:a16="http://schemas.microsoft.com/office/drawing/2014/main" val="288087056"/>
                    </a:ext>
                  </a:extLst>
                </a:gridCol>
                <a:gridCol w="668014">
                  <a:extLst>
                    <a:ext uri="{9D8B030D-6E8A-4147-A177-3AD203B41FA5}">
                      <a16:colId xmlns:a16="http://schemas.microsoft.com/office/drawing/2014/main" val="1379681557"/>
                    </a:ext>
                  </a:extLst>
                </a:gridCol>
                <a:gridCol w="668014">
                  <a:extLst>
                    <a:ext uri="{9D8B030D-6E8A-4147-A177-3AD203B41FA5}">
                      <a16:colId xmlns:a16="http://schemas.microsoft.com/office/drawing/2014/main" val="144658668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201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UVEE LOUISE POMMERY 20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9554321"/>
      </p:ext>
    </p:extLst>
  </p:cSld>
  <p:clrMapOvr>
    <a:masterClrMapping/>
  </p:clrMapOvr>
</p:sld>
</file>

<file path=ppt/slides/slide5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201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53556223"/>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GRANDE ANNEE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201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IPER HEIDSIECK CUVE RARE 2008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64975603"/>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201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GRANDE ANNEE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0579847"/>
      </p:ext>
    </p:extLst>
  </p:cSld>
  <p:clrMapOvr>
    <a:masterClrMapping/>
  </p:clrMapOvr>
</p:sld>
</file>

<file path=ppt/slides/slide5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201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GRANDE ANNEE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83489335"/>
      </p:ext>
    </p:extLst>
  </p:cSld>
  <p:clrMapOvr>
    <a:masterClrMapping/>
  </p:clrMapOvr>
</p:sld>
</file>

<file path=ppt/slides/slide5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GRANDE ANNEE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8222885"/>
      </p:ext>
    </p:extLst>
  </p:cSld>
  <p:clrMapOvr>
    <a:masterClrMapping/>
  </p:clrMapOvr>
</p:sld>
</file>

<file path=ppt/slides/slide5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GRANDE ANNEE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GRANDE ANNE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67723785"/>
      </p:ext>
    </p:extLst>
  </p:cSld>
  <p:clrMapOvr>
    <a:masterClrMapping/>
  </p:clrMapOvr>
</p:sld>
</file>

<file path=ppt/slides/slide5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201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97652237"/>
      </p:ext>
    </p:extLst>
  </p:cSld>
  <p:clrMapOvr>
    <a:masterClrMapping/>
  </p:clrMapOvr>
</p:sld>
</file>

<file path=ppt/slides/slide5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ROSE 2009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ROSE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2817722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748501" y="1387069"/>
            <a:ext cx="2579138" cy="172403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11107"/>
            <a:ext cx="2171513" cy="125060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748501" y="3111107"/>
            <a:ext cx="2579138" cy="125060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171513" cy="172403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023257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VENUE | Malard Nicolas | Champagn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1110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31015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161179983"/>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ROSE SECOND SKIN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ROSE 2009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19073788"/>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ROSE SECOND SKIN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DEUTZ ROSE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84639184"/>
      </p:ext>
    </p:extLst>
  </p:cSld>
  <p:clrMapOvr>
    <a:masterClrMapping/>
  </p:clrMapOvr>
</p:sld>
</file>

<file path=ppt/slides/slide5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ROSE SECOND SKIN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18897791"/>
      </p:ext>
    </p:extLst>
  </p:cSld>
  <p:clrMapOvr>
    <a:masterClrMapping/>
  </p:clrMapOvr>
</p:sld>
</file>

<file path=ppt/slides/slide5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ROSE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ROSE 2009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ROSE (NUE)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8654590"/>
      </p:ext>
    </p:extLst>
  </p:cSld>
  <p:clrMapOvr>
    <a:masterClrMapping/>
  </p:clrMapOvr>
</p:sld>
</file>

<file path=ppt/slides/slide5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ROSE SECOND SKIN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ROSE (NUE)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50122547"/>
      </p:ext>
    </p:extLst>
  </p:cSld>
  <p:clrMapOvr>
    <a:masterClrMapping/>
  </p:clrMapOvr>
</p:sld>
</file>

<file path=ppt/slides/slide5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ROSE 2009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ROSE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72550620"/>
      </p:ext>
    </p:extLst>
  </p:cSld>
  <p:clrMapOvr>
    <a:masterClrMapping/>
  </p:clrMapOvr>
</p:sld>
</file>

<file path=ppt/slides/slide5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ROSE SECOND SKIN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53805447"/>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ROSE SECOND SKIN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ROSE (NUE)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3441387"/>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ROSE (NUE)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DEUTZ ROSE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61639662"/>
      </p:ext>
    </p:extLst>
  </p:cSld>
  <p:clrMapOvr>
    <a:masterClrMapping/>
  </p:clrMapOvr>
</p:sld>
</file>

<file path=ppt/slides/slide5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ROSE (NUE)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6944798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056568" y="1387069"/>
            <a:ext cx="2271071" cy="172895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16019"/>
            <a:ext cx="2479580" cy="124569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056568" y="3116019"/>
            <a:ext cx="2271071" cy="124569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479580" cy="172895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82017181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VENUE | Malard Nicolas | Millesim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1601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61822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014230871"/>
      </p:ext>
    </p:extLst>
  </p:cSld>
  <p:clrMapOvr>
    <a:masterClrMapping/>
  </p:clrMapOvr>
</p:sld>
</file>

<file path=ppt/slides/slide5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ROSE 2009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ROSE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6261057"/>
      </p:ext>
    </p:extLst>
  </p:cSld>
  <p:clrMapOvr>
    <a:masterClrMapping/>
  </p:clrMapOvr>
</p:sld>
</file>

<file path=ppt/slides/slide5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ROSE SECOND SKIN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DEUTZ ROSE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07628828"/>
      </p:ext>
    </p:extLst>
  </p:cSld>
  <p:clrMapOvr>
    <a:masterClrMapping/>
  </p:clrMapOvr>
</p:sld>
</file>

<file path=ppt/slides/slide5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ROSE SECOND SKIN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ROSE (NUE)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98489849"/>
      </p:ext>
    </p:extLst>
  </p:cSld>
  <p:clrMapOvr>
    <a:masterClrMapping/>
  </p:clrMapOvr>
</p:sld>
</file>

<file path=ppt/slides/slide5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ROSE SECOND SKIN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ROSE (NUE)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36984218"/>
      </p:ext>
    </p:extLst>
  </p:cSld>
  <p:clrMapOvr>
    <a:masterClrMapping/>
  </p:clrMapOvr>
</p:sld>
</file>

<file path=ppt/slides/slide5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ROSE (NUE)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ROSE SECOND SKIN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01758138"/>
      </p:ext>
    </p:extLst>
  </p:cSld>
  <p:clrMapOvr>
    <a:masterClrMapping/>
  </p:clrMapOvr>
</p:sld>
</file>

<file path=ppt/slides/slide5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71222366"/>
      </p:ext>
    </p:extLst>
  </p:cSld>
  <p:clrMapOvr>
    <a:masterClrMapping/>
  </p:clrMapOvr>
</p:sld>
</file>

<file path=ppt/slides/slide5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OGNE BISSEY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EN CHAZOT 2019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OG PICAMELOT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OGNE J THOMA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OGNE BAILLY LA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76655616"/>
      </p:ext>
    </p:extLst>
  </p:cSld>
  <p:clrMapOvr>
    <a:masterClrMapping/>
  </p:clrMapOvr>
</p:sld>
</file>

<file path=ppt/slides/slide5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OGNE BISSEY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OGNE BAILLY LA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OGNE J THOMA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89027532"/>
      </p:ext>
    </p:extLst>
  </p:cSld>
  <p:clrMapOvr>
    <a:masterClrMapping/>
  </p:clrMapOvr>
</p:sld>
</file>

<file path=ppt/slides/slide5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32928996"/>
      </p:ext>
    </p:extLst>
  </p:cSld>
  <p:clrMapOvr>
    <a:masterClrMapping/>
  </p:clrMapOvr>
</p:sld>
</file>

<file path=ppt/slides/slide5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1280230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603591" y="1387069"/>
            <a:ext cx="2724048" cy="172197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9041"/>
            <a:ext cx="2026603" cy="125266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603591" y="3109041"/>
            <a:ext cx="2724048" cy="125266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026603" cy="172197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70504383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VENUE | Malard Nicolas | Rosé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904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16524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613322980"/>
      </p:ext>
    </p:extLst>
  </p:cSld>
  <p:clrMapOvr>
    <a:masterClrMapping/>
  </p:clrMapOvr>
</p:sld>
</file>

<file path=ppt/slides/slide5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69568057"/>
      </p:ext>
    </p:extLst>
  </p:cSld>
  <p:clrMapOvr>
    <a:masterClrMapping/>
  </p:clrMapOvr>
</p:sld>
</file>

<file path=ppt/slides/slide5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07199427"/>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31586250"/>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83826772"/>
      </p:ext>
    </p:extLst>
  </p:cSld>
  <p:clrMapOvr>
    <a:masterClrMapping/>
  </p:clrMapOvr>
</p:sld>
</file>

<file path=ppt/slides/slide5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47777979"/>
      </p:ext>
    </p:extLst>
  </p:cSld>
  <p:clrMapOvr>
    <a:masterClrMapping/>
  </p:clrMapOvr>
</p:sld>
</file>

<file path=ppt/slides/slide5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14286704"/>
      </p:ext>
    </p:extLst>
  </p:cSld>
  <p:clrMapOvr>
    <a:masterClrMapping/>
  </p:clrMapOvr>
</p:sld>
</file>

<file path=ppt/slides/slide5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61482313"/>
      </p:ext>
    </p:extLst>
  </p:cSld>
  <p:clrMapOvr>
    <a:masterClrMapping/>
  </p:clrMapOvr>
</p:sld>
</file>

<file path=ppt/slides/slide5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11886203"/>
      </p:ext>
    </p:extLst>
  </p:cSld>
  <p:clrMapOvr>
    <a:masterClrMapping/>
  </p:clrMapOvr>
</p:sld>
</file>

<file path=ppt/slides/slide5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00340719"/>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OGNE BISSEY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EN CHAZOT 2019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OG PICAMELOT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OGNE BAILLY LA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OGNE J THOMA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8492687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850915" y="1387069"/>
            <a:ext cx="2476724" cy="171606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3133"/>
            <a:ext cx="2273927" cy="125857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850915" y="3103133"/>
            <a:ext cx="2476724" cy="125857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273927" cy="171606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11760942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VENUE | Malard Nicolas | Mousseux Bordelai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313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1257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297058981"/>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30202301"/>
      </p:ext>
    </p:extLst>
  </p:cSld>
  <p:clrMapOvr>
    <a:masterClrMapping/>
  </p:clrMapOvr>
</p:sld>
</file>

<file path=ppt/slides/slide5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PROSECCO CONTARINI BRUT ITA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LAVERON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WHITE EX DRY BOT 202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50723380"/>
      </p:ext>
    </p:extLst>
  </p:cSld>
  <p:clrMapOvr>
    <a:masterClrMapping/>
  </p:clrMapOvr>
</p:sld>
</file>

<file path=ppt/slides/slide5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PROSECCO CONTARINI BRUT ITA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25256548"/>
      </p:ext>
    </p:extLst>
  </p:cSld>
  <p:clrMapOvr>
    <a:masterClrMapping/>
  </p:clrMapOvr>
</p:sld>
</file>

<file path=ppt/slides/slide5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PROSECCO CONTARINI BRUT ITA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33337157"/>
      </p:ext>
    </p:extLst>
  </p:cSld>
  <p:clrMapOvr>
    <a:masterClrMapping/>
  </p:clrMapOvr>
</p:sld>
</file>

<file path=ppt/slides/slide5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PROSECCO CONTARINI BRUT ITA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90700887"/>
      </p:ext>
    </p:extLst>
  </p:cSld>
  <p:clrMapOvr>
    <a:masterClrMapping/>
  </p:clrMapOvr>
</p:sld>
</file>

<file path=ppt/slides/slide5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PROSECCO CONTARINI BRUT ITA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37800914"/>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PROSECCO CONTARINI BRUT ITA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LAVERON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44040675"/>
      </p:ext>
    </p:extLst>
  </p:cSld>
  <p:clrMapOvr>
    <a:masterClrMapping/>
  </p:clrMapOvr>
</p:sld>
</file>

<file path=ppt/slides/slide5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PROSECCO CONTARINI BRUT ITA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WHITE EX DRY BOT 202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9259837"/>
      </p:ext>
    </p:extLst>
  </p:cSld>
  <p:clrMapOvr>
    <a:masterClrMapping/>
  </p:clrMapOvr>
</p:sld>
</file>

<file path=ppt/slides/slide5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PROSECCO CONTARINI BRUT ITA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26845588"/>
      </p:ext>
    </p:extLst>
  </p:cSld>
  <p:clrMapOvr>
    <a:masterClrMapping/>
  </p:clrMapOvr>
</p:sld>
</file>

<file path=ppt/slides/slide5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LAVERON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PROSECCO CONTARINI BRUT ITA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2471662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63646" y="1387069"/>
            <a:ext cx="2363993" cy="170436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91435"/>
            <a:ext cx="2386658" cy="127027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63646" y="3091435"/>
            <a:ext cx="2363993" cy="127027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86658" cy="170436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35389699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VENUE | Malard Nicolas | Mousseux Italien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9143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25303"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999646367"/>
      </p:ext>
    </p:extLst>
  </p:cSld>
  <p:clrMapOvr>
    <a:masterClrMapping/>
  </p:clrMapOvr>
</p:sld>
</file>

<file path=ppt/slides/slide5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57488956"/>
      </p:ext>
    </p:extLst>
  </p:cSld>
  <p:clrMapOvr>
    <a:masterClrMapping/>
  </p:clrMapOvr>
</p:sld>
</file>

<file path=ppt/slides/slide5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03543395"/>
      </p:ext>
    </p:extLst>
  </p:cSld>
  <p:clrMapOvr>
    <a:masterClrMapping/>
  </p:clrMapOvr>
</p:sld>
</file>

<file path=ppt/slides/slide5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PROSECCO CONTARINI BRUT ITA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50284703"/>
      </p:ext>
    </p:extLst>
  </p:cSld>
  <p:clrMapOvr>
    <a:masterClrMapping/>
  </p:clrMapOvr>
</p:sld>
</file>

<file path=ppt/slides/slide5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PROSECCO CONTARINI BRUT ITA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LAVERON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13987226"/>
      </p:ext>
    </p:extLst>
  </p:cSld>
  <p:clrMapOvr>
    <a:masterClrMapping/>
  </p:clrMapOvr>
</p:sld>
</file>

<file path=ppt/slides/slide5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PROSECCO CONTARINI BRUT ITA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27770553"/>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PROSECCO CONTARINI BRUT ITA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41729775"/>
      </p:ext>
    </p:extLst>
  </p:cSld>
  <p:clrMapOvr>
    <a:masterClrMapping/>
  </p:clrMapOvr>
</p:sld>
</file>

<file path=ppt/slides/slide5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PROSECCO CONTARINI BRUT ITA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89889089"/>
      </p:ext>
    </p:extLst>
  </p:cSld>
  <p:clrMapOvr>
    <a:masterClrMapping/>
  </p:clrMapOvr>
</p:sld>
</file>

<file path=ppt/slides/slide5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E LOIRE MONMOUS BL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EAMBULE TURBULENT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TERREBRUN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ULLE NATURE EXTRA BRUT 2020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20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21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1/2 S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96974591"/>
      </p:ext>
    </p:extLst>
  </p:cSld>
  <p:clrMapOvr>
    <a:masterClrMapping/>
  </p:clrMapOvr>
</p:sld>
</file>

<file path=ppt/slides/slide5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TERREBRUN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E LOIRE MONMOUS BL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EAMBULE TURBULENT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21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ULLE NATURE EXTRA BRUT 2020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E LOIRE MONM ROS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20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51490406"/>
      </p:ext>
    </p:extLst>
  </p:cSld>
  <p:clrMapOvr>
    <a:masterClrMapping/>
  </p:clrMapOvr>
</p:sld>
</file>

<file path=ppt/slides/slide5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E LOIRE MONMOUS BL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9833163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526953" y="1387069"/>
            <a:ext cx="2800686" cy="174017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27244"/>
            <a:ext cx="1949965" cy="123446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526953" y="3127244"/>
            <a:ext cx="2800686" cy="123446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949965" cy="174017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77922672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VENUE | Malard Nicolas | Mousseux Alsac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2724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08861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800171496"/>
      </p:ext>
    </p:extLst>
  </p:cSld>
  <p:clrMapOvr>
    <a:masterClrMapping/>
  </p:clrMapOvr>
</p:sld>
</file>

<file path=ppt/slides/slide5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E LOIRE MONMOUS BL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39063823"/>
      </p:ext>
    </p:extLst>
  </p:cSld>
  <p:clrMapOvr>
    <a:masterClrMapping/>
  </p:clrMapOvr>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E LOIRE MONMOUS BL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ULLE NATURE EXTRA BRUT 2020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EAMBULE TURBULENT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ULLE NATURE EXTRA BRUT 2019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20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21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1/2 S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72000569"/>
      </p:ext>
    </p:extLst>
  </p:cSld>
  <p:clrMapOvr>
    <a:masterClrMapping/>
  </p:clrMapOvr>
</p:sld>
</file>

<file path=ppt/slides/slide5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TERREBRUN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72614034"/>
      </p:ext>
    </p:extLst>
  </p:cSld>
  <p:clrMapOvr>
    <a:masterClrMapping/>
  </p:clrMapOvr>
</p:sld>
</file>

<file path=ppt/slides/slide5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8"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816461">
                  <a:extLst>
                    <a:ext uri="{9D8B030D-6E8A-4147-A177-3AD203B41FA5}">
                      <a16:colId xmlns:a16="http://schemas.microsoft.com/office/drawing/2014/main" val="2678984805"/>
                    </a:ext>
                  </a:extLst>
                </a:gridCol>
                <a:gridCol w="816461">
                  <a:extLst>
                    <a:ext uri="{9D8B030D-6E8A-4147-A177-3AD203B41FA5}">
                      <a16:colId xmlns:a16="http://schemas.microsoft.com/office/drawing/2014/main" val="4077376227"/>
                    </a:ext>
                  </a:extLst>
                </a:gridCol>
                <a:gridCol w="816461">
                  <a:extLst>
                    <a:ext uri="{9D8B030D-6E8A-4147-A177-3AD203B41FA5}">
                      <a16:colId xmlns:a16="http://schemas.microsoft.com/office/drawing/2014/main" val="3143555463"/>
                    </a:ext>
                  </a:extLst>
                </a:gridCol>
                <a:gridCol w="816461">
                  <a:extLst>
                    <a:ext uri="{9D8B030D-6E8A-4147-A177-3AD203B41FA5}">
                      <a16:colId xmlns:a16="http://schemas.microsoft.com/office/drawing/2014/main" val="2159604574"/>
                    </a:ext>
                  </a:extLst>
                </a:gridCol>
                <a:gridCol w="816461">
                  <a:extLst>
                    <a:ext uri="{9D8B030D-6E8A-4147-A177-3AD203B41FA5}">
                      <a16:colId xmlns:a16="http://schemas.microsoft.com/office/drawing/2014/main" val="3312290703"/>
                    </a:ext>
                  </a:extLst>
                </a:gridCol>
                <a:gridCol w="816461">
                  <a:extLst>
                    <a:ext uri="{9D8B030D-6E8A-4147-A177-3AD203B41FA5}">
                      <a16:colId xmlns:a16="http://schemas.microsoft.com/office/drawing/2014/main" val="2664114771"/>
                    </a:ext>
                  </a:extLst>
                </a:gridCol>
                <a:gridCol w="816461">
                  <a:extLst>
                    <a:ext uri="{9D8B030D-6E8A-4147-A177-3AD203B41FA5}">
                      <a16:colId xmlns:a16="http://schemas.microsoft.com/office/drawing/2014/main" val="1768673043"/>
                    </a:ext>
                  </a:extLst>
                </a:gridCol>
                <a:gridCol w="816461">
                  <a:extLst>
                    <a:ext uri="{9D8B030D-6E8A-4147-A177-3AD203B41FA5}">
                      <a16:colId xmlns:a16="http://schemas.microsoft.com/office/drawing/2014/main" val="3541755291"/>
                    </a:ext>
                  </a:extLst>
                </a:gridCol>
                <a:gridCol w="816461">
                  <a:extLst>
                    <a:ext uri="{9D8B030D-6E8A-4147-A177-3AD203B41FA5}">
                      <a16:colId xmlns:a16="http://schemas.microsoft.com/office/drawing/2014/main" val="288087056"/>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E LOIRE MONMOUS BL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20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21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19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E LOIRE MONM ROS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07856098"/>
      </p:ext>
    </p:extLst>
  </p:cSld>
  <p:clrMapOvr>
    <a:masterClrMapping/>
  </p:clrMapOvr>
</p:sld>
</file>

<file path=ppt/slides/slide5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E LOIRE MONMOUS BL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12485171"/>
      </p:ext>
    </p:extLst>
  </p:cSld>
  <p:clrMapOvr>
    <a:masterClrMapping/>
  </p:clrMapOvr>
</p:sld>
</file>

<file path=ppt/slides/slide5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22649068"/>
      </p:ext>
    </p:extLst>
  </p:cSld>
  <p:clrMapOvr>
    <a:masterClrMapping/>
  </p:clrMapOvr>
</p:sld>
</file>

<file path=ppt/slides/slide5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ULLE NATURE EXTRA BRUT 2020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34540156"/>
      </p:ext>
    </p:extLst>
  </p:cSld>
  <p:clrMapOvr>
    <a:masterClrMapping/>
  </p:clrMapOvr>
</p:sld>
</file>

<file path=ppt/slides/slide5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51953001"/>
      </p:ext>
    </p:extLst>
  </p:cSld>
  <p:clrMapOvr>
    <a:masterClrMapping/>
  </p:clrMapOvr>
</p:sld>
</file>

<file path=ppt/slides/slide5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E LOIRE MONMOUS BL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21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20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19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1125573"/>
      </p:ext>
    </p:extLst>
  </p:cSld>
  <p:clrMapOvr>
    <a:masterClrMapping/>
  </p:clrMapOvr>
</p:sld>
</file>

<file path=ppt/slides/slide5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TERREBRUN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E LOIRE MONMOUS BL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ULLE NATURE EXTRA BRUT 2020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EAMBULE TURBULENT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20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825068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844200" y="1387069"/>
            <a:ext cx="2483439" cy="169232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79397"/>
            <a:ext cx="2267212" cy="128231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844200" y="3079397"/>
            <a:ext cx="2483439" cy="128231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267212" cy="169232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00912319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VENUE | Malard Nicolas | Mousseux Bourgogn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7939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0585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045086354"/>
      </p:ext>
    </p:extLst>
  </p:cSld>
  <p:clrMapOvr>
    <a:masterClrMapping/>
  </p:clrMapOvr>
</p:sld>
</file>

<file path=ppt/slides/slide5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E LOIRE MONMOUS BL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ULLE NATURE EXTRA BRUT 2020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20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ULLE NATURE EXTRA BRUT 2019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MOELLX BRUNET 2018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1/2 S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TERREBRUN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17076010"/>
      </p:ext>
    </p:extLst>
  </p:cSld>
  <p:clrMapOvr>
    <a:masterClrMapping/>
  </p:clrMapOvr>
</p:sld>
</file>

<file path=ppt/slides/slide5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EAMBULE TURBULENT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E LOIRE MONMOUS BL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TERREBRUN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20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21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84647694"/>
      </p:ext>
    </p:extLst>
  </p:cSld>
  <p:clrMapOvr>
    <a:masterClrMapping/>
  </p:clrMapOvr>
</p:sld>
</file>

<file path=ppt/slides/slide5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EAMBULE TURBULENT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TERREBRUN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E LOIRE MONMOUS BL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ULLE NATURE EXTRA BRUT 2020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ULLE NATURE EXTRA BRUT 2019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1/2 S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MOELLX BRUNET 2018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65737785"/>
      </p:ext>
    </p:extLst>
  </p:cSld>
  <p:clrMapOvr>
    <a:masterClrMapping/>
  </p:clrMapOvr>
</p:sld>
</file>

<file path=ppt/slides/slide5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8"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816461">
                  <a:extLst>
                    <a:ext uri="{9D8B030D-6E8A-4147-A177-3AD203B41FA5}">
                      <a16:colId xmlns:a16="http://schemas.microsoft.com/office/drawing/2014/main" val="2678984805"/>
                    </a:ext>
                  </a:extLst>
                </a:gridCol>
                <a:gridCol w="816461">
                  <a:extLst>
                    <a:ext uri="{9D8B030D-6E8A-4147-A177-3AD203B41FA5}">
                      <a16:colId xmlns:a16="http://schemas.microsoft.com/office/drawing/2014/main" val="4077376227"/>
                    </a:ext>
                  </a:extLst>
                </a:gridCol>
                <a:gridCol w="816461">
                  <a:extLst>
                    <a:ext uri="{9D8B030D-6E8A-4147-A177-3AD203B41FA5}">
                      <a16:colId xmlns:a16="http://schemas.microsoft.com/office/drawing/2014/main" val="3143555463"/>
                    </a:ext>
                  </a:extLst>
                </a:gridCol>
                <a:gridCol w="816461">
                  <a:extLst>
                    <a:ext uri="{9D8B030D-6E8A-4147-A177-3AD203B41FA5}">
                      <a16:colId xmlns:a16="http://schemas.microsoft.com/office/drawing/2014/main" val="2159604574"/>
                    </a:ext>
                  </a:extLst>
                </a:gridCol>
                <a:gridCol w="816461">
                  <a:extLst>
                    <a:ext uri="{9D8B030D-6E8A-4147-A177-3AD203B41FA5}">
                      <a16:colId xmlns:a16="http://schemas.microsoft.com/office/drawing/2014/main" val="3312290703"/>
                    </a:ext>
                  </a:extLst>
                </a:gridCol>
                <a:gridCol w="816461">
                  <a:extLst>
                    <a:ext uri="{9D8B030D-6E8A-4147-A177-3AD203B41FA5}">
                      <a16:colId xmlns:a16="http://schemas.microsoft.com/office/drawing/2014/main" val="2664114771"/>
                    </a:ext>
                  </a:extLst>
                </a:gridCol>
                <a:gridCol w="816461">
                  <a:extLst>
                    <a:ext uri="{9D8B030D-6E8A-4147-A177-3AD203B41FA5}">
                      <a16:colId xmlns:a16="http://schemas.microsoft.com/office/drawing/2014/main" val="1768673043"/>
                    </a:ext>
                  </a:extLst>
                </a:gridCol>
                <a:gridCol w="816461">
                  <a:extLst>
                    <a:ext uri="{9D8B030D-6E8A-4147-A177-3AD203B41FA5}">
                      <a16:colId xmlns:a16="http://schemas.microsoft.com/office/drawing/2014/main" val="3541755291"/>
                    </a:ext>
                  </a:extLst>
                </a:gridCol>
                <a:gridCol w="816461">
                  <a:extLst>
                    <a:ext uri="{9D8B030D-6E8A-4147-A177-3AD203B41FA5}">
                      <a16:colId xmlns:a16="http://schemas.microsoft.com/office/drawing/2014/main" val="288087056"/>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GISS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MUR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DOSAGE ZER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BULLES NOEM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SPARR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REMANT D'ALSACE PREST AC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REMANT D'ALSACE GISSELB 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13924303"/>
      </p:ext>
    </p:extLst>
  </p:cSld>
  <p:clrMapOvr>
    <a:masterClrMapping/>
  </p:clrMapOvr>
</p:sld>
</file>

<file path=ppt/slides/slide5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6595921"/>
      </p:ext>
    </p:extLst>
  </p:cSld>
  <p:clrMapOvr>
    <a:masterClrMapping/>
  </p:clrMapOvr>
</p:sld>
</file>

<file path=ppt/slides/slide5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MUR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GISS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DOSAGE ZER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BULLES NOEM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REMANT D'ALSACE PREST AC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REMANT D'ALSACE GISSELB 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24331385"/>
      </p:ext>
    </p:extLst>
  </p:cSld>
  <p:clrMapOvr>
    <a:masterClrMapping/>
  </p:clrMapOvr>
</p:sld>
</file>

<file path=ppt/slides/slide5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GISS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MUR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BULLES NOEM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REMANT D'ALSACE PREST AC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REMANT D'ALSACE GISSELB 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53691638"/>
      </p:ext>
    </p:extLst>
  </p:cSld>
  <p:clrMapOvr>
    <a:masterClrMapping/>
  </p:clrMapOvr>
</p:sld>
</file>

<file path=ppt/slides/slide5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36079572"/>
      </p:ext>
    </p:extLst>
  </p:cSld>
  <p:clrMapOvr>
    <a:masterClrMapping/>
  </p:clrMapOvr>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SPARR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MUR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GISS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09623523"/>
      </p:ext>
    </p:extLst>
  </p:cSld>
  <p:clrMapOvr>
    <a:masterClrMapping/>
  </p:clrMapOvr>
</p:sld>
</file>

<file path=ppt/slides/slide5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888910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72131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8379"/>
            <a:ext cx="2375325" cy="125333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108379"/>
            <a:ext cx="2375326" cy="125333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72131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64304466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Effervescent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837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94904426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877085" y="1387069"/>
            <a:ext cx="2450554" cy="171718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4250"/>
            <a:ext cx="2300097" cy="125745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877085" y="3104250"/>
            <a:ext cx="2450554" cy="125745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00097" cy="171718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83531264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VENUE | Malard Nicolas | Mousseux Val De Loir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425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3874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98070374"/>
      </p:ext>
    </p:extLst>
  </p:cSld>
  <p:clrMapOvr>
    <a:masterClrMapping/>
  </p:clrMapOvr>
</p:sld>
</file>

<file path=ppt/slides/slide6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23329585"/>
      </p:ext>
    </p:extLst>
  </p:cSld>
  <p:clrMapOvr>
    <a:masterClrMapping/>
  </p:clrMapOvr>
</p:sld>
</file>

<file path=ppt/slides/slide6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27511197"/>
      </p:ext>
    </p:extLst>
  </p:cSld>
  <p:clrMapOvr>
    <a:masterClrMapping/>
  </p:clrMapOvr>
</p:sld>
</file>

<file path=ppt/slides/slide6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68155778"/>
      </p:ext>
    </p:extLst>
  </p:cSld>
  <p:clrMapOvr>
    <a:masterClrMapping/>
  </p:clrMapOvr>
</p:sld>
</file>

<file path=ppt/slides/slide6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8613808"/>
      </p:ext>
    </p:extLst>
  </p:cSld>
  <p:clrMapOvr>
    <a:masterClrMapping/>
  </p:clrMapOvr>
</p:sld>
</file>

<file path=ppt/slides/slide6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GISS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MUR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DOSAGE ZER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REMANT D'ALSACE GISSELB 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11253983"/>
      </p:ext>
    </p:extLst>
  </p:cSld>
  <p:clrMapOvr>
    <a:masterClrMapping/>
  </p:clrMapOvr>
</p:sld>
</file>

<file path=ppt/slides/slide6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8"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816461">
                  <a:extLst>
                    <a:ext uri="{9D8B030D-6E8A-4147-A177-3AD203B41FA5}">
                      <a16:colId xmlns:a16="http://schemas.microsoft.com/office/drawing/2014/main" val="2678984805"/>
                    </a:ext>
                  </a:extLst>
                </a:gridCol>
                <a:gridCol w="816461">
                  <a:extLst>
                    <a:ext uri="{9D8B030D-6E8A-4147-A177-3AD203B41FA5}">
                      <a16:colId xmlns:a16="http://schemas.microsoft.com/office/drawing/2014/main" val="4077376227"/>
                    </a:ext>
                  </a:extLst>
                </a:gridCol>
                <a:gridCol w="816461">
                  <a:extLst>
                    <a:ext uri="{9D8B030D-6E8A-4147-A177-3AD203B41FA5}">
                      <a16:colId xmlns:a16="http://schemas.microsoft.com/office/drawing/2014/main" val="3143555463"/>
                    </a:ext>
                  </a:extLst>
                </a:gridCol>
                <a:gridCol w="816461">
                  <a:extLst>
                    <a:ext uri="{9D8B030D-6E8A-4147-A177-3AD203B41FA5}">
                      <a16:colId xmlns:a16="http://schemas.microsoft.com/office/drawing/2014/main" val="2159604574"/>
                    </a:ext>
                  </a:extLst>
                </a:gridCol>
                <a:gridCol w="816461">
                  <a:extLst>
                    <a:ext uri="{9D8B030D-6E8A-4147-A177-3AD203B41FA5}">
                      <a16:colId xmlns:a16="http://schemas.microsoft.com/office/drawing/2014/main" val="3312290703"/>
                    </a:ext>
                  </a:extLst>
                </a:gridCol>
                <a:gridCol w="816461">
                  <a:extLst>
                    <a:ext uri="{9D8B030D-6E8A-4147-A177-3AD203B41FA5}">
                      <a16:colId xmlns:a16="http://schemas.microsoft.com/office/drawing/2014/main" val="2664114771"/>
                    </a:ext>
                  </a:extLst>
                </a:gridCol>
                <a:gridCol w="816461">
                  <a:extLst>
                    <a:ext uri="{9D8B030D-6E8A-4147-A177-3AD203B41FA5}">
                      <a16:colId xmlns:a16="http://schemas.microsoft.com/office/drawing/2014/main" val="1768673043"/>
                    </a:ext>
                  </a:extLst>
                </a:gridCol>
                <a:gridCol w="816461">
                  <a:extLst>
                    <a:ext uri="{9D8B030D-6E8A-4147-A177-3AD203B41FA5}">
                      <a16:colId xmlns:a16="http://schemas.microsoft.com/office/drawing/2014/main" val="3541755291"/>
                    </a:ext>
                  </a:extLst>
                </a:gridCol>
                <a:gridCol w="816461">
                  <a:extLst>
                    <a:ext uri="{9D8B030D-6E8A-4147-A177-3AD203B41FA5}">
                      <a16:colId xmlns:a16="http://schemas.microsoft.com/office/drawing/2014/main" val="288087056"/>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GISS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MUR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DOSAGE ZER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BULLES NOEM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SPARR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REMANT D'ALSACE PREST AC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REMANT D'ALSACE GISSELB 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83934439"/>
      </p:ext>
    </p:extLst>
  </p:cSld>
  <p:clrMapOvr>
    <a:masterClrMapping/>
  </p:clrMapOvr>
</p:sld>
</file>

<file path=ppt/slides/slide6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92531575"/>
      </p:ext>
    </p:extLst>
  </p:cSld>
  <p:clrMapOvr>
    <a:masterClrMapping/>
  </p:clrMapOvr>
</p:sld>
</file>

<file path=ppt/slides/slide6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8"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816461">
                  <a:extLst>
                    <a:ext uri="{9D8B030D-6E8A-4147-A177-3AD203B41FA5}">
                      <a16:colId xmlns:a16="http://schemas.microsoft.com/office/drawing/2014/main" val="2678984805"/>
                    </a:ext>
                  </a:extLst>
                </a:gridCol>
                <a:gridCol w="816461">
                  <a:extLst>
                    <a:ext uri="{9D8B030D-6E8A-4147-A177-3AD203B41FA5}">
                      <a16:colId xmlns:a16="http://schemas.microsoft.com/office/drawing/2014/main" val="4077376227"/>
                    </a:ext>
                  </a:extLst>
                </a:gridCol>
                <a:gridCol w="816461">
                  <a:extLst>
                    <a:ext uri="{9D8B030D-6E8A-4147-A177-3AD203B41FA5}">
                      <a16:colId xmlns:a16="http://schemas.microsoft.com/office/drawing/2014/main" val="3143555463"/>
                    </a:ext>
                  </a:extLst>
                </a:gridCol>
                <a:gridCol w="816461">
                  <a:extLst>
                    <a:ext uri="{9D8B030D-6E8A-4147-A177-3AD203B41FA5}">
                      <a16:colId xmlns:a16="http://schemas.microsoft.com/office/drawing/2014/main" val="2159604574"/>
                    </a:ext>
                  </a:extLst>
                </a:gridCol>
                <a:gridCol w="816461">
                  <a:extLst>
                    <a:ext uri="{9D8B030D-6E8A-4147-A177-3AD203B41FA5}">
                      <a16:colId xmlns:a16="http://schemas.microsoft.com/office/drawing/2014/main" val="3312290703"/>
                    </a:ext>
                  </a:extLst>
                </a:gridCol>
                <a:gridCol w="816461">
                  <a:extLst>
                    <a:ext uri="{9D8B030D-6E8A-4147-A177-3AD203B41FA5}">
                      <a16:colId xmlns:a16="http://schemas.microsoft.com/office/drawing/2014/main" val="2664114771"/>
                    </a:ext>
                  </a:extLst>
                </a:gridCol>
                <a:gridCol w="816461">
                  <a:extLst>
                    <a:ext uri="{9D8B030D-6E8A-4147-A177-3AD203B41FA5}">
                      <a16:colId xmlns:a16="http://schemas.microsoft.com/office/drawing/2014/main" val="1768673043"/>
                    </a:ext>
                  </a:extLst>
                </a:gridCol>
                <a:gridCol w="816461">
                  <a:extLst>
                    <a:ext uri="{9D8B030D-6E8A-4147-A177-3AD203B41FA5}">
                      <a16:colId xmlns:a16="http://schemas.microsoft.com/office/drawing/2014/main" val="3541755291"/>
                    </a:ext>
                  </a:extLst>
                </a:gridCol>
                <a:gridCol w="816461">
                  <a:extLst>
                    <a:ext uri="{9D8B030D-6E8A-4147-A177-3AD203B41FA5}">
                      <a16:colId xmlns:a16="http://schemas.microsoft.com/office/drawing/2014/main" val="288087056"/>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MUR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GISS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SPARR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DOSAGE ZER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BULLES NOEM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REMANT D'ALSACE GISSELB 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REMANT D'ALSACE PREST AC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29582905"/>
      </p:ext>
    </p:extLst>
  </p:cSld>
  <p:clrMapOvr>
    <a:masterClrMapping/>
  </p:clrMapOvr>
</p:sld>
</file>

<file path=ppt/slides/slide6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GISS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DOSAGE ZER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MUR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SPARR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REMANT D'ALSACE PREST AC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REMANT D'ALSACE GISSELB 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00685793"/>
      </p:ext>
    </p:extLst>
  </p:cSld>
  <p:clrMapOvr>
    <a:masterClrMapping/>
  </p:clrMapOvr>
</p:sld>
</file>

<file path=ppt/slides/slide6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rdelais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U LA MAQUELINE CREMANT B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RDX CELENE SAPH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RDX CELENE OPAL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RDX VALLON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2533273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198525" y="1387069"/>
            <a:ext cx="1129114" cy="192180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308874"/>
            <a:ext cx="3621537" cy="105283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198525" y="3308874"/>
            <a:ext cx="1129114" cy="105283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3621537" cy="192180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15651730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NICOLAS PAC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3088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76018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633672591"/>
      </p:ext>
    </p:extLst>
  </p:cSld>
  <p:clrMapOvr>
    <a:masterClrMapping/>
  </p:clrMapOvr>
</p:sld>
</file>

<file path=ppt/slides/slide6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rdelai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U LA MAQUELINE CREMANT B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RDX CELENE SAPH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RDX CELENE OPAL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84956320"/>
      </p:ext>
    </p:extLst>
  </p:cSld>
  <p:clrMapOvr>
    <a:masterClrMapping/>
  </p:clrMapOvr>
</p:sld>
</file>

<file path=ppt/slides/slide6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rdelais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U LA MAQUELINE CREMANT B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RDX CELENE OPAL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47027727"/>
      </p:ext>
    </p:extLst>
  </p:cSld>
  <p:clrMapOvr>
    <a:masterClrMapping/>
  </p:clrMapOvr>
</p:sld>
</file>

<file path=ppt/slides/slide6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rdelai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U LA MAQUELINE CREMANT B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54557859"/>
      </p:ext>
    </p:extLst>
  </p:cSld>
  <p:clrMapOvr>
    <a:masterClrMapping/>
  </p:clrMapOvr>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rdelais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U LA MAQUELINE CREMANT B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54628145"/>
      </p:ext>
    </p:extLst>
  </p:cSld>
  <p:clrMapOvr>
    <a:masterClrMapping/>
  </p:clrMapOvr>
</p:sld>
</file>

<file path=ppt/slides/slide6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rdelais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U LA MAQUELINE CREMANT B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47949018"/>
      </p:ext>
    </p:extLst>
  </p:cSld>
  <p:clrMapOvr>
    <a:masterClrMapping/>
  </p:clrMapOvr>
</p:sld>
</file>

<file path=ppt/slides/slide6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rdelais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U LA MAQUELINE CREMANT B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RDX CELENE SAPH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RDX CELENE OPAL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98073862"/>
      </p:ext>
    </p:extLst>
  </p:cSld>
  <p:clrMapOvr>
    <a:masterClrMapping/>
  </p:clrMapOvr>
</p:sld>
</file>

<file path=ppt/slides/slide6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rdelai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U LA MAQUELINE CREMANT B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26061107"/>
      </p:ext>
    </p:extLst>
  </p:cSld>
  <p:clrMapOvr>
    <a:masterClrMapping/>
  </p:clrMapOvr>
</p:sld>
</file>

<file path=ppt/slides/slide6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rdelai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U LA MAQUELINE CREMANT B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68384272"/>
      </p:ext>
    </p:extLst>
  </p:cSld>
  <p:clrMapOvr>
    <a:masterClrMapping/>
  </p:clrMapOvr>
</p:sld>
</file>

<file path=ppt/slides/slide6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rdelais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U LA MAQUELINE CREMANT B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RDX VALLON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03165259"/>
      </p:ext>
    </p:extLst>
  </p:cSld>
  <p:clrMapOvr>
    <a:masterClrMapping/>
  </p:clrMapOvr>
</p:sld>
</file>

<file path=ppt/slides/slide6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rdelai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U LA MAQUELINE CREMANT B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012958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150651" y="1387069"/>
            <a:ext cx="1176988" cy="191134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98411"/>
            <a:ext cx="3573663" cy="106329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150651" y="3298411"/>
            <a:ext cx="1176988" cy="106329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3573663" cy="191134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28583801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NICOLAS CC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9841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71230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206181926"/>
      </p:ext>
    </p:extLst>
  </p:cSld>
  <p:clrMapOvr>
    <a:masterClrMapping/>
  </p:clrMapOvr>
</p:sld>
</file>

<file path=ppt/slides/slide6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rdelais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U LA MAQUELINE CREMANT B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32472942"/>
      </p:ext>
    </p:extLst>
  </p:cSld>
  <p:clrMapOvr>
    <a:masterClrMapping/>
  </p:clrMapOvr>
</p:sld>
</file>

<file path=ppt/slides/slide6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rdelai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U LA MAQUELINE CREMANT B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RDX VALLON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RDX CELENE SAPH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26609638"/>
      </p:ext>
    </p:extLst>
  </p:cSld>
  <p:clrMapOvr>
    <a:masterClrMapping/>
  </p:clrMapOvr>
</p:sld>
</file>

<file path=ppt/slides/slide6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rdelais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U LA MAQUELINE CREMANT B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90847043"/>
      </p:ext>
    </p:extLst>
  </p:cSld>
  <p:clrMapOvr>
    <a:masterClrMapping/>
  </p:clrMapOvr>
</p:sld>
</file>

<file path=ppt/slides/slide6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rdelais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U LA MAQUELINE CREMANT B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RDX CELENE OPAL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RDX CELENE SAPH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79403950"/>
      </p:ext>
    </p:extLst>
  </p:cSld>
  <p:clrMapOvr>
    <a:masterClrMapping/>
  </p:clrMapOvr>
</p:sld>
</file>

<file path=ppt/slides/slide6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9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68014">
                  <a:extLst>
                    <a:ext uri="{9D8B030D-6E8A-4147-A177-3AD203B41FA5}">
                      <a16:colId xmlns:a16="http://schemas.microsoft.com/office/drawing/2014/main" val="2678984805"/>
                    </a:ext>
                  </a:extLst>
                </a:gridCol>
                <a:gridCol w="668014">
                  <a:extLst>
                    <a:ext uri="{9D8B030D-6E8A-4147-A177-3AD203B41FA5}">
                      <a16:colId xmlns:a16="http://schemas.microsoft.com/office/drawing/2014/main" val="4077376227"/>
                    </a:ext>
                  </a:extLst>
                </a:gridCol>
                <a:gridCol w="668014">
                  <a:extLst>
                    <a:ext uri="{9D8B030D-6E8A-4147-A177-3AD203B41FA5}">
                      <a16:colId xmlns:a16="http://schemas.microsoft.com/office/drawing/2014/main" val="3143555463"/>
                    </a:ext>
                  </a:extLst>
                </a:gridCol>
                <a:gridCol w="668014">
                  <a:extLst>
                    <a:ext uri="{9D8B030D-6E8A-4147-A177-3AD203B41FA5}">
                      <a16:colId xmlns:a16="http://schemas.microsoft.com/office/drawing/2014/main" val="2159604574"/>
                    </a:ext>
                  </a:extLst>
                </a:gridCol>
                <a:gridCol w="668014">
                  <a:extLst>
                    <a:ext uri="{9D8B030D-6E8A-4147-A177-3AD203B41FA5}">
                      <a16:colId xmlns:a16="http://schemas.microsoft.com/office/drawing/2014/main" val="3312290703"/>
                    </a:ext>
                  </a:extLst>
                </a:gridCol>
                <a:gridCol w="668014">
                  <a:extLst>
                    <a:ext uri="{9D8B030D-6E8A-4147-A177-3AD203B41FA5}">
                      <a16:colId xmlns:a16="http://schemas.microsoft.com/office/drawing/2014/main" val="2664114771"/>
                    </a:ext>
                  </a:extLst>
                </a:gridCol>
                <a:gridCol w="668014">
                  <a:extLst>
                    <a:ext uri="{9D8B030D-6E8A-4147-A177-3AD203B41FA5}">
                      <a16:colId xmlns:a16="http://schemas.microsoft.com/office/drawing/2014/main" val="1768673043"/>
                    </a:ext>
                  </a:extLst>
                </a:gridCol>
                <a:gridCol w="668014">
                  <a:extLst>
                    <a:ext uri="{9D8B030D-6E8A-4147-A177-3AD203B41FA5}">
                      <a16:colId xmlns:a16="http://schemas.microsoft.com/office/drawing/2014/main" val="3541755291"/>
                    </a:ext>
                  </a:extLst>
                </a:gridCol>
                <a:gridCol w="668014">
                  <a:extLst>
                    <a:ext uri="{9D8B030D-6E8A-4147-A177-3AD203B41FA5}">
                      <a16:colId xmlns:a16="http://schemas.microsoft.com/office/drawing/2014/main" val="288087056"/>
                    </a:ext>
                  </a:extLst>
                </a:gridCol>
                <a:gridCol w="668014">
                  <a:extLst>
                    <a:ext uri="{9D8B030D-6E8A-4147-A177-3AD203B41FA5}">
                      <a16:colId xmlns:a16="http://schemas.microsoft.com/office/drawing/2014/main" val="1379681557"/>
                    </a:ext>
                  </a:extLst>
                </a:gridCol>
                <a:gridCol w="668014">
                  <a:extLst>
                    <a:ext uri="{9D8B030D-6E8A-4147-A177-3AD203B41FA5}">
                      <a16:colId xmlns:a16="http://schemas.microsoft.com/office/drawing/2014/main" val="144658668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74253723"/>
      </p:ext>
    </p:extLst>
  </p:cSld>
  <p:clrMapOvr>
    <a:masterClrMapping/>
  </p:clrMapOvr>
</p:sld>
</file>

<file path=ppt/slides/slide6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72732096"/>
      </p:ext>
    </p:extLst>
  </p:cSld>
  <p:clrMapOvr>
    <a:masterClrMapping/>
  </p:clrMapOvr>
</p:sld>
</file>

<file path=ppt/slides/slide6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200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51192474"/>
      </p:ext>
    </p:extLst>
  </p:cSld>
  <p:clrMapOvr>
    <a:masterClrMapping/>
  </p:clrMapOvr>
</p:sld>
</file>

<file path=ppt/slides/slide6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95069802"/>
      </p:ext>
    </p:extLst>
  </p:cSld>
  <p:clrMapOvr>
    <a:masterClrMapping/>
  </p:clrMapOvr>
</p:sld>
</file>

<file path=ppt/slides/slide6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63059657"/>
      </p:ext>
    </p:extLst>
  </p:cSld>
  <p:clrMapOvr>
    <a:masterClrMapping/>
  </p:clrMapOvr>
</p:sld>
</file>

<file path=ppt/slides/slide6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9696999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168720" y="1387069"/>
            <a:ext cx="1158919" cy="191474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301817"/>
            <a:ext cx="3591732" cy="105989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168720" y="3301817"/>
            <a:ext cx="1158919" cy="105989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3591732" cy="191474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39240808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NICOLAS QC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30181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73037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576061179"/>
      </p:ext>
    </p:extLst>
  </p:cSld>
  <p:clrMapOvr>
    <a:masterClrMapping/>
  </p:clrMapOvr>
</p:sld>
</file>

<file path=ppt/slides/slide6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63408200"/>
      </p:ext>
    </p:extLst>
  </p:cSld>
  <p:clrMapOvr>
    <a:masterClrMapping/>
  </p:clrMapOvr>
</p:sld>
</file>

<file path=ppt/slides/slide6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68783111"/>
      </p:ext>
    </p:extLst>
  </p:cSld>
  <p:clrMapOvr>
    <a:masterClrMapping/>
  </p:clrMapOvr>
</p:sld>
</file>

<file path=ppt/slides/slide6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70929681"/>
      </p:ext>
    </p:extLst>
  </p:cSld>
  <p:clrMapOvr>
    <a:masterClrMapping/>
  </p:clrMapOvr>
</p:sld>
</file>

<file path=ppt/slides/slide6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38654380"/>
      </p:ext>
    </p:extLst>
  </p:cSld>
  <p:clrMapOvr>
    <a:masterClrMapping/>
  </p:clrMapOvr>
</p:sld>
</file>

<file path=ppt/slides/slide6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8"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816461">
                  <a:extLst>
                    <a:ext uri="{9D8B030D-6E8A-4147-A177-3AD203B41FA5}">
                      <a16:colId xmlns:a16="http://schemas.microsoft.com/office/drawing/2014/main" val="2678984805"/>
                    </a:ext>
                  </a:extLst>
                </a:gridCol>
                <a:gridCol w="816461">
                  <a:extLst>
                    <a:ext uri="{9D8B030D-6E8A-4147-A177-3AD203B41FA5}">
                      <a16:colId xmlns:a16="http://schemas.microsoft.com/office/drawing/2014/main" val="4077376227"/>
                    </a:ext>
                  </a:extLst>
                </a:gridCol>
                <a:gridCol w="816461">
                  <a:extLst>
                    <a:ext uri="{9D8B030D-6E8A-4147-A177-3AD203B41FA5}">
                      <a16:colId xmlns:a16="http://schemas.microsoft.com/office/drawing/2014/main" val="3143555463"/>
                    </a:ext>
                  </a:extLst>
                </a:gridCol>
                <a:gridCol w="816461">
                  <a:extLst>
                    <a:ext uri="{9D8B030D-6E8A-4147-A177-3AD203B41FA5}">
                      <a16:colId xmlns:a16="http://schemas.microsoft.com/office/drawing/2014/main" val="2159604574"/>
                    </a:ext>
                  </a:extLst>
                </a:gridCol>
                <a:gridCol w="816461">
                  <a:extLst>
                    <a:ext uri="{9D8B030D-6E8A-4147-A177-3AD203B41FA5}">
                      <a16:colId xmlns:a16="http://schemas.microsoft.com/office/drawing/2014/main" val="3312290703"/>
                    </a:ext>
                  </a:extLst>
                </a:gridCol>
                <a:gridCol w="816461">
                  <a:extLst>
                    <a:ext uri="{9D8B030D-6E8A-4147-A177-3AD203B41FA5}">
                      <a16:colId xmlns:a16="http://schemas.microsoft.com/office/drawing/2014/main" val="2664114771"/>
                    </a:ext>
                  </a:extLst>
                </a:gridCol>
                <a:gridCol w="816461">
                  <a:extLst>
                    <a:ext uri="{9D8B030D-6E8A-4147-A177-3AD203B41FA5}">
                      <a16:colId xmlns:a16="http://schemas.microsoft.com/office/drawing/2014/main" val="1768673043"/>
                    </a:ext>
                  </a:extLst>
                </a:gridCol>
                <a:gridCol w="816461">
                  <a:extLst>
                    <a:ext uri="{9D8B030D-6E8A-4147-A177-3AD203B41FA5}">
                      <a16:colId xmlns:a16="http://schemas.microsoft.com/office/drawing/2014/main" val="3541755291"/>
                    </a:ext>
                  </a:extLst>
                </a:gridCol>
                <a:gridCol w="816461">
                  <a:extLst>
                    <a:ext uri="{9D8B030D-6E8A-4147-A177-3AD203B41FA5}">
                      <a16:colId xmlns:a16="http://schemas.microsoft.com/office/drawing/2014/main" val="288087056"/>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20796469"/>
      </p:ext>
    </p:extLst>
  </p:cSld>
  <p:clrMapOvr>
    <a:masterClrMapping/>
  </p:clrMapOvr>
</p:sld>
</file>

<file path=ppt/slides/slide6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98081218"/>
      </p:ext>
    </p:extLst>
  </p:cSld>
  <p:clrMapOvr>
    <a:masterClrMapping/>
  </p:clrMapOvr>
</p:sld>
</file>

<file path=ppt/slides/slide6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74748905"/>
      </p:ext>
    </p:extLst>
  </p:cSld>
  <p:clrMapOvr>
    <a:masterClrMapping/>
  </p:clrMapOvr>
</p:sld>
</file>

<file path=ppt/slides/slide6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82940237"/>
      </p:ext>
    </p:extLst>
  </p:cSld>
  <p:clrMapOvr>
    <a:masterClrMapping/>
  </p:clrMapOvr>
</p:sld>
</file>

<file path=ppt/slides/slide6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81949791"/>
      </p:ext>
    </p:extLst>
  </p:cSld>
  <p:clrMapOvr>
    <a:masterClrMapping/>
  </p:clrMapOvr>
</p:sld>
</file>

<file path=ppt/slides/slide6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3905053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161883" y="1387069"/>
            <a:ext cx="1165756" cy="191130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98376"/>
            <a:ext cx="3584895" cy="106333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161883" y="3298376"/>
            <a:ext cx="1165756" cy="106333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3584895" cy="191130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03289137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NICOLAS IDF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9837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72354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3748520"/>
      </p:ext>
    </p:extLst>
  </p:cSld>
  <p:clrMapOvr>
    <a:masterClrMapping/>
  </p:clrMapOvr>
</p:sld>
</file>

<file path=ppt/slides/slide6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95571036"/>
      </p:ext>
    </p:extLst>
  </p:cSld>
  <p:clrMapOvr>
    <a:masterClrMapping/>
  </p:clrMapOvr>
</p:sld>
</file>

<file path=ppt/slides/slide6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82205556"/>
      </p:ext>
    </p:extLst>
  </p:cSld>
  <p:clrMapOvr>
    <a:masterClrMapping/>
  </p:clrMapOvr>
</p:sld>
</file>

<file path=ppt/slides/slide6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79951063"/>
      </p:ext>
    </p:extLst>
  </p:cSld>
  <p:clrMapOvr>
    <a:masterClrMapping/>
  </p:clrMapOvr>
</p:sld>
</file>

<file path=ppt/slides/slide6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9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68014">
                  <a:extLst>
                    <a:ext uri="{9D8B030D-6E8A-4147-A177-3AD203B41FA5}">
                      <a16:colId xmlns:a16="http://schemas.microsoft.com/office/drawing/2014/main" val="2678984805"/>
                    </a:ext>
                  </a:extLst>
                </a:gridCol>
                <a:gridCol w="668014">
                  <a:extLst>
                    <a:ext uri="{9D8B030D-6E8A-4147-A177-3AD203B41FA5}">
                      <a16:colId xmlns:a16="http://schemas.microsoft.com/office/drawing/2014/main" val="4077376227"/>
                    </a:ext>
                  </a:extLst>
                </a:gridCol>
                <a:gridCol w="668014">
                  <a:extLst>
                    <a:ext uri="{9D8B030D-6E8A-4147-A177-3AD203B41FA5}">
                      <a16:colId xmlns:a16="http://schemas.microsoft.com/office/drawing/2014/main" val="3143555463"/>
                    </a:ext>
                  </a:extLst>
                </a:gridCol>
                <a:gridCol w="668014">
                  <a:extLst>
                    <a:ext uri="{9D8B030D-6E8A-4147-A177-3AD203B41FA5}">
                      <a16:colId xmlns:a16="http://schemas.microsoft.com/office/drawing/2014/main" val="2159604574"/>
                    </a:ext>
                  </a:extLst>
                </a:gridCol>
                <a:gridCol w="668014">
                  <a:extLst>
                    <a:ext uri="{9D8B030D-6E8A-4147-A177-3AD203B41FA5}">
                      <a16:colId xmlns:a16="http://schemas.microsoft.com/office/drawing/2014/main" val="3312290703"/>
                    </a:ext>
                  </a:extLst>
                </a:gridCol>
                <a:gridCol w="668014">
                  <a:extLst>
                    <a:ext uri="{9D8B030D-6E8A-4147-A177-3AD203B41FA5}">
                      <a16:colId xmlns:a16="http://schemas.microsoft.com/office/drawing/2014/main" val="2664114771"/>
                    </a:ext>
                  </a:extLst>
                </a:gridCol>
                <a:gridCol w="668014">
                  <a:extLst>
                    <a:ext uri="{9D8B030D-6E8A-4147-A177-3AD203B41FA5}">
                      <a16:colId xmlns:a16="http://schemas.microsoft.com/office/drawing/2014/main" val="1768673043"/>
                    </a:ext>
                  </a:extLst>
                </a:gridCol>
                <a:gridCol w="668014">
                  <a:extLst>
                    <a:ext uri="{9D8B030D-6E8A-4147-A177-3AD203B41FA5}">
                      <a16:colId xmlns:a16="http://schemas.microsoft.com/office/drawing/2014/main" val="3541755291"/>
                    </a:ext>
                  </a:extLst>
                </a:gridCol>
                <a:gridCol w="668014">
                  <a:extLst>
                    <a:ext uri="{9D8B030D-6E8A-4147-A177-3AD203B41FA5}">
                      <a16:colId xmlns:a16="http://schemas.microsoft.com/office/drawing/2014/main" val="288087056"/>
                    </a:ext>
                  </a:extLst>
                </a:gridCol>
                <a:gridCol w="668014">
                  <a:extLst>
                    <a:ext uri="{9D8B030D-6E8A-4147-A177-3AD203B41FA5}">
                      <a16:colId xmlns:a16="http://schemas.microsoft.com/office/drawing/2014/main" val="1379681557"/>
                    </a:ext>
                  </a:extLst>
                </a:gridCol>
                <a:gridCol w="668014">
                  <a:extLst>
                    <a:ext uri="{9D8B030D-6E8A-4147-A177-3AD203B41FA5}">
                      <a16:colId xmlns:a16="http://schemas.microsoft.com/office/drawing/2014/main" val="144658668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61178678"/>
      </p:ext>
    </p:extLst>
  </p:cSld>
  <p:clrMapOvr>
    <a:masterClrMapping/>
  </p:clrMapOvr>
</p:sld>
</file>

<file path=ppt/slides/slide6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48357367"/>
      </p:ext>
    </p:extLst>
  </p:cSld>
  <p:clrMapOvr>
    <a:masterClrMapping/>
  </p:clrMapOvr>
</p:sld>
</file>

<file path=ppt/slides/slide6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99781474"/>
      </p:ext>
    </p:extLst>
  </p:cSld>
  <p:clrMapOvr>
    <a:masterClrMapping/>
  </p:clrMapOvr>
</p:sld>
</file>

<file path=ppt/slides/slide6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200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87922233"/>
      </p:ext>
    </p:extLst>
  </p:cSld>
  <p:clrMapOvr>
    <a:masterClrMapping/>
  </p:clrMapOvr>
</p:sld>
</file>

<file path=ppt/slides/slide6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92215795"/>
      </p:ext>
    </p:extLst>
  </p:cSld>
  <p:clrMapOvr>
    <a:masterClrMapping/>
  </p:clrMapOvr>
</p:sld>
</file>

<file path=ppt/slides/slide6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90537200"/>
      </p:ext>
    </p:extLst>
  </p:cSld>
  <p:clrMapOvr>
    <a:masterClrMapping/>
  </p:clrMapOvr>
</p:sld>
</file>

<file path=ppt/slides/slide6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8"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816461">
                  <a:extLst>
                    <a:ext uri="{9D8B030D-6E8A-4147-A177-3AD203B41FA5}">
                      <a16:colId xmlns:a16="http://schemas.microsoft.com/office/drawing/2014/main" val="2678984805"/>
                    </a:ext>
                  </a:extLst>
                </a:gridCol>
                <a:gridCol w="816461">
                  <a:extLst>
                    <a:ext uri="{9D8B030D-6E8A-4147-A177-3AD203B41FA5}">
                      <a16:colId xmlns:a16="http://schemas.microsoft.com/office/drawing/2014/main" val="4077376227"/>
                    </a:ext>
                  </a:extLst>
                </a:gridCol>
                <a:gridCol w="816461">
                  <a:extLst>
                    <a:ext uri="{9D8B030D-6E8A-4147-A177-3AD203B41FA5}">
                      <a16:colId xmlns:a16="http://schemas.microsoft.com/office/drawing/2014/main" val="3143555463"/>
                    </a:ext>
                  </a:extLst>
                </a:gridCol>
                <a:gridCol w="816461">
                  <a:extLst>
                    <a:ext uri="{9D8B030D-6E8A-4147-A177-3AD203B41FA5}">
                      <a16:colId xmlns:a16="http://schemas.microsoft.com/office/drawing/2014/main" val="2159604574"/>
                    </a:ext>
                  </a:extLst>
                </a:gridCol>
                <a:gridCol w="816461">
                  <a:extLst>
                    <a:ext uri="{9D8B030D-6E8A-4147-A177-3AD203B41FA5}">
                      <a16:colId xmlns:a16="http://schemas.microsoft.com/office/drawing/2014/main" val="3312290703"/>
                    </a:ext>
                  </a:extLst>
                </a:gridCol>
                <a:gridCol w="816461">
                  <a:extLst>
                    <a:ext uri="{9D8B030D-6E8A-4147-A177-3AD203B41FA5}">
                      <a16:colId xmlns:a16="http://schemas.microsoft.com/office/drawing/2014/main" val="2664114771"/>
                    </a:ext>
                  </a:extLst>
                </a:gridCol>
                <a:gridCol w="816461">
                  <a:extLst>
                    <a:ext uri="{9D8B030D-6E8A-4147-A177-3AD203B41FA5}">
                      <a16:colId xmlns:a16="http://schemas.microsoft.com/office/drawing/2014/main" val="1768673043"/>
                    </a:ext>
                  </a:extLst>
                </a:gridCol>
                <a:gridCol w="816461">
                  <a:extLst>
                    <a:ext uri="{9D8B030D-6E8A-4147-A177-3AD203B41FA5}">
                      <a16:colId xmlns:a16="http://schemas.microsoft.com/office/drawing/2014/main" val="3541755291"/>
                    </a:ext>
                  </a:extLst>
                </a:gridCol>
                <a:gridCol w="816461">
                  <a:extLst>
                    <a:ext uri="{9D8B030D-6E8A-4147-A177-3AD203B41FA5}">
                      <a16:colId xmlns:a16="http://schemas.microsoft.com/office/drawing/2014/main" val="288087056"/>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0583313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139870" y="1387069"/>
            <a:ext cx="1187769" cy="1905643"/>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92712"/>
            <a:ext cx="3562882" cy="1068997"/>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139870" y="3292712"/>
            <a:ext cx="1187769" cy="106899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3562882" cy="190564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55078591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NICOLAS VC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9271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70152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570084344"/>
      </p:ext>
    </p:extLst>
  </p:cSld>
  <p:clrMapOvr>
    <a:masterClrMapping/>
  </p:clrMapOvr>
</p:sld>
</file>

<file path=ppt/slides/slide6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02148833"/>
      </p:ext>
    </p:extLst>
  </p:cSld>
  <p:clrMapOvr>
    <a:masterClrMapping/>
  </p:clrMapOvr>
</p:sld>
</file>

<file path=ppt/slides/slide6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58066699"/>
      </p:ext>
    </p:extLst>
  </p:cSld>
  <p:clrMapOvr>
    <a:masterClrMapping/>
  </p:clrMapOvr>
</p:sld>
</file>

<file path=ppt/slides/slide6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46550730"/>
      </p:ext>
    </p:extLst>
  </p:cSld>
  <p:clrMapOvr>
    <a:masterClrMapping/>
  </p:clrMapOvr>
</p:sld>
</file>

<file path=ppt/slides/slide6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953713"/>
      </p:ext>
    </p:extLst>
  </p:cSld>
  <p:clrMapOvr>
    <a:masterClrMapping/>
  </p:clrMapOvr>
</p:sld>
</file>

<file path=ppt/slides/slide6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22953634"/>
      </p:ext>
    </p:extLst>
  </p:cSld>
  <p:clrMapOvr>
    <a:masterClrMapping/>
  </p:clrMapOvr>
</p:sld>
</file>

<file path=ppt/slides/slide6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44510390"/>
      </p:ext>
    </p:extLst>
  </p:cSld>
  <p:clrMapOvr>
    <a:masterClrMapping/>
  </p:clrMapOvr>
</p:sld>
</file>

<file path=ppt/slides/slide6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200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 BS E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46836188"/>
      </p:ext>
    </p:extLst>
  </p:cSld>
  <p:clrMapOvr>
    <a:masterClrMapping/>
  </p:clrMapOvr>
</p:sld>
</file>

<file path=ppt/slides/slide6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200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 BS E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04954082"/>
      </p:ext>
    </p:extLst>
  </p:cSld>
  <p:clrMapOvr>
    <a:masterClrMapping/>
  </p:clrMapOvr>
</p:sld>
</file>

<file path=ppt/slides/slide6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200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 BS E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72308919"/>
      </p:ext>
    </p:extLst>
  </p:cSld>
  <p:clrMapOvr>
    <a:masterClrMapping/>
  </p:clrMapOvr>
</p:sld>
</file>

<file path=ppt/slides/slide6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200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2199945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142737" y="1387069"/>
            <a:ext cx="1184902" cy="191108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98158"/>
            <a:ext cx="3565749" cy="106355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142737" y="3298158"/>
            <a:ext cx="1184902" cy="106355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3565749" cy="191108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60856083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NICOLA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9815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704394"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602031935"/>
      </p:ext>
    </p:extLst>
  </p:cSld>
  <p:clrMapOvr>
    <a:masterClrMapping/>
  </p:clrMapOvr>
</p:sld>
</file>

<file path=ppt/slides/slide6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200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78514479"/>
      </p:ext>
    </p:extLst>
  </p:cSld>
  <p:clrMapOvr>
    <a:masterClrMapping/>
  </p:clrMapOvr>
</p:sld>
</file>

<file path=ppt/slides/slide6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5056781"/>
      </p:ext>
    </p:extLst>
  </p:cSld>
  <p:clrMapOvr>
    <a:masterClrMapping/>
  </p:clrMapOvr>
</p:sld>
</file>

<file path=ppt/slides/slide6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200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 BS E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19610903"/>
      </p:ext>
    </p:extLst>
  </p:cSld>
  <p:clrMapOvr>
    <a:masterClrMapping/>
  </p:clrMapOvr>
</p:sld>
</file>

<file path=ppt/slides/slide6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200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95885814"/>
      </p:ext>
    </p:extLst>
  </p:cSld>
  <p:clrMapOvr>
    <a:masterClrMapping/>
  </p:clrMapOvr>
</p:sld>
</file>

<file path=ppt/slides/slide6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01013604"/>
      </p:ext>
    </p:extLst>
  </p:cSld>
  <p:clrMapOvr>
    <a:masterClrMapping/>
  </p:clrMapOvr>
</p:sld>
</file>

<file path=ppt/slides/slide6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200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18952836"/>
      </p:ext>
    </p:extLst>
  </p:cSld>
  <p:clrMapOvr>
    <a:masterClrMapping/>
  </p:clrMapOvr>
</p:sld>
</file>

<file path=ppt/slides/slide6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95411771"/>
      </p:ext>
    </p:extLst>
  </p:cSld>
  <p:clrMapOvr>
    <a:masterClrMapping/>
  </p:clrMapOvr>
</p:sld>
</file>

<file path=ppt/slides/slide6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200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8320261"/>
      </p:ext>
    </p:extLst>
  </p:cSld>
  <p:clrMapOvr>
    <a:masterClrMapping/>
  </p:clrMapOvr>
</p:sld>
</file>

<file path=ppt/slides/slide6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200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21012080"/>
      </p:ext>
    </p:extLst>
  </p:cSld>
  <p:clrMapOvr>
    <a:masterClrMapping/>
  </p:clrMapOvr>
</p:sld>
</file>

<file path=ppt/slides/slide6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200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5737683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116914" y="1387069"/>
            <a:ext cx="1210725" cy="190580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92873"/>
            <a:ext cx="3539926" cy="106883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116914" y="3292873"/>
            <a:ext cx="1210725" cy="106883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3539926" cy="190580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01227443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NICOLAS QC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9287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678571"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867513057"/>
      </p:ext>
    </p:extLst>
  </p:cSld>
  <p:clrMapOvr>
    <a:masterClrMapping/>
  </p:clrMapOvr>
</p:sld>
</file>

<file path=ppt/slides/slide6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200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 BS E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59353600"/>
      </p:ext>
    </p:extLst>
  </p:cSld>
  <p:clrMapOvr>
    <a:masterClrMapping/>
  </p:clrMapOvr>
</p:sld>
</file>

<file path=ppt/slides/slide6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200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2313664"/>
      </p:ext>
    </p:extLst>
  </p:cSld>
  <p:clrMapOvr>
    <a:masterClrMapping/>
  </p:clrMapOvr>
</p:sld>
</file>

<file path=ppt/slides/slide6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RE CUVE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 ET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03995944"/>
      </p:ext>
    </p:extLst>
  </p:cSld>
  <p:clrMapOvr>
    <a:masterClrMapping/>
  </p:clrMapOvr>
</p:sld>
</file>

<file path=ppt/slides/slide6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RE CUVE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 ET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14223631"/>
      </p:ext>
    </p:extLst>
  </p:cSld>
  <p:clrMapOvr>
    <a:masterClrMapping/>
  </p:clrMapOvr>
</p:sld>
</file>

<file path=ppt/slides/slide6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RE CUVE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 ET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51812652"/>
      </p:ext>
    </p:extLst>
  </p:cSld>
  <p:clrMapOvr>
    <a:masterClrMapping/>
  </p:clrMapOvr>
</p:sld>
</file>

<file path=ppt/slides/slide6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RE CUVE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2768347"/>
      </p:ext>
    </p:extLst>
  </p:cSld>
  <p:clrMapOvr>
    <a:masterClrMapping/>
  </p:clrMapOvr>
</p:sld>
</file>

<file path=ppt/slides/slide6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86147964"/>
      </p:ext>
    </p:extLst>
  </p:cSld>
  <p:clrMapOvr>
    <a:masterClrMapping/>
  </p:clrMapOvr>
</p:sld>
</file>

<file path=ppt/slides/slide6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31915974"/>
      </p:ext>
    </p:extLst>
  </p:cSld>
  <p:clrMapOvr>
    <a:masterClrMapping/>
  </p:clrMapOvr>
</p:sld>
</file>

<file path=ppt/slides/slide6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RE CUVE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 ET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89358884"/>
      </p:ext>
    </p:extLst>
  </p:cSld>
  <p:clrMapOvr>
    <a:masterClrMapping/>
  </p:clrMapOvr>
</p:sld>
</file>

<file path=ppt/slides/slide6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RE CUVE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586809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258405" y="1387069"/>
            <a:ext cx="1069234" cy="193750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324576"/>
            <a:ext cx="3681417" cy="103713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258405" y="3324576"/>
            <a:ext cx="1069234" cy="103713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3681417" cy="193750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11586854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NICOLAS QCA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32457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82006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016987637"/>
      </p:ext>
    </p:extLst>
  </p:cSld>
  <p:clrMapOvr>
    <a:masterClrMapping/>
  </p:clrMapOvr>
</p:sld>
</file>

<file path=ppt/slides/slide6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RE CUVE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75537556"/>
      </p:ext>
    </p:extLst>
  </p:cSld>
  <p:clrMapOvr>
    <a:masterClrMapping/>
  </p:clrMapOvr>
</p:sld>
</file>

<file path=ppt/slides/slide6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64420114"/>
      </p:ext>
    </p:extLst>
  </p:cSld>
  <p:clrMapOvr>
    <a:masterClrMapping/>
  </p:clrMapOvr>
</p:sld>
</file>

<file path=ppt/slides/slide6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07673009"/>
      </p:ext>
    </p:extLst>
  </p:cSld>
  <p:clrMapOvr>
    <a:masterClrMapping/>
  </p:clrMapOvr>
</p:sld>
</file>

<file path=ppt/slides/slide6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RE CUVE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41291543"/>
      </p:ext>
    </p:extLst>
  </p:cSld>
  <p:clrMapOvr>
    <a:masterClrMapping/>
  </p:clrMapOvr>
</p:sld>
</file>

<file path=ppt/slides/slide6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RE CUVE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83218082"/>
      </p:ext>
    </p:extLst>
  </p:cSld>
  <p:clrMapOvr>
    <a:masterClrMapping/>
  </p:clrMapOvr>
</p:sld>
</file>

<file path=ppt/slides/slide6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RE CUVE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 ET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25777970"/>
      </p:ext>
    </p:extLst>
  </p:cSld>
  <p:clrMapOvr>
    <a:masterClrMapping/>
  </p:clrMapOvr>
</p:sld>
</file>

<file path=ppt/slides/slide6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RE CUVE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 ET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3435396"/>
      </p:ext>
    </p:extLst>
  </p:cSld>
  <p:clrMapOvr>
    <a:masterClrMapping/>
  </p:clrMapOvr>
</p:sld>
</file>

<file path=ppt/slides/slide6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RE CUVE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 ET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36231468"/>
      </p:ext>
    </p:extLst>
  </p:cSld>
  <p:clrMapOvr>
    <a:masterClrMapping/>
  </p:clrMapOvr>
</p:sld>
</file>

<file path=ppt/slides/slide6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rus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 CRU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83290409"/>
      </p:ext>
    </p:extLst>
  </p:cSld>
  <p:clrMapOvr>
    <a:masterClrMapping/>
  </p:clrMapOvr>
</p:sld>
</file>

<file path=ppt/slides/slide6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ru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 CRU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7974074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106464" y="1387069"/>
            <a:ext cx="1221175" cy="190921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96287"/>
            <a:ext cx="3529476" cy="106542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106464" y="3296287"/>
            <a:ext cx="1221175" cy="106542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3529476" cy="190921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5888059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NICOLAS RHO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9628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668121"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376738233"/>
      </p:ext>
    </p:extLst>
  </p:cSld>
  <p:clrMapOvr>
    <a:masterClrMapping/>
  </p:clrMapOvr>
</p:sld>
</file>

<file path=ppt/slides/slide6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rus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 CRU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42612315"/>
      </p:ext>
    </p:extLst>
  </p:cSld>
  <p:clrMapOvr>
    <a:masterClrMapping/>
  </p:clrMapOvr>
</p:sld>
</file>

<file path=ppt/slides/slide6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rus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80029774"/>
      </p:ext>
    </p:extLst>
  </p:cSld>
  <p:clrMapOvr>
    <a:masterClrMapping/>
  </p:clrMapOvr>
</p:sld>
</file>

<file path=ppt/slides/slide6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ru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07830124"/>
      </p:ext>
    </p:extLst>
  </p:cSld>
  <p:clrMapOvr>
    <a:masterClrMapping/>
  </p:clrMapOvr>
</p:sld>
</file>

<file path=ppt/slides/slide6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ru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68824277"/>
      </p:ext>
    </p:extLst>
  </p:cSld>
  <p:clrMapOvr>
    <a:masterClrMapping/>
  </p:clrMapOvr>
</p:sld>
</file>

<file path=ppt/slides/slide6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rus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 CRU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56015581"/>
      </p:ext>
    </p:extLst>
  </p:cSld>
  <p:clrMapOvr>
    <a:masterClrMapping/>
  </p:clrMapOvr>
</p:sld>
</file>

<file path=ppt/slides/slide6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rus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89154252"/>
      </p:ext>
    </p:extLst>
  </p:cSld>
  <p:clrMapOvr>
    <a:masterClrMapping/>
  </p:clrMapOvr>
</p:sld>
</file>

<file path=ppt/slides/slide6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ru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19003294"/>
      </p:ext>
    </p:extLst>
  </p:cSld>
  <p:clrMapOvr>
    <a:masterClrMapping/>
  </p:clrMapOvr>
</p:sld>
</file>

<file path=ppt/slides/slide6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ru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46943081"/>
      </p:ext>
    </p:extLst>
  </p:cSld>
  <p:clrMapOvr>
    <a:masterClrMapping/>
  </p:clrMapOvr>
</p:sld>
</file>

<file path=ppt/slides/slide6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rus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09365793"/>
      </p:ext>
    </p:extLst>
  </p:cSld>
  <p:clrMapOvr>
    <a:masterClrMapping/>
  </p:clrMapOvr>
</p:sld>
</file>

<file path=ppt/slides/slide6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ru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990945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72292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9997"/>
            <a:ext cx="2375325" cy="125171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109997"/>
            <a:ext cx="2375326" cy="125171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72292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50868193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Brut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999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66040283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948884" y="1387069"/>
            <a:ext cx="1378755" cy="193125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318325"/>
            <a:ext cx="3371896" cy="104338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948884" y="3318325"/>
            <a:ext cx="1378755" cy="104338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3371896" cy="193125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02847715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NICOLAS ES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31832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510541"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301985763"/>
      </p:ext>
    </p:extLst>
  </p:cSld>
  <p:clrMapOvr>
    <a:masterClrMapping/>
  </p:clrMapOvr>
</p:sld>
</file>

<file path=ppt/slides/slide7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rus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 CRU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80513844"/>
      </p:ext>
    </p:extLst>
  </p:cSld>
  <p:clrMapOvr>
    <a:masterClrMapping/>
  </p:clrMapOvr>
</p:sld>
</file>

<file path=ppt/slides/slide7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rus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 CRU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92184003"/>
      </p:ext>
    </p:extLst>
  </p:cSld>
  <p:clrMapOvr>
    <a:masterClrMapping/>
  </p:clrMapOvr>
</p:sld>
</file>

<file path=ppt/slides/slide7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E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 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85242706"/>
      </p:ext>
    </p:extLst>
  </p:cSld>
  <p:clrMapOvr>
    <a:masterClrMapping/>
  </p:clrMapOvr>
</p:sld>
</file>

<file path=ppt/slides/slide7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E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 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23911627"/>
      </p:ext>
    </p:extLst>
  </p:cSld>
  <p:clrMapOvr>
    <a:masterClrMapping/>
  </p:clrMapOvr>
</p:sld>
</file>

<file path=ppt/slides/slide7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E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 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63282021"/>
      </p:ext>
    </p:extLst>
  </p:cSld>
  <p:clrMapOvr>
    <a:masterClrMapping/>
  </p:clrMapOvr>
</p:sld>
</file>

<file path=ppt/slides/slide7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01814892"/>
      </p:ext>
    </p:extLst>
  </p:cSld>
  <p:clrMapOvr>
    <a:masterClrMapping/>
  </p:clrMapOvr>
</p:sld>
</file>

<file path=ppt/slides/slide7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38435091"/>
      </p:ext>
    </p:extLst>
  </p:cSld>
  <p:clrMapOvr>
    <a:masterClrMapping/>
  </p:clrMapOvr>
</p:sld>
</file>

<file path=ppt/slides/slide7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32501251"/>
      </p:ext>
    </p:extLst>
  </p:cSld>
  <p:clrMapOvr>
    <a:masterClrMapping/>
  </p:clrMapOvr>
</p:sld>
</file>

<file path=ppt/slides/slide7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E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 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65463994"/>
      </p:ext>
    </p:extLst>
  </p:cSld>
  <p:clrMapOvr>
    <a:masterClrMapping/>
  </p:clrMapOvr>
</p:sld>
</file>

<file path=ppt/slides/slide7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6067424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131581" y="1387069"/>
            <a:ext cx="1196058" cy="189863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85699"/>
            <a:ext cx="3554593" cy="107601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131581" y="3285699"/>
            <a:ext cx="1196058" cy="107601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3554593" cy="189863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02276071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NICOLAS AQU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8569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69323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494674710"/>
      </p:ext>
    </p:extLst>
  </p:cSld>
  <p:clrMapOvr>
    <a:masterClrMapping/>
  </p:clrMapOvr>
</p:sld>
</file>

<file path=ppt/slides/slide7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66227821"/>
      </p:ext>
    </p:extLst>
  </p:cSld>
  <p:clrMapOvr>
    <a:masterClrMapping/>
  </p:clrMapOvr>
</p:sld>
</file>

<file path=ppt/slides/slide7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31975951"/>
      </p:ext>
    </p:extLst>
  </p:cSld>
  <p:clrMapOvr>
    <a:masterClrMapping/>
  </p:clrMapOvr>
</p:sld>
</file>

<file path=ppt/slides/slide7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08758524"/>
      </p:ext>
    </p:extLst>
  </p:cSld>
  <p:clrMapOvr>
    <a:masterClrMapping/>
  </p:clrMapOvr>
</p:sld>
</file>

<file path=ppt/slides/slide7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E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70944006"/>
      </p:ext>
    </p:extLst>
  </p:cSld>
  <p:clrMapOvr>
    <a:masterClrMapping/>
  </p:clrMapOvr>
</p:sld>
</file>

<file path=ppt/slides/slide7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E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88864060"/>
      </p:ext>
    </p:extLst>
  </p:cSld>
  <p:clrMapOvr>
    <a:masterClrMapping/>
  </p:clrMapOvr>
</p:sld>
</file>

<file path=ppt/slides/slide7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E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 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88156725"/>
      </p:ext>
    </p:extLst>
  </p:cSld>
  <p:clrMapOvr>
    <a:masterClrMapping/>
  </p:clrMapOvr>
</p:sld>
</file>

<file path=ppt/slides/slide7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 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37666312"/>
      </p:ext>
    </p:extLst>
  </p:cSld>
  <p:clrMapOvr>
    <a:masterClrMapping/>
  </p:clrMapOvr>
</p:sld>
</file>

<file path=ppt/slides/slide7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E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 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68546920"/>
      </p:ext>
    </p:extLst>
  </p:cSld>
  <p:clrMapOvr>
    <a:masterClrMapping/>
  </p:clrMapOvr>
</p:sld>
</file>

<file path=ppt/slides/slide7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NICOLAS CC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3664739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79736796"/>
      </p:ext>
    </p:extLst>
  </p:cSld>
  <p:clrMapOvr>
    <a:masterClrMapping/>
  </p:clrMapOvr>
</p:sld>
</file>

<file path=ppt/slides/slide7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NICOLAS QC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08292887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2996350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124490" y="1387069"/>
            <a:ext cx="1203149" cy="190765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94721"/>
            <a:ext cx="3547502" cy="106698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124490" y="3294721"/>
            <a:ext cx="1203149" cy="106698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3547502" cy="190765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2911336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CA B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9472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68614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794359040"/>
      </p:ext>
    </p:extLst>
  </p:cSld>
  <p:clrMapOvr>
    <a:masterClrMapping/>
  </p:clrMapOvr>
</p:sld>
</file>

<file path=ppt/slides/slide7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NICOLAS PA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2864178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749861265"/>
      </p:ext>
    </p:extLst>
  </p:cSld>
  <p:clrMapOvr>
    <a:masterClrMapping/>
  </p:clrMapOvr>
</p:sld>
</file>

<file path=ppt/slides/slide7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NICOLAS IDF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187303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42974599"/>
      </p:ext>
    </p:extLst>
  </p:cSld>
  <p:clrMapOvr>
    <a:masterClrMapping/>
  </p:clrMapOvr>
</p:sld>
</file>

<file path=ppt/slides/slide7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NICOLAS QC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845173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20650305"/>
      </p:ext>
    </p:extLst>
  </p:cSld>
  <p:clrMapOvr>
    <a:masterClrMapping/>
  </p:clrMapOvr>
</p:sld>
</file>

<file path=ppt/slides/slide7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NICOLA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8339171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354760668"/>
      </p:ext>
    </p:extLst>
  </p:cSld>
  <p:clrMapOvr>
    <a:masterClrMapping/>
  </p:clrMapOvr>
</p:sld>
</file>

<file path=ppt/slides/slide7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NICOLAS Q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5101499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68705744"/>
      </p:ext>
    </p:extLst>
  </p:cSld>
  <p:clrMapOvr>
    <a:masterClrMapping/>
  </p:clrMapOvr>
</p:sld>
</file>

<file path=ppt/slides/slide7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NICOLAS V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420042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49821197"/>
      </p:ext>
    </p:extLst>
  </p:cSld>
  <p:clrMapOvr>
    <a:masterClrMapping/>
  </p:clrMapOvr>
</p:sld>
</file>

<file path=ppt/slides/slide7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NICOLAS RHO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5012949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549127041"/>
      </p:ext>
    </p:extLst>
  </p:cSld>
  <p:clrMapOvr>
    <a:masterClrMapping/>
  </p:clrMapOvr>
</p:sld>
</file>

<file path=ppt/slides/slide7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NICOLAS ES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6309795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855850695"/>
      </p:ext>
    </p:extLst>
  </p:cSld>
  <p:clrMapOvr>
    <a:masterClrMapping/>
  </p:clrMapOvr>
</p:sld>
</file>

<file path=ppt/slides/slide7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NICOLAS AQ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625389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24659733"/>
      </p:ext>
    </p:extLst>
  </p:cSld>
  <p:clrMapOvr>
    <a:masterClrMapping/>
  </p:clrMapOvr>
</p:sld>
</file>

<file path=ppt/slides/slide7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CA 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04546293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69422484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196337" y="1387069"/>
            <a:ext cx="1131302" cy="192143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308503"/>
            <a:ext cx="3619349" cy="105320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196337" y="3308503"/>
            <a:ext cx="1131302" cy="105320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3619349" cy="192143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58586339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CA A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30850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757994"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5938314"/>
      </p:ext>
    </p:extLst>
  </p:cSld>
  <p:clrMapOvr>
    <a:masterClrMapping/>
  </p:clrMapOvr>
</p:sld>
</file>

<file path=ppt/slides/slide7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CA 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25690345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721837968"/>
      </p:ext>
    </p:extLst>
  </p:cSld>
  <p:clrMapOvr>
    <a:masterClrMapping/>
  </p:clrMapOvr>
</p:sld>
</file>

<file path=ppt/slides/slide7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CA 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21463404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911682351"/>
      </p:ext>
    </p:extLst>
  </p:cSld>
  <p:clrMapOvr>
    <a:masterClrMapping/>
  </p:clrMapOvr>
</p:sld>
</file>

<file path=ppt/slides/slide7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CA 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3300929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81576265"/>
      </p:ext>
    </p:extLst>
  </p:cSld>
  <p:clrMapOvr>
    <a:masterClrMapping/>
  </p:clrMapOvr>
</p:sld>
</file>

<file path=ppt/slides/slide7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CA B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74467189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67769980"/>
      </p:ext>
    </p:extLst>
  </p:cSld>
  <p:clrMapOvr>
    <a:masterClrMapping/>
  </p:clrMapOvr>
</p:sld>
</file>

<file path=ppt/slides/slide7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NICOLAS Q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75659107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33153103"/>
      </p:ext>
    </p:extLst>
  </p:cSld>
  <p:clrMapOvr>
    <a:masterClrMapping/>
  </p:clrMapOvr>
</p:sld>
</file>

<file path=ppt/slides/slide7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NICOLA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3364442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9696133"/>
      </p:ext>
    </p:extLst>
  </p:cSld>
  <p:clrMapOvr>
    <a:masterClrMapping/>
  </p:clrMapOvr>
</p:sld>
</file>

<file path=ppt/slides/slide7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NICOLAS V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154878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3255152"/>
      </p:ext>
    </p:extLst>
  </p:cSld>
  <p:clrMapOvr>
    <a:masterClrMapping/>
  </p:clrMapOvr>
</p:sld>
</file>

<file path=ppt/slides/slide7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NICOLAS CC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5669914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89248979"/>
      </p:ext>
    </p:extLst>
  </p:cSld>
  <p:clrMapOvr>
    <a:masterClrMapping/>
  </p:clrMapOvr>
</p:sld>
</file>

<file path=ppt/slides/slide7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NICOLAS QC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99205857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39489974"/>
      </p:ext>
    </p:extLst>
  </p:cSld>
  <p:clrMapOvr>
    <a:masterClrMapping/>
  </p:clrMapOvr>
</p:sld>
</file>

<file path=ppt/slides/slide7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NICOLAS QC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3495472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5038664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117328" y="1387069"/>
            <a:ext cx="1210311" cy="190034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87414"/>
            <a:ext cx="3540340" cy="107429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117328" y="3287414"/>
            <a:ext cx="1210311" cy="107429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3540340" cy="190034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41280100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CA D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8741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67898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176340877"/>
      </p:ext>
    </p:extLst>
  </p:cSld>
  <p:clrMapOvr>
    <a:masterClrMapping/>
  </p:clrMapOvr>
</p:sld>
</file>

<file path=ppt/slides/slide7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NICOLAS PA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53463729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52778654"/>
      </p:ext>
    </p:extLst>
  </p:cSld>
  <p:clrMapOvr>
    <a:masterClrMapping/>
  </p:clrMapOvr>
</p:sld>
</file>

<file path=ppt/slides/slide7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NICOLAS IDF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86808504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3316355"/>
      </p:ext>
    </p:extLst>
  </p:cSld>
  <p:clrMapOvr>
    <a:masterClrMapping/>
  </p:clrMapOvr>
</p:sld>
</file>

<file path=ppt/slides/slide7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NICOLAS RHO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92246409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23820356"/>
      </p:ext>
    </p:extLst>
  </p:cSld>
  <p:clrMapOvr>
    <a:masterClrMapping/>
  </p:clrMapOvr>
</p:sld>
</file>

<file path=ppt/slides/slide7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NICOLAS AQ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69891489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107328349"/>
      </p:ext>
    </p:extLst>
  </p:cSld>
  <p:clrMapOvr>
    <a:masterClrMapping/>
  </p:clrMapOvr>
</p:sld>
</file>

<file path=ppt/slides/slide7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NICOLAS ES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1737254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554658736"/>
      </p:ext>
    </p:extLst>
  </p:cSld>
  <p:clrMapOvr>
    <a:masterClrMapping/>
  </p:clrMapOvr>
</p:sld>
</file>

<file path=ppt/slides/slide7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CA 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81456408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59950535"/>
      </p:ext>
    </p:extLst>
  </p:cSld>
  <p:clrMapOvr>
    <a:masterClrMapping/>
  </p:clrMapOvr>
</p:sld>
</file>

<file path=ppt/slides/slide7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CA 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2588169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315021109"/>
      </p:ext>
    </p:extLst>
  </p:cSld>
  <p:clrMapOvr>
    <a:masterClrMapping/>
  </p:clrMapOvr>
</p:sld>
</file>

<file path=ppt/slides/slide7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CA B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6239498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00287673"/>
      </p:ext>
    </p:extLst>
  </p:cSld>
  <p:clrMapOvr>
    <a:masterClrMapping/>
  </p:clrMapOvr>
</p:sld>
</file>

<file path=ppt/slides/slide7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CA 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2017082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015908486"/>
      </p:ext>
    </p:extLst>
  </p:cSld>
  <p:clrMapOvr>
    <a:masterClrMapping/>
  </p:clrMapOvr>
</p:sld>
</file>

<file path=ppt/slides/slide7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CA 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5088802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034069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097631" y="1387069"/>
            <a:ext cx="1230008" cy="189984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86916"/>
            <a:ext cx="3520643" cy="107479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097631" y="3286916"/>
            <a:ext cx="1230008" cy="107479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3520643" cy="189984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7900187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CA 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8691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65928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590516854"/>
      </p:ext>
    </p:extLst>
  </p:cSld>
  <p:clrMapOvr>
    <a:masterClrMapping/>
  </p:clrMapOvr>
</p:sld>
</file>

<file path=ppt/slides/slide7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NICOLAS Q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2533994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543049371"/>
      </p:ext>
    </p:extLst>
  </p:cSld>
  <p:clrMapOvr>
    <a:masterClrMapping/>
  </p:clrMapOvr>
</p:sld>
</file>

<file path=ppt/slides/slide7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NICOLA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9261144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55929944"/>
      </p:ext>
    </p:extLst>
  </p:cSld>
  <p:clrMapOvr>
    <a:masterClrMapping/>
  </p:clrMapOvr>
</p:sld>
</file>

<file path=ppt/slides/slide7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NICOLAS V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994254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99231798"/>
      </p:ext>
    </p:extLst>
  </p:cSld>
  <p:clrMapOvr>
    <a:masterClrMapping/>
  </p:clrMapOvr>
</p:sld>
</file>

<file path=ppt/slides/slide7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NICOLAS QC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90922277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51548760"/>
      </p:ext>
    </p:extLst>
  </p:cSld>
  <p:clrMapOvr>
    <a:masterClrMapping/>
  </p:clrMapOvr>
</p:sld>
</file>

<file path=ppt/slides/slide7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NICOLAS QC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2041043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78879294"/>
      </p:ext>
    </p:extLst>
  </p:cSld>
  <p:clrMapOvr>
    <a:masterClrMapping/>
  </p:clrMapOvr>
</p:sld>
</file>

<file path=ppt/slides/slide7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NICOLAS CC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99707334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428556096"/>
      </p:ext>
    </p:extLst>
  </p:cSld>
  <p:clrMapOvr>
    <a:masterClrMapping/>
  </p:clrMapOvr>
</p:sld>
</file>

<file path=ppt/slides/slide7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NICOLAS IDF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95647607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570798018"/>
      </p:ext>
    </p:extLst>
  </p:cSld>
  <p:clrMapOvr>
    <a:masterClrMapping/>
  </p:clrMapOvr>
</p:sld>
</file>

<file path=ppt/slides/slide7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NICOLAS PA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70186908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637751856"/>
      </p:ext>
    </p:extLst>
  </p:cSld>
  <p:clrMapOvr>
    <a:masterClrMapping/>
  </p:clrMapOvr>
</p:sld>
</file>

<file path=ppt/slides/slide7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NICOLAS ES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0119813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8039545"/>
      </p:ext>
    </p:extLst>
  </p:cSld>
  <p:clrMapOvr>
    <a:masterClrMapping/>
  </p:clrMapOvr>
</p:sld>
</file>

<file path=ppt/slides/slide7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NICOLAS RHO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9124696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18273347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137290" y="1387069"/>
            <a:ext cx="1190349" cy="191396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301031"/>
            <a:ext cx="3560302" cy="106067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137290" y="3301031"/>
            <a:ext cx="1190349" cy="106067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3560302" cy="191396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38724347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CA C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30103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69894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055056301"/>
      </p:ext>
    </p:extLst>
  </p:cSld>
  <p:clrMapOvr>
    <a:masterClrMapping/>
  </p:clrMapOvr>
</p:sld>
</file>

<file path=ppt/slides/slide7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NICOLAS AQ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7238947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35664716"/>
      </p:ext>
    </p:extLst>
  </p:cSld>
  <p:clrMapOvr>
    <a:masterClrMapping/>
  </p:clrMapOvr>
</p:sld>
</file>

<file path=ppt/slides/slide7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CA 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9963122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725859298"/>
      </p:ext>
    </p:extLst>
  </p:cSld>
  <p:clrMapOvr>
    <a:masterClrMapping/>
  </p:clrMapOvr>
</p:sld>
</file>

<file path=ppt/slides/slide7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CA B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20548256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111474520"/>
      </p:ext>
    </p:extLst>
  </p:cSld>
  <p:clrMapOvr>
    <a:masterClrMapping/>
  </p:clrMapOvr>
</p:sld>
</file>

<file path=ppt/slides/slide7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CA 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810566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891754603"/>
      </p:ext>
    </p:extLst>
  </p:cSld>
  <p:clrMapOvr>
    <a:masterClrMapping/>
  </p:clrMapOvr>
</p:sld>
</file>

<file path=ppt/slides/slide7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CA 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78450376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176262559"/>
      </p:ext>
    </p:extLst>
  </p:cSld>
  <p:clrMapOvr>
    <a:masterClrMapping/>
  </p:clrMapOvr>
</p:sld>
</file>

<file path=ppt/slides/slide7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CA 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9608453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74461953"/>
      </p:ext>
    </p:extLst>
  </p:cSld>
  <p:clrMapOvr>
    <a:masterClrMapping/>
  </p:clrMapOvr>
</p:sld>
</file>

<file path=ppt/slides/slide7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NICOLAS V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07743318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47289368"/>
      </p:ext>
    </p:extLst>
  </p:cSld>
  <p:clrMapOvr>
    <a:masterClrMapping/>
  </p:clrMapOvr>
</p:sld>
</file>

<file path=ppt/slides/slide7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NICOLA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8011920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56497121"/>
      </p:ext>
    </p:extLst>
  </p:cSld>
  <p:clrMapOvr>
    <a:masterClrMapping/>
  </p:clrMapOvr>
</p:sld>
</file>

<file path=ppt/slides/slide7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NICOLAS Q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3877105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16586946"/>
      </p:ext>
    </p:extLst>
  </p:cSld>
  <p:clrMapOvr>
    <a:masterClrMapping/>
  </p:clrMapOvr>
</p:sld>
</file>

<file path=ppt/slides/slide7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NICOLAS QC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82862257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59362364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681201" y="1387069"/>
            <a:ext cx="3646438" cy="189904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86118"/>
            <a:ext cx="1104213" cy="107559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681201" y="3286118"/>
            <a:ext cx="3646438" cy="107559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104213" cy="189904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3007177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Effervescents | Malard Nicolas | NICOLAS PAC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8611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24285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922929296"/>
      </p:ext>
    </p:extLst>
  </p:cSld>
  <p:clrMapOvr>
    <a:masterClrMapping/>
  </p:clrMapOvr>
</p:sld>
</file>

<file path=ppt/slides/slide7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NICOLAS QC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8543191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09690099"/>
      </p:ext>
    </p:extLst>
  </p:cSld>
  <p:clrMapOvr>
    <a:masterClrMapping/>
  </p:clrMapOvr>
</p:sld>
</file>

<file path=ppt/slides/slide7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NICOLAS CC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71184501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72117200"/>
      </p:ext>
    </p:extLst>
  </p:cSld>
  <p:clrMapOvr>
    <a:masterClrMapping/>
  </p:clrMapOvr>
</p:sld>
</file>

<file path=ppt/slides/slide7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NICOLAS IDF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1677873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553424345"/>
      </p:ext>
    </p:extLst>
  </p:cSld>
  <p:clrMapOvr>
    <a:masterClrMapping/>
  </p:clrMapOvr>
</p:sld>
</file>

<file path=ppt/slides/slide7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NICOLAS PA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2107402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57125978"/>
      </p:ext>
    </p:extLst>
  </p:cSld>
  <p:clrMapOvr>
    <a:masterClrMapping/>
  </p:clrMapOvr>
</p:sld>
</file>

<file path=ppt/slides/slide7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NICOLAS RHO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41975519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45732994"/>
      </p:ext>
    </p:extLst>
  </p:cSld>
  <p:clrMapOvr>
    <a:masterClrMapping/>
  </p:clrMapOvr>
</p:sld>
</file>

<file path=ppt/slides/slide7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NICOLAS ES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00301529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100606106"/>
      </p:ext>
    </p:extLst>
  </p:cSld>
  <p:clrMapOvr>
    <a:masterClrMapping/>
  </p:clrMapOvr>
</p:sld>
</file>

<file path=ppt/slides/slide7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NICOLAS AQ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0540089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34632104"/>
      </p:ext>
    </p:extLst>
  </p:cSld>
  <p:clrMapOvr>
    <a:masterClrMapping/>
  </p:clrMapOvr>
</p:sld>
</file>

<file path=ppt/slides/slide7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CA 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9283840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75555863"/>
      </p:ext>
    </p:extLst>
  </p:cSld>
  <p:clrMapOvr>
    <a:masterClrMapping/>
  </p:clrMapOvr>
</p:sld>
</file>

<file path=ppt/slides/slide7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CA B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21412471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19912054"/>
      </p:ext>
    </p:extLst>
  </p:cSld>
  <p:clrMapOvr>
    <a:masterClrMapping/>
  </p:clrMapOvr>
</p:sld>
</file>

<file path=ppt/slides/slide7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CA 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6890358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85665178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928712" y="1387069"/>
            <a:ext cx="3398927" cy="188447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71541"/>
            <a:ext cx="1351724" cy="109016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928712" y="3271541"/>
            <a:ext cx="3398927" cy="109016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351724" cy="188447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57437085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Effervescents | Malard Nicolas | NICOLAS CC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7154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49036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874779235"/>
      </p:ext>
    </p:extLst>
  </p:cSld>
  <p:clrMapOvr>
    <a:masterClrMapping/>
  </p:clrMapOvr>
</p:sld>
</file>

<file path=ppt/slides/slide7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CA 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5540426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19110135"/>
      </p:ext>
    </p:extLst>
  </p:cSld>
  <p:clrMapOvr>
    <a:masterClrMapping/>
  </p:clrMapOvr>
</p:sld>
</file>

<file path=ppt/slides/slide7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CA 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8092455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64506797"/>
      </p:ext>
    </p:extLst>
  </p:cSld>
  <p:clrMapOvr>
    <a:masterClrMapping/>
  </p:clrMapOvr>
</p:sld>
</file>

<file path=ppt/slides/slide7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rus | NICOLAS V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7040081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420708702"/>
      </p:ext>
    </p:extLst>
  </p:cSld>
  <p:clrMapOvr>
    <a:masterClrMapping/>
  </p:clrMapOvr>
</p:sld>
</file>

<file path=ppt/slides/slide7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rus | NICOLAS Q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92149673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60355073"/>
      </p:ext>
    </p:extLst>
  </p:cSld>
  <p:clrMapOvr>
    <a:masterClrMapping/>
  </p:clrMapOvr>
</p:sld>
</file>

<file path=ppt/slides/slide7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rus | NICOLA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38215080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574379456"/>
      </p:ext>
    </p:extLst>
  </p:cSld>
  <p:clrMapOvr>
    <a:masterClrMapping/>
  </p:clrMapOvr>
</p:sld>
</file>

<file path=ppt/slides/slide7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rus | NICOLAS QC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270176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147327066"/>
      </p:ext>
    </p:extLst>
  </p:cSld>
  <p:clrMapOvr>
    <a:masterClrMapping/>
  </p:clrMapOvr>
</p:sld>
</file>

<file path=ppt/slides/slide7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rus | NICOLAS QC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7726129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20983746"/>
      </p:ext>
    </p:extLst>
  </p:cSld>
  <p:clrMapOvr>
    <a:masterClrMapping/>
  </p:clrMapOvr>
</p:sld>
</file>

<file path=ppt/slides/slide7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rus | NICOLAS PA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4752640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169213454"/>
      </p:ext>
    </p:extLst>
  </p:cSld>
  <p:clrMapOvr>
    <a:masterClrMapping/>
  </p:clrMapOvr>
</p:sld>
</file>

<file path=ppt/slides/slide7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rus | NICOLAS IDF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30532188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130241867"/>
      </p:ext>
    </p:extLst>
  </p:cSld>
  <p:clrMapOvr>
    <a:masterClrMapping/>
  </p:clrMapOvr>
</p:sld>
</file>

<file path=ppt/slides/slide7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rus | NICOLAS AQ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85674501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4948820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766340" y="1387069"/>
            <a:ext cx="3561299" cy="188255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69625"/>
            <a:ext cx="1189352" cy="109208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766340" y="3269625"/>
            <a:ext cx="3561299" cy="109208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189352" cy="188255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68201912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Effervescents | Malard Nicolas | NICOLAS QC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6962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32799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330435062"/>
      </p:ext>
    </p:extLst>
  </p:cSld>
  <p:clrMapOvr>
    <a:masterClrMapping/>
  </p:clrMapOvr>
</p:sld>
</file>

<file path=ppt/slides/slide7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rus | NICOLAS RHO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1070438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794860956"/>
      </p:ext>
    </p:extLst>
  </p:cSld>
  <p:clrMapOvr>
    <a:masterClrMapping/>
  </p:clrMapOvr>
</p:sld>
</file>

<file path=ppt/slides/slide7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rus | CA 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0773968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602375707"/>
      </p:ext>
    </p:extLst>
  </p:cSld>
  <p:clrMapOvr>
    <a:masterClrMapping/>
  </p:clrMapOvr>
</p:sld>
</file>

<file path=ppt/slides/slide7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rus | CA B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6064288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67030912"/>
      </p:ext>
    </p:extLst>
  </p:cSld>
  <p:clrMapOvr>
    <a:masterClrMapping/>
  </p:clrMapOvr>
</p:sld>
</file>

<file path=ppt/slides/slide7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rus | CA 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5520333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98219644"/>
      </p:ext>
    </p:extLst>
  </p:cSld>
  <p:clrMapOvr>
    <a:masterClrMapping/>
  </p:clrMapOvr>
</p:sld>
</file>

<file path=ppt/slides/slide7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rus | CA 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64897600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95045313"/>
      </p:ext>
    </p:extLst>
  </p:cSld>
  <p:clrMapOvr>
    <a:masterClrMapping/>
  </p:clrMapOvr>
</p:sld>
</file>

<file path=ppt/slides/slide7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rus | CA 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27440600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972128317"/>
      </p:ext>
    </p:extLst>
  </p:cSld>
  <p:clrMapOvr>
    <a:masterClrMapping/>
  </p:clrMapOvr>
</p:sld>
</file>

<file path=ppt/slides/slide7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NICOLAS Q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79458581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847087888"/>
      </p:ext>
    </p:extLst>
  </p:cSld>
  <p:clrMapOvr>
    <a:masterClrMapping/>
  </p:clrMapOvr>
</p:sld>
</file>

<file path=ppt/slides/slide7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NICOLA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8418786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74242893"/>
      </p:ext>
    </p:extLst>
  </p:cSld>
  <p:clrMapOvr>
    <a:masterClrMapping/>
  </p:clrMapOvr>
</p:sld>
</file>

<file path=ppt/slides/slide7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NICOLAS V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94465089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5974838"/>
      </p:ext>
    </p:extLst>
  </p:cSld>
  <p:clrMapOvr>
    <a:masterClrMapping/>
  </p:clrMapOvr>
</p:sld>
</file>

<file path=ppt/slides/slide7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NICOLAS QC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40350161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2612191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722283"/>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9352"/>
            <a:ext cx="2375325" cy="1252357"/>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109352"/>
            <a:ext cx="2375326" cy="125235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72228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12111696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Champagn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935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55268505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791695" y="1387069"/>
            <a:ext cx="3535944" cy="189497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82046"/>
            <a:ext cx="1214707" cy="107966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791695" y="3282046"/>
            <a:ext cx="3535944" cy="107966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214707" cy="189497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76866577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Effervescents | Malard Nicolas | NICOLAS IDF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8204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35335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000503894"/>
      </p:ext>
    </p:extLst>
  </p:cSld>
  <p:clrMapOvr>
    <a:masterClrMapping/>
  </p:clrMapOvr>
</p:sld>
</file>

<file path=ppt/slides/slide8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NICOLAS QC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6531648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462863089"/>
      </p:ext>
    </p:extLst>
  </p:cSld>
  <p:clrMapOvr>
    <a:masterClrMapping/>
  </p:clrMapOvr>
</p:sld>
</file>

<file path=ppt/slides/slide8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NICOLAS CC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5369758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365995665"/>
      </p:ext>
    </p:extLst>
  </p:cSld>
  <p:clrMapOvr>
    <a:masterClrMapping/>
  </p:clrMapOvr>
</p:sld>
</file>

<file path=ppt/slides/slide8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NICOLAS IDF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7156770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26625899"/>
      </p:ext>
    </p:extLst>
  </p:cSld>
  <p:clrMapOvr>
    <a:masterClrMapping/>
  </p:clrMapOvr>
</p:sld>
</file>

<file path=ppt/slides/slide8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NICOLAS PA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608448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542640065"/>
      </p:ext>
    </p:extLst>
  </p:cSld>
  <p:clrMapOvr>
    <a:masterClrMapping/>
  </p:clrMapOvr>
</p:sld>
</file>

<file path=ppt/slides/slide8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NICOLAS RHO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0992805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91627646"/>
      </p:ext>
    </p:extLst>
  </p:cSld>
  <p:clrMapOvr>
    <a:masterClrMapping/>
  </p:clrMapOvr>
</p:sld>
</file>

<file path=ppt/slides/slide8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NICOLAS AQ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43673280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089082085"/>
      </p:ext>
    </p:extLst>
  </p:cSld>
  <p:clrMapOvr>
    <a:masterClrMapping/>
  </p:clrMapOvr>
</p:sld>
</file>

<file path=ppt/slides/slide8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NICOLAS ES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2930599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15899884"/>
      </p:ext>
    </p:extLst>
  </p:cSld>
  <p:clrMapOvr>
    <a:masterClrMapping/>
  </p:clrMapOvr>
</p:sld>
</file>

<file path=ppt/slides/slide8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CA 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37469831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2683205"/>
      </p:ext>
    </p:extLst>
  </p:cSld>
  <p:clrMapOvr>
    <a:masterClrMapping/>
  </p:clrMapOvr>
</p:sld>
</file>

<file path=ppt/slides/slide8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CA B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1442247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90668939"/>
      </p:ext>
    </p:extLst>
  </p:cSld>
  <p:clrMapOvr>
    <a:masterClrMapping/>
  </p:clrMapOvr>
</p:sld>
</file>

<file path=ppt/slides/slide8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CA 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5915026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31010115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835893" y="1387069"/>
            <a:ext cx="3491746" cy="190459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91665"/>
            <a:ext cx="1258905" cy="107004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835893" y="3291665"/>
            <a:ext cx="3491746" cy="107004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258905" cy="190459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74477130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Effervescents | Malard Nicolas | NICOLAS VC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9166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39755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422336079"/>
      </p:ext>
    </p:extLst>
  </p:cSld>
  <p:clrMapOvr>
    <a:masterClrMapping/>
  </p:clrMapOvr>
</p:sld>
</file>

<file path=ppt/slides/slide8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CA 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43096524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577569171"/>
      </p:ext>
    </p:extLst>
  </p:cSld>
  <p:clrMapOvr>
    <a:masterClrMapping/>
  </p:clrMapOvr>
</p:sld>
</file>

<file path=ppt/slides/slide8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CA 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292579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67757923"/>
      </p:ext>
    </p:extLst>
  </p:cSld>
  <p:clrMapOvr>
    <a:masterClrMapping/>
  </p:clrMapOvr>
</p:sld>
</file>

<file path=ppt/slides/slide8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NICOLAS CC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26332159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34927806"/>
      </p:ext>
    </p:extLst>
  </p:cSld>
  <p:clrMapOvr>
    <a:masterClrMapping/>
  </p:clrMapOvr>
</p:sld>
</file>

<file path=ppt/slides/slide8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NICOLAS QC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86637263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31402990"/>
      </p:ext>
    </p:extLst>
  </p:cSld>
  <p:clrMapOvr>
    <a:masterClrMapping/>
  </p:clrMapOvr>
</p:sld>
</file>

<file path=ppt/slides/slide8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NICOLAS PA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084767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00244796"/>
      </p:ext>
    </p:extLst>
  </p:cSld>
  <p:clrMapOvr>
    <a:masterClrMapping/>
  </p:clrMapOvr>
</p:sld>
</file>

<file path=ppt/slides/slide8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NICOLAS IDF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5299547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259557842"/>
      </p:ext>
    </p:extLst>
  </p:cSld>
  <p:clrMapOvr>
    <a:masterClrMapping/>
  </p:clrMapOvr>
</p:sld>
</file>

<file path=ppt/slides/slide8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NICOLAS QC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3599017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417665462"/>
      </p:ext>
    </p:extLst>
  </p:cSld>
  <p:clrMapOvr>
    <a:masterClrMapping/>
  </p:clrMapOvr>
</p:sld>
</file>

<file path=ppt/slides/slide8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NICOLA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67784040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192731712"/>
      </p:ext>
    </p:extLst>
  </p:cSld>
  <p:clrMapOvr>
    <a:masterClrMapping/>
  </p:clrMapOvr>
</p:sld>
</file>

<file path=ppt/slides/slide8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NICOLAS Q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39853333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785236303"/>
      </p:ext>
    </p:extLst>
  </p:cSld>
  <p:clrMapOvr>
    <a:masterClrMapping/>
  </p:clrMapOvr>
</p:sld>
</file>

<file path=ppt/slides/slide8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NICOLAS V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2714061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7862471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790752" y="1387069"/>
            <a:ext cx="3536887" cy="189504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82109"/>
            <a:ext cx="1213764" cy="107960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790752" y="3282109"/>
            <a:ext cx="3536887" cy="107960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213764" cy="189504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69162288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Effervescents | Malard Nicolas | NICOLA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8210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35240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901150853"/>
      </p:ext>
    </p:extLst>
  </p:cSld>
  <p:clrMapOvr>
    <a:masterClrMapping/>
  </p:clrMapOvr>
</p:sld>
</file>

<file path=ppt/slides/slide8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NICOLAS RHO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8291388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571722229"/>
      </p:ext>
    </p:extLst>
  </p:cSld>
  <p:clrMapOvr>
    <a:masterClrMapping/>
  </p:clrMapOvr>
</p:sld>
</file>

<file path=ppt/slides/slide8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NICOLAS ES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24150917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961689110"/>
      </p:ext>
    </p:extLst>
  </p:cSld>
  <p:clrMapOvr>
    <a:masterClrMapping/>
  </p:clrMapOvr>
</p:sld>
</file>

<file path=ppt/slides/slide8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NICOLAS AQ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68367161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175594936"/>
      </p:ext>
    </p:extLst>
  </p:cSld>
  <p:clrMapOvr>
    <a:masterClrMapping/>
  </p:clrMapOvr>
</p:sld>
</file>

<file path=ppt/slides/slide8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CA 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5787670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153580644"/>
      </p:ext>
    </p:extLst>
  </p:cSld>
  <p:clrMapOvr>
    <a:masterClrMapping/>
  </p:clrMapOvr>
</p:sld>
</file>

<file path=ppt/slides/slide8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CA 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19494859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40912127"/>
      </p:ext>
    </p:extLst>
  </p:cSld>
  <p:clrMapOvr>
    <a:masterClrMapping/>
  </p:clrMapOvr>
</p:sld>
</file>

<file path=ppt/slides/slide8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CA 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8925771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82344492"/>
      </p:ext>
    </p:extLst>
  </p:cSld>
  <p:clrMapOvr>
    <a:masterClrMapping/>
  </p:clrMapOvr>
</p:sld>
</file>

<file path=ppt/slides/slide8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CA 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77275871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89176168"/>
      </p:ext>
    </p:extLst>
  </p:cSld>
  <p:clrMapOvr>
    <a:masterClrMapping/>
  </p:clrMapOvr>
</p:sld>
</file>

<file path=ppt/slides/slide8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CA B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23631246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627003205"/>
      </p:ext>
    </p:extLst>
  </p:cSld>
  <p:clrMapOvr>
    <a:masterClrMapping/>
  </p:clrMapOvr>
</p:sld>
</file>

<file path=ppt/slides/slide8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NICOLAS Q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76623424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59430238"/>
      </p:ext>
    </p:extLst>
  </p:cSld>
  <p:clrMapOvr>
    <a:masterClrMapping/>
  </p:clrMapOvr>
</p:sld>
</file>

<file path=ppt/slides/slide8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NICOLA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1571238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4088037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816629" y="1387069"/>
            <a:ext cx="3511010" cy="189972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86798"/>
            <a:ext cx="1239641" cy="107491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816629" y="3286798"/>
            <a:ext cx="3511010" cy="107491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239641" cy="189972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71435712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Effervescents | Malard Nicolas | NICOLAS QC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8679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37828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240694472"/>
      </p:ext>
    </p:extLst>
  </p:cSld>
  <p:clrMapOvr>
    <a:masterClrMapping/>
  </p:clrMapOvr>
</p:sld>
</file>

<file path=ppt/slides/slide8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NICOLAS V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81627869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74063097"/>
      </p:ext>
    </p:extLst>
  </p:cSld>
  <p:clrMapOvr>
    <a:masterClrMapping/>
  </p:clrMapOvr>
</p:sld>
</file>

<file path=ppt/slides/slide8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NICOLAS CC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29034848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185985591"/>
      </p:ext>
    </p:extLst>
  </p:cSld>
  <p:clrMapOvr>
    <a:masterClrMapping/>
  </p:clrMapOvr>
</p:sld>
</file>

<file path=ppt/slides/slide8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NICOLAS QC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2101716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33006552"/>
      </p:ext>
    </p:extLst>
  </p:cSld>
  <p:clrMapOvr>
    <a:masterClrMapping/>
  </p:clrMapOvr>
</p:sld>
</file>

<file path=ppt/slides/slide8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NICOLAS QC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40446134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86350757"/>
      </p:ext>
    </p:extLst>
  </p:cSld>
  <p:clrMapOvr>
    <a:masterClrMapping/>
  </p:clrMapOvr>
</p:sld>
</file>

<file path=ppt/slides/slide8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NICOLAS PA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441607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13871596"/>
      </p:ext>
    </p:extLst>
  </p:cSld>
  <p:clrMapOvr>
    <a:masterClrMapping/>
  </p:clrMapOvr>
</p:sld>
</file>

<file path=ppt/slides/slide8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NICOLAS IDF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0206856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45790649"/>
      </p:ext>
    </p:extLst>
  </p:cSld>
  <p:clrMapOvr>
    <a:masterClrMapping/>
  </p:clrMapOvr>
</p:sld>
</file>

<file path=ppt/slides/slide8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NICOLAS RHO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7337974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39775908"/>
      </p:ext>
    </p:extLst>
  </p:cSld>
  <p:clrMapOvr>
    <a:masterClrMapping/>
  </p:clrMapOvr>
</p:sld>
</file>

<file path=ppt/slides/slide8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NICOLAS AQ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74234418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56472563"/>
      </p:ext>
    </p:extLst>
  </p:cSld>
  <p:clrMapOvr>
    <a:masterClrMapping/>
  </p:clrMapOvr>
</p:sld>
</file>

<file path=ppt/slides/slide8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NICOLAS ES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04355293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30633599"/>
      </p:ext>
    </p:extLst>
  </p:cSld>
  <p:clrMapOvr>
    <a:masterClrMapping/>
  </p:clrMapOvr>
</p:sld>
</file>

<file path=ppt/slides/slide8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CA 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3906618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34088523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831023" y="1387069"/>
            <a:ext cx="3496616" cy="189888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85954"/>
            <a:ext cx="1254035" cy="107575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831023" y="3285954"/>
            <a:ext cx="3496616" cy="107575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254035" cy="189888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32062872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Effervescents | Malard Nicolas | NICOLAS QCA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8595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39268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321114909"/>
      </p:ext>
    </p:extLst>
  </p:cSld>
  <p:clrMapOvr>
    <a:masterClrMapping/>
  </p:clrMapOvr>
</p:sld>
</file>

<file path=ppt/slides/slide8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CA 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73143410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689686290"/>
      </p:ext>
    </p:extLst>
  </p:cSld>
  <p:clrMapOvr>
    <a:masterClrMapping/>
  </p:clrMapOvr>
</p:sld>
</file>

<file path=ppt/slides/slide8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CA B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2239935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67459258"/>
      </p:ext>
    </p:extLst>
  </p:cSld>
  <p:clrMapOvr>
    <a:masterClrMapping/>
  </p:clrMapOvr>
</p:sld>
</file>

<file path=ppt/slides/slide8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CA 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3925902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128634181"/>
      </p:ext>
    </p:extLst>
  </p:cSld>
  <p:clrMapOvr>
    <a:masterClrMapping/>
  </p:clrMapOvr>
</p:sld>
</file>

<file path=ppt/slides/slide8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CA 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4991638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360859"/>
      </p:ext>
    </p:extLst>
  </p:cSld>
  <p:clrMapOvr>
    <a:masterClrMapping/>
  </p:clrMapOvr>
</p:sld>
</file>

<file path=ppt/slides/slide8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NICOLAS Q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611413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537120453"/>
      </p:ext>
    </p:extLst>
  </p:cSld>
  <p:clrMapOvr>
    <a:masterClrMapping/>
  </p:clrMapOvr>
</p:sld>
</file>

<file path=ppt/slides/slide8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NICOLA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54101148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646107810"/>
      </p:ext>
    </p:extLst>
  </p:cSld>
  <p:clrMapOvr>
    <a:masterClrMapping/>
  </p:clrMapOvr>
</p:sld>
</file>

<file path=ppt/slides/slide8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NICOLAS V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19069567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290189363"/>
      </p:ext>
    </p:extLst>
  </p:cSld>
  <p:clrMapOvr>
    <a:masterClrMapping/>
  </p:clrMapOvr>
</p:sld>
</file>

<file path=ppt/slides/slide8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NICOLAS QC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711287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62568704"/>
      </p:ext>
    </p:extLst>
  </p:cSld>
  <p:clrMapOvr>
    <a:masterClrMapping/>
  </p:clrMapOvr>
</p:sld>
</file>

<file path=ppt/slides/slide8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NICOLAS QC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8562518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270249550"/>
      </p:ext>
    </p:extLst>
  </p:cSld>
  <p:clrMapOvr>
    <a:masterClrMapping/>
  </p:clrMapOvr>
</p:sld>
</file>

<file path=ppt/slides/slide8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NICOLAS CC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3775661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3053368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775811" y="1387069"/>
            <a:ext cx="3551828" cy="185823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45308"/>
            <a:ext cx="1198823" cy="111640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775811" y="3245308"/>
            <a:ext cx="3551828" cy="111640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198823" cy="185823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23769900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Effervescents | Malard Nicolas | NICOLAS RHO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4530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33746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067204020"/>
      </p:ext>
    </p:extLst>
  </p:cSld>
  <p:clrMapOvr>
    <a:masterClrMapping/>
  </p:clrMapOvr>
</p:sld>
</file>

<file path=ppt/slides/slide8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NICOLAS IDF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2667462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68115777"/>
      </p:ext>
    </p:extLst>
  </p:cSld>
  <p:clrMapOvr>
    <a:masterClrMapping/>
  </p:clrMapOvr>
</p:sld>
</file>

<file path=ppt/slides/slide8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NICOLAS PA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09067145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199289485"/>
      </p:ext>
    </p:extLst>
  </p:cSld>
  <p:clrMapOvr>
    <a:masterClrMapping/>
  </p:clrMapOvr>
</p:sld>
</file>

<file path=ppt/slides/slide8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NICOLAS ES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38716933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51503116"/>
      </p:ext>
    </p:extLst>
  </p:cSld>
  <p:clrMapOvr>
    <a:masterClrMapping/>
  </p:clrMapOvr>
</p:sld>
</file>

<file path=ppt/slides/slide8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NICOLAS RHO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94427330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47981914"/>
      </p:ext>
    </p:extLst>
  </p:cSld>
  <p:clrMapOvr>
    <a:masterClrMapping/>
  </p:clrMapOvr>
</p:sld>
</file>

<file path=ppt/slides/slide8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NICOLAS AQ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9173793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43899277"/>
      </p:ext>
    </p:extLst>
  </p:cSld>
  <p:clrMapOvr>
    <a:masterClrMapping/>
  </p:clrMapOvr>
</p:sld>
</file>

<file path=ppt/slides/slide8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CA 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68624711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01808701"/>
      </p:ext>
    </p:extLst>
  </p:cSld>
  <p:clrMapOvr>
    <a:masterClrMapping/>
  </p:clrMapOvr>
</p:sld>
</file>

<file path=ppt/slides/slide8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CA B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0696460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90685062"/>
      </p:ext>
    </p:extLst>
  </p:cSld>
  <p:clrMapOvr>
    <a:masterClrMapping/>
  </p:clrMapOvr>
</p:sld>
</file>

<file path=ppt/slides/slide8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CA 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78293712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56167327"/>
      </p:ext>
    </p:extLst>
  </p:cSld>
  <p:clrMapOvr>
    <a:masterClrMapping/>
  </p:clrMapOvr>
</p:sld>
</file>

<file path=ppt/slides/slide8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CA 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4276481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398881739"/>
      </p:ext>
    </p:extLst>
  </p:cSld>
  <p:clrMapOvr>
    <a:masterClrMapping/>
  </p:clrMapOvr>
</p:sld>
</file>

<file path=ppt/slides/slide8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CA 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348231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11386457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962554" y="1387069"/>
            <a:ext cx="3365085" cy="193877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325847"/>
            <a:ext cx="1385566" cy="103586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962554" y="3325847"/>
            <a:ext cx="3365085" cy="103586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385566" cy="193877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29980643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Effervescents | Malard Nicolas | NICOLAS ES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32584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524211"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884996191"/>
      </p:ext>
    </p:extLst>
  </p:cSld>
  <p:clrMapOvr>
    <a:masterClrMapping/>
  </p:clrMapOvr>
</p:sld>
</file>

<file path=ppt/slides/slide8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NICOLAS V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157338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293328711"/>
      </p:ext>
    </p:extLst>
  </p:cSld>
  <p:clrMapOvr>
    <a:masterClrMapping/>
  </p:clrMapOvr>
</p:sld>
</file>

<file path=ppt/slides/slide8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NICOLA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91323634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51970101"/>
      </p:ext>
    </p:extLst>
  </p:cSld>
  <p:clrMapOvr>
    <a:masterClrMapping/>
  </p:clrMapOvr>
</p:sld>
</file>

<file path=ppt/slides/slide8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NICOLAS Q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0859126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393110208"/>
      </p:ext>
    </p:extLst>
  </p:cSld>
  <p:clrMapOvr>
    <a:masterClrMapping/>
  </p:clrMapOvr>
</p:sld>
</file>

<file path=ppt/slides/slide8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NICOLAS QC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86231172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94171974"/>
      </p:ext>
    </p:extLst>
  </p:cSld>
  <p:clrMapOvr>
    <a:masterClrMapping/>
  </p:clrMapOvr>
</p:sld>
</file>

<file path=ppt/slides/slide8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NICOLAS QC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5756886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409140890"/>
      </p:ext>
    </p:extLst>
  </p:cSld>
  <p:clrMapOvr>
    <a:masterClrMapping/>
  </p:clrMapOvr>
</p:sld>
</file>

<file path=ppt/slides/slide8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NICOLAS CC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0578595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85448371"/>
      </p:ext>
    </p:extLst>
  </p:cSld>
  <p:clrMapOvr>
    <a:masterClrMapping/>
  </p:clrMapOvr>
</p:sld>
</file>

<file path=ppt/slides/slide8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NICOLAS IDF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97615857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362058091"/>
      </p:ext>
    </p:extLst>
  </p:cSld>
  <p:clrMapOvr>
    <a:masterClrMapping/>
  </p:clrMapOvr>
</p:sld>
</file>

<file path=ppt/slides/slide8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NICOLAS PA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8099600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43460789"/>
      </p:ext>
    </p:extLst>
  </p:cSld>
  <p:clrMapOvr>
    <a:masterClrMapping/>
  </p:clrMapOvr>
</p:sld>
</file>

<file path=ppt/slides/slide8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NICOLAS RHO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7226304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02763459"/>
      </p:ext>
    </p:extLst>
  </p:cSld>
  <p:clrMapOvr>
    <a:masterClrMapping/>
  </p:clrMapOvr>
</p:sld>
</file>

<file path=ppt/slides/slide8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NICOLAS ES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2625466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30365736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672290" y="1387069"/>
            <a:ext cx="3655349" cy="190068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87750"/>
            <a:ext cx="1095302" cy="107395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672290" y="3287750"/>
            <a:ext cx="3655349" cy="107395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095302" cy="190068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6429975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Effervescents | Malard Nicolas | NICOLAS AQU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8775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23394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829074437"/>
      </p:ext>
    </p:extLst>
  </p:cSld>
  <p:clrMapOvr>
    <a:masterClrMapping/>
  </p:clrMapOvr>
</p:sld>
</file>

<file path=ppt/slides/slide8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NICOLAS AQ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835212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241564383"/>
      </p:ext>
    </p:extLst>
  </p:cSld>
  <p:clrMapOvr>
    <a:masterClrMapping/>
  </p:clrMapOvr>
</p:sld>
</file>

<file path=ppt/slides/slide8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CA 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2164327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30713759"/>
      </p:ext>
    </p:extLst>
  </p:cSld>
  <p:clrMapOvr>
    <a:masterClrMapping/>
  </p:clrMapOvr>
</p:sld>
</file>

<file path=ppt/slides/slide8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CA B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6507625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27763083"/>
      </p:ext>
    </p:extLst>
  </p:cSld>
  <p:clrMapOvr>
    <a:masterClrMapping/>
  </p:clrMapOvr>
</p:sld>
</file>

<file path=ppt/slides/slide8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CA 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48995184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52201927"/>
      </p:ext>
    </p:extLst>
  </p:cSld>
  <p:clrMapOvr>
    <a:masterClrMapping/>
  </p:clrMapOvr>
</p:sld>
</file>

<file path=ppt/slides/slide8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CA 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957548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38820440"/>
      </p:ext>
    </p:extLst>
  </p:cSld>
  <p:clrMapOvr>
    <a:masterClrMapping/>
  </p:clrMapOvr>
</p:sld>
</file>

<file path=ppt/slides/slide8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CA 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66889230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81065278"/>
      </p:ext>
    </p:extLst>
  </p:cSld>
  <p:clrMapOvr>
    <a:masterClrMapping/>
  </p:clrMapOvr>
</p:sld>
</file>

<file path=ppt/slides/slide8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rus | NICOLAS V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47691598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223938643"/>
      </p:ext>
    </p:extLst>
  </p:cSld>
  <p:clrMapOvr>
    <a:masterClrMapping/>
  </p:clrMapOvr>
</p:sld>
</file>

<file path=ppt/slides/slide8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rus | NICOLAS Q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9811854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820765059"/>
      </p:ext>
    </p:extLst>
  </p:cSld>
  <p:clrMapOvr>
    <a:masterClrMapping/>
  </p:clrMapOvr>
</p:sld>
</file>

<file path=ppt/slides/slide8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rus | NICOLA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5136997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117010278"/>
      </p:ext>
    </p:extLst>
  </p:cSld>
  <p:clrMapOvr>
    <a:masterClrMapping/>
  </p:clrMapOvr>
</p:sld>
</file>

<file path=ppt/slides/slide8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rus | NICOLAS QC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07161373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14705718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799664" y="1387069"/>
            <a:ext cx="3527975" cy="189574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82818"/>
            <a:ext cx="1222676" cy="107889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799664" y="3282818"/>
            <a:ext cx="3527975" cy="107889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222676" cy="189574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27572303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Effervescents | Malard Nicolas | CA B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8281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361321"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791125077"/>
      </p:ext>
    </p:extLst>
  </p:cSld>
  <p:clrMapOvr>
    <a:masterClrMapping/>
  </p:clrMapOvr>
</p:sld>
</file>

<file path=ppt/slides/slide8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rus | NICOLAS QC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0298268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674670484"/>
      </p:ext>
    </p:extLst>
  </p:cSld>
  <p:clrMapOvr>
    <a:masterClrMapping/>
  </p:clrMapOvr>
</p:sld>
</file>

<file path=ppt/slides/slide8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rus | NICOLAS PA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4622280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90932220"/>
      </p:ext>
    </p:extLst>
  </p:cSld>
  <p:clrMapOvr>
    <a:masterClrMapping/>
  </p:clrMapOvr>
</p:sld>
</file>

<file path=ppt/slides/slide8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rus | NICOLAS IDF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43259629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91948276"/>
      </p:ext>
    </p:extLst>
  </p:cSld>
  <p:clrMapOvr>
    <a:masterClrMapping/>
  </p:clrMapOvr>
</p:sld>
</file>

<file path=ppt/slides/slide8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rus | NICOLAS AQ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2831887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41736918"/>
      </p:ext>
    </p:extLst>
  </p:cSld>
  <p:clrMapOvr>
    <a:masterClrMapping/>
  </p:clrMapOvr>
</p:sld>
</file>

<file path=ppt/slides/slide8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rus | NICOLAS RHO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554820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579800910"/>
      </p:ext>
    </p:extLst>
  </p:cSld>
  <p:clrMapOvr>
    <a:masterClrMapping/>
  </p:clrMapOvr>
</p:sld>
</file>

<file path=ppt/slides/slide8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rus | CA 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5725092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155849763"/>
      </p:ext>
    </p:extLst>
  </p:cSld>
  <p:clrMapOvr>
    <a:masterClrMapping/>
  </p:clrMapOvr>
</p:sld>
</file>

<file path=ppt/slides/slide8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rus | CA B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36969923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234466385"/>
      </p:ext>
    </p:extLst>
  </p:cSld>
  <p:clrMapOvr>
    <a:masterClrMapping/>
  </p:clrMapOvr>
</p:sld>
</file>

<file path=ppt/slides/slide8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rus | CA 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05457696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513666795"/>
      </p:ext>
    </p:extLst>
  </p:cSld>
  <p:clrMapOvr>
    <a:masterClrMapping/>
  </p:clrMapOvr>
</p:sld>
</file>

<file path=ppt/slides/slide8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rus | CA 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687857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63634617"/>
      </p:ext>
    </p:extLst>
  </p:cSld>
  <p:clrMapOvr>
    <a:masterClrMapping/>
  </p:clrMapOvr>
</p:sld>
</file>

<file path=ppt/slides/slide8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rus | CA 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4280845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6794016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752199" y="1387069"/>
            <a:ext cx="3575440" cy="189051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77584"/>
            <a:ext cx="1175211" cy="108412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752199" y="3277584"/>
            <a:ext cx="3575440" cy="108412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175211" cy="189051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01249757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Effervescents | Malard Nicolas | CA A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7758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31385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489184956"/>
      </p:ext>
    </p:extLst>
  </p:cSld>
  <p:clrMapOvr>
    <a:masterClrMapping/>
  </p:clrMapOvr>
</p:sld>
</file>

<file path=ppt/slides/slide8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NICOLAS Q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885122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11067754"/>
      </p:ext>
    </p:extLst>
  </p:cSld>
  <p:clrMapOvr>
    <a:masterClrMapping/>
  </p:clrMapOvr>
</p:sld>
</file>

<file path=ppt/slides/slide8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NICOLA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7869746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73969066"/>
      </p:ext>
    </p:extLst>
  </p:cSld>
  <p:clrMapOvr>
    <a:masterClrMapping/>
  </p:clrMapOvr>
</p:sld>
</file>

<file path=ppt/slides/slide8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NICOLAS V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7624991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91250381"/>
      </p:ext>
    </p:extLst>
  </p:cSld>
  <p:clrMapOvr>
    <a:masterClrMapping/>
  </p:clrMapOvr>
</p:sld>
</file>

<file path=ppt/slides/slide8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NICOLAS QC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04330488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815483379"/>
      </p:ext>
    </p:extLst>
  </p:cSld>
  <p:clrMapOvr>
    <a:masterClrMapping/>
  </p:clrMapOvr>
</p:sld>
</file>

<file path=ppt/slides/slide8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NICOLAS QC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84723279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624328051"/>
      </p:ext>
    </p:extLst>
  </p:cSld>
  <p:clrMapOvr>
    <a:masterClrMapping/>
  </p:clrMapOvr>
</p:sld>
</file>

<file path=ppt/slides/slide8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NICOLAS CC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90156625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851228406"/>
      </p:ext>
    </p:extLst>
  </p:cSld>
  <p:clrMapOvr>
    <a:masterClrMapping/>
  </p:clrMapOvr>
</p:sld>
</file>

<file path=ppt/slides/slide8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NICOLAS IDF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2308002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106351388"/>
      </p:ext>
    </p:extLst>
  </p:cSld>
  <p:clrMapOvr>
    <a:masterClrMapping/>
  </p:clrMapOvr>
</p:sld>
</file>

<file path=ppt/slides/slide8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NICOLAS PA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81417657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54712514"/>
      </p:ext>
    </p:extLst>
  </p:cSld>
  <p:clrMapOvr>
    <a:masterClrMapping/>
  </p:clrMapOvr>
</p:sld>
</file>

<file path=ppt/slides/slide8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NICOLAS RHO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0883409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84844186"/>
      </p:ext>
    </p:extLst>
  </p:cSld>
  <p:clrMapOvr>
    <a:masterClrMapping/>
  </p:clrMapOvr>
</p:sld>
</file>

<file path=ppt/slides/slide8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NICOLAS AQ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168738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122529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72494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12018"/>
            <a:ext cx="2375325" cy="124969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112018"/>
            <a:ext cx="2375326" cy="124969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72494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24682564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Millesim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1201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56692579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814562" y="1387069"/>
            <a:ext cx="3513077" cy="189859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85664"/>
            <a:ext cx="1237574" cy="107604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814562" y="3285664"/>
            <a:ext cx="3513077" cy="107604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237574" cy="189859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55975234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Effervescents | Malard Nicolas | CA D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8566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37621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927642243"/>
      </p:ext>
    </p:extLst>
  </p:cSld>
  <p:clrMapOvr>
    <a:masterClrMapping/>
  </p:clrMapOvr>
</p:sld>
</file>

<file path=ppt/slides/slide9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NICOLAS ES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247986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08889780"/>
      </p:ext>
    </p:extLst>
  </p:cSld>
  <p:clrMapOvr>
    <a:masterClrMapping/>
  </p:clrMapOvr>
</p:sld>
</file>

<file path=ppt/slides/slide9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CA 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2156425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109043289"/>
      </p:ext>
    </p:extLst>
  </p:cSld>
  <p:clrMapOvr>
    <a:masterClrMapping/>
  </p:clrMapOvr>
</p:sld>
</file>

<file path=ppt/slides/slide9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CA B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20933136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47519229"/>
      </p:ext>
    </p:extLst>
  </p:cSld>
  <p:clrMapOvr>
    <a:masterClrMapping/>
  </p:clrMapOvr>
</p:sld>
</file>

<file path=ppt/slides/slide9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CA 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23566137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85931829"/>
      </p:ext>
    </p:extLst>
  </p:cSld>
  <p:clrMapOvr>
    <a:masterClrMapping/>
  </p:clrMapOvr>
</p:sld>
</file>

<file path=ppt/slides/slide9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CA 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71409251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256604278"/>
      </p:ext>
    </p:extLst>
  </p:cSld>
  <p:clrMapOvr>
    <a:masterClrMapping/>
  </p:clrMapOvr>
</p:sld>
</file>

<file path=ppt/slides/slide9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CA 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08202292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149067240"/>
      </p:ext>
    </p:extLst>
  </p:cSld>
  <p:clrMapOvr>
    <a:masterClrMapping/>
  </p:clrMapOvr>
</p:sld>
</file>

<file path=ppt/slides/slide9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6</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871552589"/>
      </p:ext>
    </p:extLst>
  </p:cSld>
  <p:clrMapOvr>
    <a:masterClrMapping/>
  </p:clrMapOvr>
</p:sld>
</file>

<file path=ppt/slides/slide9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7</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QCN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8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885444060"/>
      </p:ext>
    </p:extLst>
  </p:cSld>
  <p:clrMapOvr>
    <a:masterClrMapping/>
  </p:clrMapOvr>
</p:sld>
</file>

<file path=ppt/slides/slide9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8</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VCN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1022150211"/>
      </p:ext>
    </p:extLst>
  </p:cSld>
  <p:clrMapOvr>
    <a:masterClrMapping/>
  </p:clrMapOvr>
</p:sld>
</file>

<file path=ppt/slides/slide9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9</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QCT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44422066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023819" y="1387069"/>
            <a:ext cx="3303820" cy="190211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89180"/>
            <a:ext cx="1446831" cy="107252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023819" y="3289180"/>
            <a:ext cx="3303820" cy="107252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446831" cy="190211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10938539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Effervescents | Malard Nicolas | CA 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8918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58547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175692350"/>
      </p:ext>
    </p:extLst>
  </p:cSld>
  <p:clrMapOvr>
    <a:masterClrMapping/>
  </p:clrMapOvr>
</p:sld>
</file>

<file path=ppt/slides/slide9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0</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QCA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8.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8.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39289382"/>
      </p:ext>
    </p:extLst>
  </p:cSld>
  <p:clrMapOvr>
    <a:masterClrMapping/>
  </p:clrMapOvr>
</p:sld>
</file>

<file path=ppt/slides/slide9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1</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CC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7.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7.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590099478"/>
      </p:ext>
    </p:extLst>
  </p:cSld>
  <p:clrMapOvr>
    <a:masterClrMapping/>
  </p:clrMapOvr>
</p:sld>
</file>

<file path=ppt/slides/slide9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2</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IDF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838962868"/>
      </p:ext>
    </p:extLst>
  </p:cSld>
  <p:clrMapOvr>
    <a:masterClrMapping/>
  </p:clrMapOvr>
</p:sld>
</file>

<file path=ppt/slides/slide9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3</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PAC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6.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6.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542428561"/>
      </p:ext>
    </p:extLst>
  </p:cSld>
  <p:clrMapOvr>
    <a:masterClrMapping/>
  </p:clrMapOvr>
</p:sld>
</file>

<file path=ppt/slides/slide9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4</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RHO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7.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4.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7.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4.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639851869"/>
      </p:ext>
    </p:extLst>
  </p:cSld>
  <p:clrMapOvr>
    <a:masterClrMapping/>
  </p:clrMapOvr>
</p:sld>
</file>

<file path=ppt/slides/slide9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5</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AQU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5.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5.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1363497932"/>
      </p:ext>
    </p:extLst>
  </p:cSld>
  <p:clrMapOvr>
    <a:masterClrMapping/>
  </p:clrMapOvr>
</p:sld>
</file>

<file path=ppt/slides/slide9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6</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EST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8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111727324"/>
      </p:ext>
    </p:extLst>
  </p:cSld>
  <p:clrMapOvr>
    <a:masterClrMapping/>
  </p:clrMapOvr>
</p:sld>
</file>

<file path=ppt/slides/slide9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7</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CA A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7.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7.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4088863745"/>
      </p:ext>
    </p:extLst>
  </p:cSld>
  <p:clrMapOvr>
    <a:masterClrMapping/>
  </p:clrMapOvr>
</p:sld>
</file>

<file path=ppt/slides/slide9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8</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CA B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8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751108712"/>
      </p:ext>
    </p:extLst>
  </p:cSld>
  <p:clrMapOvr>
    <a:masterClrMapping/>
  </p:clrMapOvr>
</p:sld>
</file>

<file path=ppt/slides/slide9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9</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CA C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37127382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736720" y="1387069"/>
            <a:ext cx="3590919" cy="189381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80880"/>
            <a:ext cx="1159732" cy="108082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736720" y="3280880"/>
            <a:ext cx="3590919" cy="108082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159732" cy="189381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06734526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Effervescents | Malard Nicolas | CA C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8088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29837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660508227"/>
      </p:ext>
    </p:extLst>
  </p:cSld>
  <p:clrMapOvr>
    <a:masterClrMapping/>
  </p:clrMapOvr>
</p:sld>
</file>

<file path=ppt/slides/slide9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0</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CA D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500010217"/>
      </p:ext>
    </p:extLst>
  </p:cSld>
  <p:clrMapOvr>
    <a:masterClrMapping/>
  </p:clrMapOvr>
</p:sld>
</file>

<file path=ppt/slides/slide9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1</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CA E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8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592171445"/>
      </p:ext>
    </p:extLst>
  </p:cSld>
  <p:clrMapOvr>
    <a:masterClrMapping/>
  </p:clrMapOvr>
</p:sld>
</file>

<file path=ppt/slides/slide9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2</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03177"/>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272576">
                <a:tc>
                  <a:txBody>
                    <a:bodyPr/>
                    <a:lstStyle/>
                    <a:p>
                      <a:pPr algn="ctr">
                        <a:defRPr sz="800">
                          <a:latin typeface="Nexa Book"/>
                        </a:defRPr>
                      </a:pPr>
                      <a:r>
                        <a:t>Blanc De Blanc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3.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272576">
                <a:tc>
                  <a:txBody>
                    <a:bodyPr/>
                    <a:lstStyle/>
                    <a:p>
                      <a:pPr algn="ctr">
                        <a:defRPr sz="800">
                          <a:latin typeface="Nexa Book"/>
                        </a:defRPr>
                      </a:pPr>
                      <a:r>
                        <a:t>Blanc De Noi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7.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272576">
                <a:tc>
                  <a:txBody>
                    <a:bodyPr/>
                    <a:lstStyle/>
                    <a:p>
                      <a:pPr algn="ctr">
                        <a:defRPr sz="800">
                          <a:latin typeface="Nexa Book"/>
                        </a:defRPr>
                      </a:pPr>
                      <a:r>
                        <a:t>Brut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4.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272576">
                <a:tc>
                  <a:txBody>
                    <a:bodyPr/>
                    <a:lstStyle/>
                    <a:p>
                      <a:pPr algn="ctr">
                        <a:defRPr sz="800">
                          <a:latin typeface="Nexa Book"/>
                        </a:defRPr>
                      </a:pPr>
                      <a:r>
                        <a:t>Cru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272576">
                <a:tc>
                  <a:txBody>
                    <a:bodyPr/>
                    <a:lstStyle/>
                    <a:p>
                      <a:pPr algn="ctr">
                        <a:defRPr sz="800">
                          <a:latin typeface="Nexa Book"/>
                        </a:defRPr>
                      </a:pPr>
                      <a:r>
                        <a:t>Rosé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4.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27257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1284599674"/>
      </p:ext>
    </p:extLst>
  </p:cSld>
  <p:clrMapOvr>
    <a:masterClrMapping/>
  </p:clrMapOvr>
</p:sld>
</file>

<file path=ppt/slides/slide9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3</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QCN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03177"/>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272576">
                <a:tc>
                  <a:txBody>
                    <a:bodyPr/>
                    <a:lstStyle/>
                    <a:p>
                      <a:pPr algn="ctr">
                        <a:defRPr sz="800">
                          <a:latin typeface="Nexa Book"/>
                        </a:defRPr>
                      </a:pPr>
                      <a:r>
                        <a:t>Blanc De Blanc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3.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272576">
                <a:tc>
                  <a:txBody>
                    <a:bodyPr/>
                    <a:lstStyle/>
                    <a:p>
                      <a:pPr algn="ctr">
                        <a:defRPr sz="800">
                          <a:latin typeface="Nexa Book"/>
                        </a:defRPr>
                      </a:pPr>
                      <a:r>
                        <a:t>Blanc De Noi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272576">
                <a:tc>
                  <a:txBody>
                    <a:bodyPr/>
                    <a:lstStyle/>
                    <a:p>
                      <a:pPr algn="ctr">
                        <a:defRPr sz="800">
                          <a:latin typeface="Nexa Book"/>
                        </a:defRPr>
                      </a:pPr>
                      <a:r>
                        <a:t>Brut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272576">
                <a:tc>
                  <a:txBody>
                    <a:bodyPr/>
                    <a:lstStyle/>
                    <a:p>
                      <a:pPr algn="ctr">
                        <a:defRPr sz="800">
                          <a:latin typeface="Nexa Book"/>
                        </a:defRPr>
                      </a:pPr>
                      <a:r>
                        <a:t>Cru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272576">
                <a:tc>
                  <a:txBody>
                    <a:bodyPr/>
                    <a:lstStyle/>
                    <a:p>
                      <a:pPr algn="ctr">
                        <a:defRPr sz="800">
                          <a:latin typeface="Nexa Book"/>
                        </a:defRPr>
                      </a:pPr>
                      <a:r>
                        <a:t>Rosé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27257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8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900909918"/>
      </p:ext>
    </p:extLst>
  </p:cSld>
  <p:clrMapOvr>
    <a:masterClrMapping/>
  </p:clrMapOvr>
</p:sld>
</file>

<file path=ppt/slides/slide9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4</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VCN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03177"/>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272576">
                <a:tc>
                  <a:txBody>
                    <a:bodyPr/>
                    <a:lstStyle/>
                    <a:p>
                      <a:pPr algn="ctr">
                        <a:defRPr sz="800">
                          <a:latin typeface="Nexa Book"/>
                        </a:defRPr>
                      </a:pPr>
                      <a:r>
                        <a:t>Blanc De Blanc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272576">
                <a:tc>
                  <a:txBody>
                    <a:bodyPr/>
                    <a:lstStyle/>
                    <a:p>
                      <a:pPr algn="ctr">
                        <a:defRPr sz="800">
                          <a:latin typeface="Nexa Book"/>
                        </a:defRPr>
                      </a:pPr>
                      <a:r>
                        <a:t>Blanc De Noi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272576">
                <a:tc>
                  <a:txBody>
                    <a:bodyPr/>
                    <a:lstStyle/>
                    <a:p>
                      <a:pPr algn="ctr">
                        <a:defRPr sz="800">
                          <a:latin typeface="Nexa Book"/>
                        </a:defRPr>
                      </a:pPr>
                      <a:r>
                        <a:t>Brut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272576">
                <a:tc>
                  <a:txBody>
                    <a:bodyPr/>
                    <a:lstStyle/>
                    <a:p>
                      <a:pPr algn="ctr">
                        <a:defRPr sz="800">
                          <a:latin typeface="Nexa Book"/>
                        </a:defRPr>
                      </a:pPr>
                      <a:r>
                        <a:t>Cru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272576">
                <a:tc>
                  <a:txBody>
                    <a:bodyPr/>
                    <a:lstStyle/>
                    <a:p>
                      <a:pPr algn="ctr">
                        <a:defRPr sz="800">
                          <a:latin typeface="Nexa Book"/>
                        </a:defRPr>
                      </a:pPr>
                      <a:r>
                        <a:t>Rosé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4.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27257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008186453"/>
      </p:ext>
    </p:extLst>
  </p:cSld>
  <p:clrMapOvr>
    <a:masterClrMapping/>
  </p:clrMapOvr>
</p:sld>
</file>

<file path=ppt/slides/slide9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5</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QCT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03177"/>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272576">
                <a:tc>
                  <a:txBody>
                    <a:bodyPr/>
                    <a:lstStyle/>
                    <a:p>
                      <a:pPr algn="ctr">
                        <a:defRPr sz="800">
                          <a:latin typeface="Nexa Book"/>
                        </a:defRPr>
                      </a:pPr>
                      <a:r>
                        <a:t>Blanc De Blanc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272576">
                <a:tc>
                  <a:txBody>
                    <a:bodyPr/>
                    <a:lstStyle/>
                    <a:p>
                      <a:pPr algn="ctr">
                        <a:defRPr sz="800">
                          <a:latin typeface="Nexa Book"/>
                        </a:defRPr>
                      </a:pPr>
                      <a:r>
                        <a:t>Blanc De Noi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7.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272576">
                <a:tc>
                  <a:txBody>
                    <a:bodyPr/>
                    <a:lstStyle/>
                    <a:p>
                      <a:pPr algn="ctr">
                        <a:defRPr sz="800">
                          <a:latin typeface="Nexa Book"/>
                        </a:defRPr>
                      </a:pPr>
                      <a:r>
                        <a:t>Brut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272576">
                <a:tc>
                  <a:txBody>
                    <a:bodyPr/>
                    <a:lstStyle/>
                    <a:p>
                      <a:pPr algn="ctr">
                        <a:defRPr sz="800">
                          <a:latin typeface="Nexa Book"/>
                        </a:defRPr>
                      </a:pPr>
                      <a:r>
                        <a:t>Cru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272576">
                <a:tc>
                  <a:txBody>
                    <a:bodyPr/>
                    <a:lstStyle/>
                    <a:p>
                      <a:pPr algn="ctr">
                        <a:defRPr sz="800">
                          <a:latin typeface="Nexa Book"/>
                        </a:defRPr>
                      </a:pPr>
                      <a:r>
                        <a:t>Rosé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4.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27257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66033284"/>
      </p:ext>
    </p:extLst>
  </p:cSld>
  <p:clrMapOvr>
    <a:masterClrMapping/>
  </p:clrMapOvr>
</p:sld>
</file>

<file path=ppt/slides/slide9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6</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QCA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03177"/>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272576">
                <a:tc>
                  <a:txBody>
                    <a:bodyPr/>
                    <a:lstStyle/>
                    <a:p>
                      <a:pPr algn="ctr">
                        <a:defRPr sz="800">
                          <a:latin typeface="Nexa Book"/>
                        </a:defRPr>
                      </a:pPr>
                      <a:r>
                        <a:t>Blanc De Blanc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4.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8.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272576">
                <a:tc>
                  <a:txBody>
                    <a:bodyPr/>
                    <a:lstStyle/>
                    <a:p>
                      <a:pPr algn="ctr">
                        <a:defRPr sz="800">
                          <a:latin typeface="Nexa Book"/>
                        </a:defRPr>
                      </a:pPr>
                      <a:r>
                        <a:t>Blanc De Noi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9%</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272576">
                <a:tc>
                  <a:txBody>
                    <a:bodyPr/>
                    <a:lstStyle/>
                    <a:p>
                      <a:pPr algn="ctr">
                        <a:defRPr sz="800">
                          <a:latin typeface="Nexa Book"/>
                        </a:defRPr>
                      </a:pPr>
                      <a:r>
                        <a:t>Brut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4.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272576">
                <a:tc>
                  <a:txBody>
                    <a:bodyPr/>
                    <a:lstStyle/>
                    <a:p>
                      <a:pPr algn="ctr">
                        <a:defRPr sz="800">
                          <a:latin typeface="Nexa Book"/>
                        </a:defRPr>
                      </a:pPr>
                      <a:r>
                        <a:t>Cru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272576">
                <a:tc>
                  <a:txBody>
                    <a:bodyPr/>
                    <a:lstStyle/>
                    <a:p>
                      <a:pPr algn="ctr">
                        <a:defRPr sz="800">
                          <a:latin typeface="Nexa Book"/>
                        </a:defRPr>
                      </a:pPr>
                      <a:r>
                        <a:t>Rosé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8.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27257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8.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647827275"/>
      </p:ext>
    </p:extLst>
  </p:cSld>
  <p:clrMapOvr>
    <a:masterClrMapping/>
  </p:clrMapOvr>
</p:sld>
</file>

<file path=ppt/slides/slide9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7</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CC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03177"/>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272576">
                <a:tc>
                  <a:txBody>
                    <a:bodyPr/>
                    <a:lstStyle/>
                    <a:p>
                      <a:pPr algn="ctr">
                        <a:defRPr sz="800">
                          <a:latin typeface="Nexa Book"/>
                        </a:defRPr>
                      </a:pPr>
                      <a:r>
                        <a:t>Blanc De Blanc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4.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272576">
                <a:tc>
                  <a:txBody>
                    <a:bodyPr/>
                    <a:lstStyle/>
                    <a:p>
                      <a:pPr algn="ctr">
                        <a:defRPr sz="800">
                          <a:latin typeface="Nexa Book"/>
                        </a:defRPr>
                      </a:pPr>
                      <a:r>
                        <a:t>Blanc De Noi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272576">
                <a:tc>
                  <a:txBody>
                    <a:bodyPr/>
                    <a:lstStyle/>
                    <a:p>
                      <a:pPr algn="ctr">
                        <a:defRPr sz="800">
                          <a:latin typeface="Nexa Book"/>
                        </a:defRPr>
                      </a:pPr>
                      <a:r>
                        <a:t>Brut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5.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272576">
                <a:tc>
                  <a:txBody>
                    <a:bodyPr/>
                    <a:lstStyle/>
                    <a:p>
                      <a:pPr algn="ctr">
                        <a:defRPr sz="800">
                          <a:latin typeface="Nexa Book"/>
                        </a:defRPr>
                      </a:pPr>
                      <a:r>
                        <a:t>Cru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272576">
                <a:tc>
                  <a:txBody>
                    <a:bodyPr/>
                    <a:lstStyle/>
                    <a:p>
                      <a:pPr algn="ctr">
                        <a:defRPr sz="800">
                          <a:latin typeface="Nexa Book"/>
                        </a:defRPr>
                      </a:pPr>
                      <a:r>
                        <a:t>Rosé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9.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27257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7.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1483274943"/>
      </p:ext>
    </p:extLst>
  </p:cSld>
  <p:clrMapOvr>
    <a:masterClrMapping/>
  </p:clrMapOvr>
</p:sld>
</file>

<file path=ppt/slides/slide9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8</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IDF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03177"/>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272576">
                <a:tc>
                  <a:txBody>
                    <a:bodyPr/>
                    <a:lstStyle/>
                    <a:p>
                      <a:pPr algn="ctr">
                        <a:defRPr sz="800">
                          <a:latin typeface="Nexa Book"/>
                        </a:defRPr>
                      </a:pPr>
                      <a:r>
                        <a:t>Blanc De Blanc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272576">
                <a:tc>
                  <a:txBody>
                    <a:bodyPr/>
                    <a:lstStyle/>
                    <a:p>
                      <a:pPr algn="ctr">
                        <a:defRPr sz="800">
                          <a:latin typeface="Nexa Book"/>
                        </a:defRPr>
                      </a:pPr>
                      <a:r>
                        <a:t>Blanc De Noi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272576">
                <a:tc>
                  <a:txBody>
                    <a:bodyPr/>
                    <a:lstStyle/>
                    <a:p>
                      <a:pPr algn="ctr">
                        <a:defRPr sz="800">
                          <a:latin typeface="Nexa Book"/>
                        </a:defRPr>
                      </a:pPr>
                      <a:r>
                        <a:t>Brut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272576">
                <a:tc>
                  <a:txBody>
                    <a:bodyPr/>
                    <a:lstStyle/>
                    <a:p>
                      <a:pPr algn="ctr">
                        <a:defRPr sz="800">
                          <a:latin typeface="Nexa Book"/>
                        </a:defRPr>
                      </a:pPr>
                      <a:r>
                        <a:t>Cru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272576">
                <a:tc>
                  <a:txBody>
                    <a:bodyPr/>
                    <a:lstStyle/>
                    <a:p>
                      <a:pPr algn="ctr">
                        <a:defRPr sz="800">
                          <a:latin typeface="Nexa Book"/>
                        </a:defRPr>
                      </a:pPr>
                      <a:r>
                        <a:t>Rosé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7.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27257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106931088"/>
      </p:ext>
    </p:extLst>
  </p:cSld>
  <p:clrMapOvr>
    <a:masterClrMapping/>
  </p:clrMapOvr>
</p:sld>
</file>

<file path=ppt/slides/slide9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9</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PAC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03177"/>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272576">
                <a:tc>
                  <a:txBody>
                    <a:bodyPr/>
                    <a:lstStyle/>
                    <a:p>
                      <a:pPr algn="ctr">
                        <a:defRPr sz="800">
                          <a:latin typeface="Nexa Book"/>
                        </a:defRPr>
                      </a:pPr>
                      <a:r>
                        <a:t>Blanc De Blanc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4.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272576">
                <a:tc>
                  <a:txBody>
                    <a:bodyPr/>
                    <a:lstStyle/>
                    <a:p>
                      <a:pPr algn="ctr">
                        <a:defRPr sz="800">
                          <a:latin typeface="Nexa Book"/>
                        </a:defRPr>
                      </a:pPr>
                      <a:r>
                        <a:t>Blanc De Noi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272576">
                <a:tc>
                  <a:txBody>
                    <a:bodyPr/>
                    <a:lstStyle/>
                    <a:p>
                      <a:pPr algn="ctr">
                        <a:defRPr sz="800">
                          <a:latin typeface="Nexa Book"/>
                        </a:defRPr>
                      </a:pPr>
                      <a:r>
                        <a:t>Brut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4.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272576">
                <a:tc>
                  <a:txBody>
                    <a:bodyPr/>
                    <a:lstStyle/>
                    <a:p>
                      <a:pPr algn="ctr">
                        <a:defRPr sz="800">
                          <a:latin typeface="Nexa Book"/>
                        </a:defRPr>
                      </a:pPr>
                      <a:r>
                        <a:t>Cru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272576">
                <a:tc>
                  <a:txBody>
                    <a:bodyPr/>
                    <a:lstStyle/>
                    <a:p>
                      <a:pPr algn="ctr">
                        <a:defRPr sz="800">
                          <a:latin typeface="Nexa Book"/>
                        </a:defRPr>
                      </a:pPr>
                      <a:r>
                        <a:t>Rosé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27257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6.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190135055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NICOLAS PAC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419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7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844584720"/>
      </p:ext>
    </p:extLst>
  </p:cSld>
  <p:clrMapOvr>
    <a:masterClrMapping/>
  </p:clrMapOvr>
</p:sld>
</file>

<file path=ppt/slides/slide9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0</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RHO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03177"/>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272576">
                <a:tc>
                  <a:txBody>
                    <a:bodyPr/>
                    <a:lstStyle/>
                    <a:p>
                      <a:pPr algn="ctr">
                        <a:defRPr sz="800">
                          <a:latin typeface="Nexa Book"/>
                        </a:defRPr>
                      </a:pPr>
                      <a:r>
                        <a:t>Blanc De Blanc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5.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272576">
                <a:tc>
                  <a:txBody>
                    <a:bodyPr/>
                    <a:lstStyle/>
                    <a:p>
                      <a:pPr algn="ctr">
                        <a:defRPr sz="800">
                          <a:latin typeface="Nexa Book"/>
                        </a:defRPr>
                      </a:pPr>
                      <a:r>
                        <a:t>Blanc De Noi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7.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272576">
                <a:tc>
                  <a:txBody>
                    <a:bodyPr/>
                    <a:lstStyle/>
                    <a:p>
                      <a:pPr algn="ctr">
                        <a:defRPr sz="800">
                          <a:latin typeface="Nexa Book"/>
                        </a:defRPr>
                      </a:pPr>
                      <a:r>
                        <a:t>Brut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4.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272576">
                <a:tc>
                  <a:txBody>
                    <a:bodyPr/>
                    <a:lstStyle/>
                    <a:p>
                      <a:pPr algn="ctr">
                        <a:defRPr sz="800">
                          <a:latin typeface="Nexa Book"/>
                        </a:defRPr>
                      </a:pPr>
                      <a:r>
                        <a:t>Cru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272576">
                <a:tc>
                  <a:txBody>
                    <a:bodyPr/>
                    <a:lstStyle/>
                    <a:p>
                      <a:pPr algn="ctr">
                        <a:defRPr sz="800">
                          <a:latin typeface="Nexa Book"/>
                        </a:defRPr>
                      </a:pPr>
                      <a:r>
                        <a:t>Rosé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7.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27257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7.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4.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982005861"/>
      </p:ext>
    </p:extLst>
  </p:cSld>
  <p:clrMapOvr>
    <a:masterClrMapping/>
  </p:clrMapOvr>
</p:sld>
</file>

<file path=ppt/slides/slide9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1</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AQU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157746"/>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18005">
                <a:tc>
                  <a:txBody>
                    <a:bodyPr/>
                    <a:lstStyle/>
                    <a:p>
                      <a:pPr algn="ctr">
                        <a:defRPr sz="800">
                          <a:latin typeface="Nexa Book"/>
                        </a:defRPr>
                      </a:pPr>
                      <a:r>
                        <a:t>Blanc De Blanc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3.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318005">
                <a:tc>
                  <a:txBody>
                    <a:bodyPr/>
                    <a:lstStyle/>
                    <a:p>
                      <a:pPr algn="ctr">
                        <a:defRPr sz="800">
                          <a:latin typeface="Nexa Book"/>
                        </a:defRPr>
                      </a:pPr>
                      <a:r>
                        <a:t>Brut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4.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18005">
                <a:tc>
                  <a:txBody>
                    <a:bodyPr/>
                    <a:lstStyle/>
                    <a:p>
                      <a:pPr algn="ctr">
                        <a:defRPr sz="800">
                          <a:latin typeface="Nexa Book"/>
                        </a:defRPr>
                      </a:pPr>
                      <a:r>
                        <a:t>Cru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18005">
                <a:tc>
                  <a:txBody>
                    <a:bodyPr/>
                    <a:lstStyle/>
                    <a:p>
                      <a:pPr algn="ctr">
                        <a:defRPr sz="800">
                          <a:latin typeface="Nexa Book"/>
                        </a:defRPr>
                      </a:pPr>
                      <a:r>
                        <a:t>Rosé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18005">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5.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1383513268"/>
      </p:ext>
    </p:extLst>
  </p:cSld>
  <p:clrMapOvr>
    <a:masterClrMapping/>
  </p:clrMapOvr>
</p:sld>
</file>

<file path=ppt/slides/slide9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2</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EST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157746"/>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18005">
                <a:tc>
                  <a:txBody>
                    <a:bodyPr/>
                    <a:lstStyle/>
                    <a:p>
                      <a:pPr algn="ctr">
                        <a:defRPr sz="800">
                          <a:latin typeface="Nexa Book"/>
                        </a:defRPr>
                      </a:pPr>
                      <a:r>
                        <a:t>Blanc De Blanc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4.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318005">
                <a:tc>
                  <a:txBody>
                    <a:bodyPr/>
                    <a:lstStyle/>
                    <a:p>
                      <a:pPr algn="ctr">
                        <a:defRPr sz="800">
                          <a:latin typeface="Nexa Book"/>
                        </a:defRPr>
                      </a:pPr>
                      <a:r>
                        <a:t>Blanc De Noi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18005">
                <a:tc>
                  <a:txBody>
                    <a:bodyPr/>
                    <a:lstStyle/>
                    <a:p>
                      <a:pPr algn="ctr">
                        <a:defRPr sz="800">
                          <a:latin typeface="Nexa Book"/>
                        </a:defRPr>
                      </a:pPr>
                      <a:r>
                        <a:t>Brut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8.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2.9%</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18005">
                <a:tc>
                  <a:txBody>
                    <a:bodyPr/>
                    <a:lstStyle/>
                    <a:p>
                      <a:pPr algn="ctr">
                        <a:defRPr sz="800">
                          <a:latin typeface="Nexa Book"/>
                        </a:defRPr>
                      </a:pPr>
                      <a:r>
                        <a:t>Rosé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5.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3.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18005">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8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4221563818"/>
      </p:ext>
    </p:extLst>
  </p:cSld>
  <p:clrMapOvr>
    <a:masterClrMapping/>
  </p:clrMapOvr>
</p:sld>
</file>

<file path=ppt/slides/slide9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3</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CA A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03177"/>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272576">
                <a:tc>
                  <a:txBody>
                    <a:bodyPr/>
                    <a:lstStyle/>
                    <a:p>
                      <a:pPr algn="ctr">
                        <a:defRPr sz="800">
                          <a:latin typeface="Nexa Book"/>
                        </a:defRPr>
                      </a:pPr>
                      <a:r>
                        <a:t>Blanc De Blanc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3.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272576">
                <a:tc>
                  <a:txBody>
                    <a:bodyPr/>
                    <a:lstStyle/>
                    <a:p>
                      <a:pPr algn="ctr">
                        <a:defRPr sz="800">
                          <a:latin typeface="Nexa Book"/>
                        </a:defRPr>
                      </a:pPr>
                      <a:r>
                        <a:t>Blanc De Noi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272576">
                <a:tc>
                  <a:txBody>
                    <a:bodyPr/>
                    <a:lstStyle/>
                    <a:p>
                      <a:pPr algn="ctr">
                        <a:defRPr sz="800">
                          <a:latin typeface="Nexa Book"/>
                        </a:defRPr>
                      </a:pPr>
                      <a:r>
                        <a:t>Brut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4.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272576">
                <a:tc>
                  <a:txBody>
                    <a:bodyPr/>
                    <a:lstStyle/>
                    <a:p>
                      <a:pPr algn="ctr">
                        <a:defRPr sz="800">
                          <a:latin typeface="Nexa Book"/>
                        </a:defRPr>
                      </a:pPr>
                      <a:r>
                        <a:t>Cru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272576">
                <a:tc>
                  <a:txBody>
                    <a:bodyPr/>
                    <a:lstStyle/>
                    <a:p>
                      <a:pPr algn="ctr">
                        <a:defRPr sz="800">
                          <a:latin typeface="Nexa Book"/>
                        </a:defRPr>
                      </a:pPr>
                      <a:r>
                        <a:t>Rosé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5.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27257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7.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203409150"/>
      </p:ext>
    </p:extLst>
  </p:cSld>
  <p:clrMapOvr>
    <a:masterClrMapping/>
  </p:clrMapOvr>
</p:sld>
</file>

<file path=ppt/slides/slide9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4</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CA B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03177"/>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272576">
                <a:tc>
                  <a:txBody>
                    <a:bodyPr/>
                    <a:lstStyle/>
                    <a:p>
                      <a:pPr algn="ctr">
                        <a:defRPr sz="800">
                          <a:latin typeface="Nexa Book"/>
                        </a:defRPr>
                      </a:pPr>
                      <a:r>
                        <a:t>Blanc De Blanc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272576">
                <a:tc>
                  <a:txBody>
                    <a:bodyPr/>
                    <a:lstStyle/>
                    <a:p>
                      <a:pPr algn="ctr">
                        <a:defRPr sz="800">
                          <a:latin typeface="Nexa Book"/>
                        </a:defRPr>
                      </a:pPr>
                      <a:r>
                        <a:t>Blanc De Noi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272576">
                <a:tc>
                  <a:txBody>
                    <a:bodyPr/>
                    <a:lstStyle/>
                    <a:p>
                      <a:pPr algn="ctr">
                        <a:defRPr sz="800">
                          <a:latin typeface="Nexa Book"/>
                        </a:defRPr>
                      </a:pPr>
                      <a:r>
                        <a:t>Brut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4.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272576">
                <a:tc>
                  <a:txBody>
                    <a:bodyPr/>
                    <a:lstStyle/>
                    <a:p>
                      <a:pPr algn="ctr">
                        <a:defRPr sz="800">
                          <a:latin typeface="Nexa Book"/>
                        </a:defRPr>
                      </a:pPr>
                      <a:r>
                        <a:t>Cru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272576">
                <a:tc>
                  <a:txBody>
                    <a:bodyPr/>
                    <a:lstStyle/>
                    <a:p>
                      <a:pPr algn="ctr">
                        <a:defRPr sz="800">
                          <a:latin typeface="Nexa Book"/>
                        </a:defRPr>
                      </a:pPr>
                      <a:r>
                        <a:t>Rosé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9%</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4.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27257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8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168664568"/>
      </p:ext>
    </p:extLst>
  </p:cSld>
  <p:clrMapOvr>
    <a:masterClrMapping/>
  </p:clrMapOvr>
</p:sld>
</file>

<file path=ppt/slides/slide9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5</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CA C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03177"/>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272576">
                <a:tc>
                  <a:txBody>
                    <a:bodyPr/>
                    <a:lstStyle/>
                    <a:p>
                      <a:pPr algn="ctr">
                        <a:defRPr sz="800">
                          <a:latin typeface="Nexa Book"/>
                        </a:defRPr>
                      </a:pPr>
                      <a:r>
                        <a:t>Blanc De Blanc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9%</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9.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272576">
                <a:tc>
                  <a:txBody>
                    <a:bodyPr/>
                    <a:lstStyle/>
                    <a:p>
                      <a:pPr algn="ctr">
                        <a:defRPr sz="800">
                          <a:latin typeface="Nexa Book"/>
                        </a:defRPr>
                      </a:pPr>
                      <a:r>
                        <a:t>Blanc De Noi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272576">
                <a:tc>
                  <a:txBody>
                    <a:bodyPr/>
                    <a:lstStyle/>
                    <a:p>
                      <a:pPr algn="ctr">
                        <a:defRPr sz="800">
                          <a:latin typeface="Nexa Book"/>
                        </a:defRPr>
                      </a:pPr>
                      <a:r>
                        <a:t>Brut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4.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272576">
                <a:tc>
                  <a:txBody>
                    <a:bodyPr/>
                    <a:lstStyle/>
                    <a:p>
                      <a:pPr algn="ctr">
                        <a:defRPr sz="800">
                          <a:latin typeface="Nexa Book"/>
                        </a:defRPr>
                      </a:pPr>
                      <a:r>
                        <a:t>Cru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272576">
                <a:tc>
                  <a:txBody>
                    <a:bodyPr/>
                    <a:lstStyle/>
                    <a:p>
                      <a:pPr algn="ctr">
                        <a:defRPr sz="800">
                          <a:latin typeface="Nexa Book"/>
                        </a:defRPr>
                      </a:pPr>
                      <a:r>
                        <a:t>Rosé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7.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27257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4149201184"/>
      </p:ext>
    </p:extLst>
  </p:cSld>
  <p:clrMapOvr>
    <a:masterClrMapping/>
  </p:clrMapOvr>
</p:sld>
</file>

<file path=ppt/slides/slide9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6</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CA D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03177"/>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272576">
                <a:tc>
                  <a:txBody>
                    <a:bodyPr/>
                    <a:lstStyle/>
                    <a:p>
                      <a:pPr algn="ctr">
                        <a:defRPr sz="800">
                          <a:latin typeface="Nexa Book"/>
                        </a:defRPr>
                      </a:pPr>
                      <a:r>
                        <a:t>Blanc De Blanc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3.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9.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272576">
                <a:tc>
                  <a:txBody>
                    <a:bodyPr/>
                    <a:lstStyle/>
                    <a:p>
                      <a:pPr algn="ctr">
                        <a:defRPr sz="800">
                          <a:latin typeface="Nexa Book"/>
                        </a:defRPr>
                      </a:pPr>
                      <a:r>
                        <a:t>Blanc De Noi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272576">
                <a:tc>
                  <a:txBody>
                    <a:bodyPr/>
                    <a:lstStyle/>
                    <a:p>
                      <a:pPr algn="ctr">
                        <a:defRPr sz="800">
                          <a:latin typeface="Nexa Book"/>
                        </a:defRPr>
                      </a:pPr>
                      <a:r>
                        <a:t>Brut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9%</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272576">
                <a:tc>
                  <a:txBody>
                    <a:bodyPr/>
                    <a:lstStyle/>
                    <a:p>
                      <a:pPr algn="ctr">
                        <a:defRPr sz="800">
                          <a:latin typeface="Nexa Book"/>
                        </a:defRPr>
                      </a:pPr>
                      <a:r>
                        <a:t>Cru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272576">
                <a:tc>
                  <a:txBody>
                    <a:bodyPr/>
                    <a:lstStyle/>
                    <a:p>
                      <a:pPr algn="ctr">
                        <a:defRPr sz="800">
                          <a:latin typeface="Nexa Book"/>
                        </a:defRPr>
                      </a:pPr>
                      <a:r>
                        <a:t>Rosé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3.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27257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908506702"/>
      </p:ext>
    </p:extLst>
  </p:cSld>
  <p:clrMapOvr>
    <a:masterClrMapping/>
  </p:clrMapOvr>
</p:sld>
</file>

<file path=ppt/slides/slide9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7</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CA E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03177"/>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272576">
                <a:tc>
                  <a:txBody>
                    <a:bodyPr/>
                    <a:lstStyle/>
                    <a:p>
                      <a:pPr algn="ctr">
                        <a:defRPr sz="800">
                          <a:latin typeface="Nexa Book"/>
                        </a:defRPr>
                      </a:pPr>
                      <a:r>
                        <a:t>Blanc De Blanc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3.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9%</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9.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272576">
                <a:tc>
                  <a:txBody>
                    <a:bodyPr/>
                    <a:lstStyle/>
                    <a:p>
                      <a:pPr algn="ctr">
                        <a:defRPr sz="800">
                          <a:latin typeface="Nexa Book"/>
                        </a:defRPr>
                      </a:pPr>
                      <a:r>
                        <a:t>Blanc De Noi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9%</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272576">
                <a:tc>
                  <a:txBody>
                    <a:bodyPr/>
                    <a:lstStyle/>
                    <a:p>
                      <a:pPr algn="ctr">
                        <a:defRPr sz="800">
                          <a:latin typeface="Nexa Book"/>
                        </a:defRPr>
                      </a:pPr>
                      <a:r>
                        <a:t>Brut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3.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272576">
                <a:tc>
                  <a:txBody>
                    <a:bodyPr/>
                    <a:lstStyle/>
                    <a:p>
                      <a:pPr algn="ctr">
                        <a:defRPr sz="800">
                          <a:latin typeface="Nexa Book"/>
                        </a:defRPr>
                      </a:pPr>
                      <a:r>
                        <a:t>Cru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272576">
                <a:tc>
                  <a:txBody>
                    <a:bodyPr/>
                    <a:lstStyle/>
                    <a:p>
                      <a:pPr algn="ctr">
                        <a:defRPr sz="800">
                          <a:latin typeface="Nexa Book"/>
                        </a:defRPr>
                      </a:pPr>
                      <a:r>
                        <a:t>Rosé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3.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27257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8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46085267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NICOLAS CC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7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09885491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NICOLAS QC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8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64954185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NICOLAS IDF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7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5938615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NICOLAS VCN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3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64946349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NICOLAS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68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69990328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NICOLAS QCN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9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819099990"/>
      </p:ext>
    </p:extLst>
  </p:cSld>
  <p:clrMapOvr>
    <a:masterClrMapping/>
  </p:clrMapOvr>
</p:sld>
</file>

<file path=ppt/theme/themeOverride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